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11" r:id="rId2"/>
  </p:sldMasterIdLst>
  <p:sldIdLst>
    <p:sldId id="256" r:id="rId3"/>
    <p:sldId id="258" r:id="rId4"/>
    <p:sldId id="259" r:id="rId5"/>
    <p:sldId id="260" r:id="rId6"/>
    <p:sldId id="261" r:id="rId7"/>
    <p:sldId id="349" r:id="rId8"/>
    <p:sldId id="351" r:id="rId9"/>
    <p:sldId id="2134805195" r:id="rId10"/>
    <p:sldId id="345" r:id="rId11"/>
    <p:sldId id="318" r:id="rId12"/>
    <p:sldId id="636" r:id="rId13"/>
    <p:sldId id="2134805186" r:id="rId14"/>
    <p:sldId id="2134805196" r:id="rId15"/>
    <p:sldId id="2134805197" r:id="rId16"/>
  </p:sldIdLst>
  <p:sldSz cx="12192000" cy="6858000"/>
  <p:notesSz cx="6858000" cy="9144000"/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70" autoAdjust="0"/>
    <p:restoredTop sz="94660"/>
  </p:normalViewPr>
  <p:slideViewPr>
    <p:cSldViewPr snapToGrid="0">
      <p:cViewPr varScale="1">
        <p:scale>
          <a:sx n="81" d="100"/>
          <a:sy n="81" d="100"/>
        </p:scale>
        <p:origin x="90" y="93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customXml" Target="../customXml/item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customXml" Target="../customXml/item2.xml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oitusdia 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89437-0A9F-6907-E834-ECE3DB6251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1700" cy="2304529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BA9B7E5-3139-76AA-C2C3-60620F1D9B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4509120"/>
            <a:ext cx="9791700" cy="864096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98F4D-E89B-8263-EB37-8F8B305D4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7A6232F9-1D9D-49A0-A0DD-2925B058EB16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B5C31-D7B7-0A4A-9FF1-A8910751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9B765-A518-625F-2D82-59131FF13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CD5646D-347F-0693-85B7-82EEFAEE1F7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07368" y="333375"/>
            <a:ext cx="2325003" cy="504000"/>
          </a:xfrm>
          <a:custGeom>
            <a:avLst/>
            <a:gdLst>
              <a:gd name="T0" fmla="*/ 11 w 4507"/>
              <a:gd name="T1" fmla="*/ 18 h 1954"/>
              <a:gd name="T2" fmla="*/ 659 w 4507"/>
              <a:gd name="T3" fmla="*/ 297 h 1954"/>
              <a:gd name="T4" fmla="*/ 666 w 4507"/>
              <a:gd name="T5" fmla="*/ 916 h 1954"/>
              <a:gd name="T6" fmla="*/ 347 w 4507"/>
              <a:gd name="T7" fmla="*/ 880 h 1954"/>
              <a:gd name="T8" fmla="*/ 471 w 4507"/>
              <a:gd name="T9" fmla="*/ 675 h 1954"/>
              <a:gd name="T10" fmla="*/ 375 w 4507"/>
              <a:gd name="T11" fmla="*/ 401 h 1954"/>
              <a:gd name="T12" fmla="*/ 1722 w 4507"/>
              <a:gd name="T13" fmla="*/ 26 h 1954"/>
              <a:gd name="T14" fmla="*/ 1804 w 4507"/>
              <a:gd name="T15" fmla="*/ 309 h 1954"/>
              <a:gd name="T16" fmla="*/ 1741 w 4507"/>
              <a:gd name="T17" fmla="*/ 269 h 1954"/>
              <a:gd name="T18" fmla="*/ 1854 w 4507"/>
              <a:gd name="T19" fmla="*/ 788 h 1954"/>
              <a:gd name="T20" fmla="*/ 2410 w 4507"/>
              <a:gd name="T21" fmla="*/ 18 h 1954"/>
              <a:gd name="T22" fmla="*/ 3053 w 4507"/>
              <a:gd name="T23" fmla="*/ 553 h 1954"/>
              <a:gd name="T24" fmla="*/ 3419 w 4507"/>
              <a:gd name="T25" fmla="*/ 539 h 1954"/>
              <a:gd name="T26" fmla="*/ 3595 w 4507"/>
              <a:gd name="T27" fmla="*/ 659 h 1954"/>
              <a:gd name="T28" fmla="*/ 3699 w 4507"/>
              <a:gd name="T29" fmla="*/ 697 h 1954"/>
              <a:gd name="T30" fmla="*/ 3842 w 4507"/>
              <a:gd name="T31" fmla="*/ 595 h 1954"/>
              <a:gd name="T32" fmla="*/ 3700 w 4507"/>
              <a:gd name="T33" fmla="*/ 806 h 1954"/>
              <a:gd name="T34" fmla="*/ 3943 w 4507"/>
              <a:gd name="T35" fmla="*/ 725 h 1954"/>
              <a:gd name="T36" fmla="*/ 4018 w 4507"/>
              <a:gd name="T37" fmla="*/ 689 h 1954"/>
              <a:gd name="T38" fmla="*/ 4124 w 4507"/>
              <a:gd name="T39" fmla="*/ 581 h 1954"/>
              <a:gd name="T40" fmla="*/ 3931 w 4507"/>
              <a:gd name="T41" fmla="*/ 269 h 1954"/>
              <a:gd name="T42" fmla="*/ 4017 w 4507"/>
              <a:gd name="T43" fmla="*/ 6 h 1954"/>
              <a:gd name="T44" fmla="*/ 4117 w 4507"/>
              <a:gd name="T45" fmla="*/ 228 h 1954"/>
              <a:gd name="T46" fmla="*/ 4005 w 4507"/>
              <a:gd name="T47" fmla="*/ 134 h 1954"/>
              <a:gd name="T48" fmla="*/ 4123 w 4507"/>
              <a:gd name="T49" fmla="*/ 383 h 1954"/>
              <a:gd name="T50" fmla="*/ 4174 w 4507"/>
              <a:gd name="T51" fmla="*/ 697 h 1954"/>
              <a:gd name="T52" fmla="*/ 1767 w 4507"/>
              <a:gd name="T53" fmla="*/ 1273 h 1954"/>
              <a:gd name="T54" fmla="*/ 2197 w 4507"/>
              <a:gd name="T55" fmla="*/ 1926 h 1954"/>
              <a:gd name="T56" fmla="*/ 2114 w 4507"/>
              <a:gd name="T57" fmla="*/ 1551 h 1954"/>
              <a:gd name="T58" fmla="*/ 2226 w 4507"/>
              <a:gd name="T59" fmla="*/ 1156 h 1954"/>
              <a:gd name="T60" fmla="*/ 2385 w 4507"/>
              <a:gd name="T61" fmla="*/ 1313 h 1954"/>
              <a:gd name="T62" fmla="*/ 2373 w 4507"/>
              <a:gd name="T63" fmla="*/ 1834 h 1954"/>
              <a:gd name="T64" fmla="*/ 2227 w 4507"/>
              <a:gd name="T65" fmla="*/ 1271 h 1954"/>
              <a:gd name="T66" fmla="*/ 2192 w 4507"/>
              <a:gd name="T67" fmla="*/ 1738 h 1954"/>
              <a:gd name="T68" fmla="*/ 2323 w 4507"/>
              <a:gd name="T69" fmla="*/ 1760 h 1954"/>
              <a:gd name="T70" fmla="*/ 2273 w 4507"/>
              <a:gd name="T71" fmla="*/ 1259 h 1954"/>
              <a:gd name="T72" fmla="*/ 3321 w 4507"/>
              <a:gd name="T73" fmla="*/ 1954 h 1954"/>
              <a:gd name="T74" fmla="*/ 3265 w 4507"/>
              <a:gd name="T75" fmla="*/ 1693 h 1954"/>
              <a:gd name="T76" fmla="*/ 3380 w 4507"/>
              <a:gd name="T77" fmla="*/ 1832 h 1954"/>
              <a:gd name="T78" fmla="*/ 3369 w 4507"/>
              <a:gd name="T79" fmla="*/ 1625 h 1954"/>
              <a:gd name="T80" fmla="*/ 3218 w 4507"/>
              <a:gd name="T81" fmla="*/ 1279 h 1954"/>
              <a:gd name="T82" fmla="*/ 3426 w 4507"/>
              <a:gd name="T83" fmla="*/ 1198 h 1954"/>
              <a:gd name="T84" fmla="*/ 3370 w 4507"/>
              <a:gd name="T85" fmla="*/ 1265 h 1954"/>
              <a:gd name="T86" fmla="*/ 3279 w 4507"/>
              <a:gd name="T87" fmla="*/ 1379 h 1954"/>
              <a:gd name="T88" fmla="*/ 3471 w 4507"/>
              <a:gd name="T89" fmla="*/ 1675 h 1954"/>
              <a:gd name="T90" fmla="*/ 3381 w 4507"/>
              <a:gd name="T91" fmla="*/ 1946 h 1954"/>
              <a:gd name="T92" fmla="*/ 3620 w 4507"/>
              <a:gd name="T93" fmla="*/ 1772 h 1954"/>
              <a:gd name="T94" fmla="*/ 3736 w 4507"/>
              <a:gd name="T95" fmla="*/ 1772 h 1954"/>
              <a:gd name="T96" fmla="*/ 3756 w 4507"/>
              <a:gd name="T97" fmla="*/ 1914 h 1954"/>
              <a:gd name="T98" fmla="*/ 3915 w 4507"/>
              <a:gd name="T99" fmla="*/ 1828 h 1954"/>
              <a:gd name="T100" fmla="*/ 4005 w 4507"/>
              <a:gd name="T101" fmla="*/ 1838 h 1954"/>
              <a:gd name="T102" fmla="*/ 4160 w 4507"/>
              <a:gd name="T103" fmla="*/ 1697 h 1954"/>
              <a:gd name="T104" fmla="*/ 4039 w 4507"/>
              <a:gd name="T105" fmla="*/ 1954 h 1954"/>
              <a:gd name="T106" fmla="*/ 4268 w 4507"/>
              <a:gd name="T107" fmla="*/ 1888 h 1954"/>
              <a:gd name="T108" fmla="*/ 4324 w 4507"/>
              <a:gd name="T109" fmla="*/ 1824 h 1954"/>
              <a:gd name="T110" fmla="*/ 4442 w 4507"/>
              <a:gd name="T111" fmla="*/ 1752 h 1954"/>
              <a:gd name="T112" fmla="*/ 4255 w 4507"/>
              <a:gd name="T113" fmla="*/ 1447 h 1954"/>
              <a:gd name="T114" fmla="*/ 4311 w 4507"/>
              <a:gd name="T115" fmla="*/ 1166 h 1954"/>
              <a:gd name="T116" fmla="*/ 4497 w 4507"/>
              <a:gd name="T117" fmla="*/ 1331 h 1954"/>
              <a:gd name="T118" fmla="*/ 4336 w 4507"/>
              <a:gd name="T119" fmla="*/ 1267 h 1954"/>
              <a:gd name="T120" fmla="*/ 4359 w 4507"/>
              <a:gd name="T121" fmla="*/ 1457 h 1954"/>
              <a:gd name="T122" fmla="*/ 4499 w 4507"/>
              <a:gd name="T123" fmla="*/ 1814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507" h="1954">
                <a:moveTo>
                  <a:pt x="4307" y="327"/>
                </a:moveTo>
                <a:lnTo>
                  <a:pt x="4377" y="327"/>
                </a:lnTo>
                <a:lnTo>
                  <a:pt x="4377" y="463"/>
                </a:lnTo>
                <a:lnTo>
                  <a:pt x="4307" y="463"/>
                </a:lnTo>
                <a:lnTo>
                  <a:pt x="4307" y="327"/>
                </a:lnTo>
                <a:close/>
                <a:moveTo>
                  <a:pt x="1248" y="18"/>
                </a:moveTo>
                <a:lnTo>
                  <a:pt x="1248" y="473"/>
                </a:lnTo>
                <a:lnTo>
                  <a:pt x="1051" y="473"/>
                </a:lnTo>
                <a:lnTo>
                  <a:pt x="1051" y="1936"/>
                </a:lnTo>
                <a:lnTo>
                  <a:pt x="821" y="1936"/>
                </a:lnTo>
                <a:lnTo>
                  <a:pt x="821" y="473"/>
                </a:lnTo>
                <a:lnTo>
                  <a:pt x="655" y="18"/>
                </a:lnTo>
                <a:lnTo>
                  <a:pt x="1248" y="18"/>
                </a:lnTo>
                <a:close/>
                <a:moveTo>
                  <a:pt x="0" y="1481"/>
                </a:moveTo>
                <a:lnTo>
                  <a:pt x="230" y="1481"/>
                </a:lnTo>
                <a:lnTo>
                  <a:pt x="230" y="1936"/>
                </a:lnTo>
                <a:lnTo>
                  <a:pt x="0" y="1936"/>
                </a:lnTo>
                <a:lnTo>
                  <a:pt x="0" y="1481"/>
                </a:lnTo>
                <a:close/>
                <a:moveTo>
                  <a:pt x="487" y="1186"/>
                </a:moveTo>
                <a:lnTo>
                  <a:pt x="752" y="1936"/>
                </a:lnTo>
                <a:lnTo>
                  <a:pt x="495" y="1936"/>
                </a:lnTo>
                <a:lnTo>
                  <a:pt x="11" y="559"/>
                </a:lnTo>
                <a:lnTo>
                  <a:pt x="11" y="18"/>
                </a:lnTo>
                <a:lnTo>
                  <a:pt x="309" y="18"/>
                </a:lnTo>
                <a:lnTo>
                  <a:pt x="335" y="18"/>
                </a:lnTo>
                <a:lnTo>
                  <a:pt x="359" y="20"/>
                </a:lnTo>
                <a:lnTo>
                  <a:pt x="382" y="24"/>
                </a:lnTo>
                <a:lnTo>
                  <a:pt x="404" y="30"/>
                </a:lnTo>
                <a:lnTo>
                  <a:pt x="426" y="36"/>
                </a:lnTo>
                <a:lnTo>
                  <a:pt x="447" y="44"/>
                </a:lnTo>
                <a:lnTo>
                  <a:pt x="467" y="52"/>
                </a:lnTo>
                <a:lnTo>
                  <a:pt x="476" y="58"/>
                </a:lnTo>
                <a:lnTo>
                  <a:pt x="486" y="62"/>
                </a:lnTo>
                <a:lnTo>
                  <a:pt x="504" y="74"/>
                </a:lnTo>
                <a:lnTo>
                  <a:pt x="521" y="88"/>
                </a:lnTo>
                <a:lnTo>
                  <a:pt x="538" y="102"/>
                </a:lnTo>
                <a:lnTo>
                  <a:pt x="553" y="116"/>
                </a:lnTo>
                <a:lnTo>
                  <a:pt x="569" y="132"/>
                </a:lnTo>
                <a:lnTo>
                  <a:pt x="583" y="150"/>
                </a:lnTo>
                <a:lnTo>
                  <a:pt x="596" y="168"/>
                </a:lnTo>
                <a:lnTo>
                  <a:pt x="609" y="188"/>
                </a:lnTo>
                <a:lnTo>
                  <a:pt x="620" y="208"/>
                </a:lnTo>
                <a:lnTo>
                  <a:pt x="631" y="230"/>
                </a:lnTo>
                <a:lnTo>
                  <a:pt x="641" y="251"/>
                </a:lnTo>
                <a:lnTo>
                  <a:pt x="650" y="273"/>
                </a:lnTo>
                <a:lnTo>
                  <a:pt x="659" y="297"/>
                </a:lnTo>
                <a:lnTo>
                  <a:pt x="666" y="323"/>
                </a:lnTo>
                <a:lnTo>
                  <a:pt x="673" y="349"/>
                </a:lnTo>
                <a:lnTo>
                  <a:pt x="680" y="375"/>
                </a:lnTo>
                <a:lnTo>
                  <a:pt x="685" y="401"/>
                </a:lnTo>
                <a:lnTo>
                  <a:pt x="690" y="429"/>
                </a:lnTo>
                <a:lnTo>
                  <a:pt x="694" y="459"/>
                </a:lnTo>
                <a:lnTo>
                  <a:pt x="697" y="487"/>
                </a:lnTo>
                <a:lnTo>
                  <a:pt x="699" y="517"/>
                </a:lnTo>
                <a:lnTo>
                  <a:pt x="701" y="547"/>
                </a:lnTo>
                <a:lnTo>
                  <a:pt x="702" y="579"/>
                </a:lnTo>
                <a:lnTo>
                  <a:pt x="703" y="611"/>
                </a:lnTo>
                <a:lnTo>
                  <a:pt x="702" y="661"/>
                </a:lnTo>
                <a:lnTo>
                  <a:pt x="701" y="687"/>
                </a:lnTo>
                <a:lnTo>
                  <a:pt x="699" y="711"/>
                </a:lnTo>
                <a:lnTo>
                  <a:pt x="697" y="735"/>
                </a:lnTo>
                <a:lnTo>
                  <a:pt x="695" y="758"/>
                </a:lnTo>
                <a:lnTo>
                  <a:pt x="692" y="782"/>
                </a:lnTo>
                <a:lnTo>
                  <a:pt x="689" y="806"/>
                </a:lnTo>
                <a:lnTo>
                  <a:pt x="685" y="830"/>
                </a:lnTo>
                <a:lnTo>
                  <a:pt x="681" y="852"/>
                </a:lnTo>
                <a:lnTo>
                  <a:pt x="677" y="874"/>
                </a:lnTo>
                <a:lnTo>
                  <a:pt x="672" y="896"/>
                </a:lnTo>
                <a:lnTo>
                  <a:pt x="666" y="916"/>
                </a:lnTo>
                <a:lnTo>
                  <a:pt x="661" y="938"/>
                </a:lnTo>
                <a:lnTo>
                  <a:pt x="655" y="958"/>
                </a:lnTo>
                <a:lnTo>
                  <a:pt x="648" y="976"/>
                </a:lnTo>
                <a:lnTo>
                  <a:pt x="641" y="996"/>
                </a:lnTo>
                <a:lnTo>
                  <a:pt x="634" y="1014"/>
                </a:lnTo>
                <a:lnTo>
                  <a:pt x="626" y="1030"/>
                </a:lnTo>
                <a:lnTo>
                  <a:pt x="618" y="1048"/>
                </a:lnTo>
                <a:lnTo>
                  <a:pt x="609" y="1064"/>
                </a:lnTo>
                <a:lnTo>
                  <a:pt x="600" y="1080"/>
                </a:lnTo>
                <a:lnTo>
                  <a:pt x="591" y="1094"/>
                </a:lnTo>
                <a:lnTo>
                  <a:pt x="581" y="1108"/>
                </a:lnTo>
                <a:lnTo>
                  <a:pt x="571" y="1120"/>
                </a:lnTo>
                <a:lnTo>
                  <a:pt x="559" y="1132"/>
                </a:lnTo>
                <a:lnTo>
                  <a:pt x="548" y="1144"/>
                </a:lnTo>
                <a:lnTo>
                  <a:pt x="537" y="1154"/>
                </a:lnTo>
                <a:lnTo>
                  <a:pt x="525" y="1164"/>
                </a:lnTo>
                <a:lnTo>
                  <a:pt x="513" y="1172"/>
                </a:lnTo>
                <a:lnTo>
                  <a:pt x="500" y="1180"/>
                </a:lnTo>
                <a:lnTo>
                  <a:pt x="487" y="1186"/>
                </a:lnTo>
                <a:close/>
                <a:moveTo>
                  <a:pt x="239" y="391"/>
                </a:moveTo>
                <a:lnTo>
                  <a:pt x="239" y="880"/>
                </a:lnTo>
                <a:lnTo>
                  <a:pt x="337" y="880"/>
                </a:lnTo>
                <a:lnTo>
                  <a:pt x="347" y="880"/>
                </a:lnTo>
                <a:lnTo>
                  <a:pt x="357" y="880"/>
                </a:lnTo>
                <a:lnTo>
                  <a:pt x="367" y="878"/>
                </a:lnTo>
                <a:lnTo>
                  <a:pt x="376" y="874"/>
                </a:lnTo>
                <a:lnTo>
                  <a:pt x="384" y="872"/>
                </a:lnTo>
                <a:lnTo>
                  <a:pt x="392" y="868"/>
                </a:lnTo>
                <a:lnTo>
                  <a:pt x="400" y="862"/>
                </a:lnTo>
                <a:lnTo>
                  <a:pt x="407" y="858"/>
                </a:lnTo>
                <a:lnTo>
                  <a:pt x="413" y="852"/>
                </a:lnTo>
                <a:lnTo>
                  <a:pt x="419" y="844"/>
                </a:lnTo>
                <a:lnTo>
                  <a:pt x="425" y="838"/>
                </a:lnTo>
                <a:lnTo>
                  <a:pt x="430" y="830"/>
                </a:lnTo>
                <a:lnTo>
                  <a:pt x="435" y="822"/>
                </a:lnTo>
                <a:lnTo>
                  <a:pt x="440" y="814"/>
                </a:lnTo>
                <a:lnTo>
                  <a:pt x="444" y="806"/>
                </a:lnTo>
                <a:lnTo>
                  <a:pt x="448" y="796"/>
                </a:lnTo>
                <a:lnTo>
                  <a:pt x="451" y="788"/>
                </a:lnTo>
                <a:lnTo>
                  <a:pt x="454" y="778"/>
                </a:lnTo>
                <a:lnTo>
                  <a:pt x="457" y="768"/>
                </a:lnTo>
                <a:lnTo>
                  <a:pt x="460" y="758"/>
                </a:lnTo>
                <a:lnTo>
                  <a:pt x="464" y="738"/>
                </a:lnTo>
                <a:lnTo>
                  <a:pt x="467" y="717"/>
                </a:lnTo>
                <a:lnTo>
                  <a:pt x="470" y="697"/>
                </a:lnTo>
                <a:lnTo>
                  <a:pt x="471" y="675"/>
                </a:lnTo>
                <a:lnTo>
                  <a:pt x="472" y="655"/>
                </a:lnTo>
                <a:lnTo>
                  <a:pt x="472" y="635"/>
                </a:lnTo>
                <a:lnTo>
                  <a:pt x="472" y="615"/>
                </a:lnTo>
                <a:lnTo>
                  <a:pt x="470" y="593"/>
                </a:lnTo>
                <a:lnTo>
                  <a:pt x="468" y="573"/>
                </a:lnTo>
                <a:lnTo>
                  <a:pt x="464" y="551"/>
                </a:lnTo>
                <a:lnTo>
                  <a:pt x="462" y="541"/>
                </a:lnTo>
                <a:lnTo>
                  <a:pt x="459" y="531"/>
                </a:lnTo>
                <a:lnTo>
                  <a:pt x="457" y="521"/>
                </a:lnTo>
                <a:lnTo>
                  <a:pt x="454" y="511"/>
                </a:lnTo>
                <a:lnTo>
                  <a:pt x="447" y="491"/>
                </a:lnTo>
                <a:lnTo>
                  <a:pt x="443" y="483"/>
                </a:lnTo>
                <a:lnTo>
                  <a:pt x="439" y="473"/>
                </a:lnTo>
                <a:lnTo>
                  <a:pt x="435" y="465"/>
                </a:lnTo>
                <a:lnTo>
                  <a:pt x="430" y="457"/>
                </a:lnTo>
                <a:lnTo>
                  <a:pt x="420" y="441"/>
                </a:lnTo>
                <a:lnTo>
                  <a:pt x="414" y="433"/>
                </a:lnTo>
                <a:lnTo>
                  <a:pt x="408" y="427"/>
                </a:lnTo>
                <a:lnTo>
                  <a:pt x="402" y="421"/>
                </a:lnTo>
                <a:lnTo>
                  <a:pt x="396" y="415"/>
                </a:lnTo>
                <a:lnTo>
                  <a:pt x="389" y="409"/>
                </a:lnTo>
                <a:lnTo>
                  <a:pt x="382" y="405"/>
                </a:lnTo>
                <a:lnTo>
                  <a:pt x="375" y="401"/>
                </a:lnTo>
                <a:lnTo>
                  <a:pt x="367" y="397"/>
                </a:lnTo>
                <a:lnTo>
                  <a:pt x="359" y="395"/>
                </a:lnTo>
                <a:lnTo>
                  <a:pt x="351" y="393"/>
                </a:lnTo>
                <a:lnTo>
                  <a:pt x="333" y="391"/>
                </a:lnTo>
                <a:lnTo>
                  <a:pt x="239" y="391"/>
                </a:lnTo>
                <a:close/>
                <a:moveTo>
                  <a:pt x="1780" y="395"/>
                </a:moveTo>
                <a:lnTo>
                  <a:pt x="1776" y="403"/>
                </a:lnTo>
                <a:lnTo>
                  <a:pt x="1772" y="411"/>
                </a:lnTo>
                <a:lnTo>
                  <a:pt x="1763" y="423"/>
                </a:lnTo>
                <a:lnTo>
                  <a:pt x="1754" y="433"/>
                </a:lnTo>
                <a:lnTo>
                  <a:pt x="1743" y="443"/>
                </a:lnTo>
                <a:lnTo>
                  <a:pt x="1814" y="788"/>
                </a:lnTo>
                <a:lnTo>
                  <a:pt x="1742" y="788"/>
                </a:lnTo>
                <a:lnTo>
                  <a:pt x="1683" y="465"/>
                </a:lnTo>
                <a:lnTo>
                  <a:pt x="1607" y="465"/>
                </a:lnTo>
                <a:lnTo>
                  <a:pt x="1607" y="788"/>
                </a:lnTo>
                <a:lnTo>
                  <a:pt x="1543" y="788"/>
                </a:lnTo>
                <a:lnTo>
                  <a:pt x="1543" y="18"/>
                </a:lnTo>
                <a:lnTo>
                  <a:pt x="1681" y="18"/>
                </a:lnTo>
                <a:lnTo>
                  <a:pt x="1696" y="18"/>
                </a:lnTo>
                <a:lnTo>
                  <a:pt x="1703" y="20"/>
                </a:lnTo>
                <a:lnTo>
                  <a:pt x="1710" y="22"/>
                </a:lnTo>
                <a:lnTo>
                  <a:pt x="1722" y="26"/>
                </a:lnTo>
                <a:lnTo>
                  <a:pt x="1734" y="32"/>
                </a:lnTo>
                <a:lnTo>
                  <a:pt x="1745" y="40"/>
                </a:lnTo>
                <a:lnTo>
                  <a:pt x="1755" y="50"/>
                </a:lnTo>
                <a:lnTo>
                  <a:pt x="1765" y="62"/>
                </a:lnTo>
                <a:lnTo>
                  <a:pt x="1769" y="68"/>
                </a:lnTo>
                <a:lnTo>
                  <a:pt x="1773" y="76"/>
                </a:lnTo>
                <a:lnTo>
                  <a:pt x="1781" y="92"/>
                </a:lnTo>
                <a:lnTo>
                  <a:pt x="1788" y="108"/>
                </a:lnTo>
                <a:lnTo>
                  <a:pt x="1791" y="118"/>
                </a:lnTo>
                <a:lnTo>
                  <a:pt x="1794" y="126"/>
                </a:lnTo>
                <a:lnTo>
                  <a:pt x="1799" y="146"/>
                </a:lnTo>
                <a:lnTo>
                  <a:pt x="1803" y="168"/>
                </a:lnTo>
                <a:lnTo>
                  <a:pt x="1805" y="178"/>
                </a:lnTo>
                <a:lnTo>
                  <a:pt x="1806" y="190"/>
                </a:lnTo>
                <a:lnTo>
                  <a:pt x="1807" y="200"/>
                </a:lnTo>
                <a:lnTo>
                  <a:pt x="1808" y="212"/>
                </a:lnTo>
                <a:lnTo>
                  <a:pt x="1808" y="224"/>
                </a:lnTo>
                <a:lnTo>
                  <a:pt x="1808" y="236"/>
                </a:lnTo>
                <a:lnTo>
                  <a:pt x="1808" y="263"/>
                </a:lnTo>
                <a:lnTo>
                  <a:pt x="1807" y="275"/>
                </a:lnTo>
                <a:lnTo>
                  <a:pt x="1806" y="287"/>
                </a:lnTo>
                <a:lnTo>
                  <a:pt x="1805" y="299"/>
                </a:lnTo>
                <a:lnTo>
                  <a:pt x="1804" y="309"/>
                </a:lnTo>
                <a:lnTo>
                  <a:pt x="1801" y="331"/>
                </a:lnTo>
                <a:lnTo>
                  <a:pt x="1797" y="349"/>
                </a:lnTo>
                <a:lnTo>
                  <a:pt x="1792" y="367"/>
                </a:lnTo>
                <a:lnTo>
                  <a:pt x="1786" y="381"/>
                </a:lnTo>
                <a:lnTo>
                  <a:pt x="1780" y="395"/>
                </a:lnTo>
                <a:close/>
                <a:moveTo>
                  <a:pt x="1678" y="122"/>
                </a:moveTo>
                <a:lnTo>
                  <a:pt x="1607" y="122"/>
                </a:lnTo>
                <a:lnTo>
                  <a:pt x="1607" y="365"/>
                </a:lnTo>
                <a:lnTo>
                  <a:pt x="1678" y="365"/>
                </a:lnTo>
                <a:lnTo>
                  <a:pt x="1686" y="363"/>
                </a:lnTo>
                <a:lnTo>
                  <a:pt x="1694" y="361"/>
                </a:lnTo>
                <a:lnTo>
                  <a:pt x="1700" y="359"/>
                </a:lnTo>
                <a:lnTo>
                  <a:pt x="1707" y="355"/>
                </a:lnTo>
                <a:lnTo>
                  <a:pt x="1712" y="351"/>
                </a:lnTo>
                <a:lnTo>
                  <a:pt x="1717" y="345"/>
                </a:lnTo>
                <a:lnTo>
                  <a:pt x="1722" y="339"/>
                </a:lnTo>
                <a:lnTo>
                  <a:pt x="1726" y="331"/>
                </a:lnTo>
                <a:lnTo>
                  <a:pt x="1730" y="323"/>
                </a:lnTo>
                <a:lnTo>
                  <a:pt x="1733" y="313"/>
                </a:lnTo>
                <a:lnTo>
                  <a:pt x="1736" y="303"/>
                </a:lnTo>
                <a:lnTo>
                  <a:pt x="1738" y="293"/>
                </a:lnTo>
                <a:lnTo>
                  <a:pt x="1740" y="281"/>
                </a:lnTo>
                <a:lnTo>
                  <a:pt x="1741" y="269"/>
                </a:lnTo>
                <a:lnTo>
                  <a:pt x="1742" y="257"/>
                </a:lnTo>
                <a:lnTo>
                  <a:pt x="1742" y="244"/>
                </a:lnTo>
                <a:lnTo>
                  <a:pt x="1742" y="230"/>
                </a:lnTo>
                <a:lnTo>
                  <a:pt x="1742" y="218"/>
                </a:lnTo>
                <a:lnTo>
                  <a:pt x="1740" y="206"/>
                </a:lnTo>
                <a:lnTo>
                  <a:pt x="1739" y="194"/>
                </a:lnTo>
                <a:lnTo>
                  <a:pt x="1737" y="184"/>
                </a:lnTo>
                <a:lnTo>
                  <a:pt x="1734" y="174"/>
                </a:lnTo>
                <a:lnTo>
                  <a:pt x="1731" y="164"/>
                </a:lnTo>
                <a:lnTo>
                  <a:pt x="1728" y="156"/>
                </a:lnTo>
                <a:lnTo>
                  <a:pt x="1723" y="148"/>
                </a:lnTo>
                <a:lnTo>
                  <a:pt x="1719" y="142"/>
                </a:lnTo>
                <a:lnTo>
                  <a:pt x="1713" y="136"/>
                </a:lnTo>
                <a:lnTo>
                  <a:pt x="1708" y="132"/>
                </a:lnTo>
                <a:lnTo>
                  <a:pt x="1701" y="128"/>
                </a:lnTo>
                <a:lnTo>
                  <a:pt x="1694" y="124"/>
                </a:lnTo>
                <a:lnTo>
                  <a:pt x="1686" y="122"/>
                </a:lnTo>
                <a:lnTo>
                  <a:pt x="1678" y="122"/>
                </a:lnTo>
                <a:close/>
                <a:moveTo>
                  <a:pt x="2090" y="788"/>
                </a:moveTo>
                <a:lnTo>
                  <a:pt x="2069" y="635"/>
                </a:lnTo>
                <a:lnTo>
                  <a:pt x="1942" y="635"/>
                </a:lnTo>
                <a:lnTo>
                  <a:pt x="1921" y="788"/>
                </a:lnTo>
                <a:lnTo>
                  <a:pt x="1854" y="788"/>
                </a:lnTo>
                <a:lnTo>
                  <a:pt x="1975" y="18"/>
                </a:lnTo>
                <a:lnTo>
                  <a:pt x="2037" y="18"/>
                </a:lnTo>
                <a:lnTo>
                  <a:pt x="2160" y="788"/>
                </a:lnTo>
                <a:lnTo>
                  <a:pt x="2090" y="788"/>
                </a:lnTo>
                <a:close/>
                <a:moveTo>
                  <a:pt x="2026" y="323"/>
                </a:moveTo>
                <a:lnTo>
                  <a:pt x="2015" y="250"/>
                </a:lnTo>
                <a:lnTo>
                  <a:pt x="2010" y="210"/>
                </a:lnTo>
                <a:lnTo>
                  <a:pt x="2006" y="170"/>
                </a:lnTo>
                <a:lnTo>
                  <a:pt x="2001" y="210"/>
                </a:lnTo>
                <a:lnTo>
                  <a:pt x="1996" y="250"/>
                </a:lnTo>
                <a:lnTo>
                  <a:pt x="1986" y="325"/>
                </a:lnTo>
                <a:lnTo>
                  <a:pt x="1957" y="529"/>
                </a:lnTo>
                <a:lnTo>
                  <a:pt x="2053" y="529"/>
                </a:lnTo>
                <a:lnTo>
                  <a:pt x="2026" y="323"/>
                </a:lnTo>
                <a:close/>
                <a:moveTo>
                  <a:pt x="2419" y="788"/>
                </a:moveTo>
                <a:lnTo>
                  <a:pt x="2323" y="431"/>
                </a:lnTo>
                <a:lnTo>
                  <a:pt x="2285" y="527"/>
                </a:lnTo>
                <a:lnTo>
                  <a:pt x="2285" y="788"/>
                </a:lnTo>
                <a:lnTo>
                  <a:pt x="2220" y="788"/>
                </a:lnTo>
                <a:lnTo>
                  <a:pt x="2220" y="18"/>
                </a:lnTo>
                <a:lnTo>
                  <a:pt x="2285" y="18"/>
                </a:lnTo>
                <a:lnTo>
                  <a:pt x="2285" y="347"/>
                </a:lnTo>
                <a:lnTo>
                  <a:pt x="2410" y="18"/>
                </a:lnTo>
                <a:lnTo>
                  <a:pt x="2492" y="18"/>
                </a:lnTo>
                <a:lnTo>
                  <a:pt x="2363" y="333"/>
                </a:lnTo>
                <a:lnTo>
                  <a:pt x="2498" y="788"/>
                </a:lnTo>
                <a:lnTo>
                  <a:pt x="2419" y="788"/>
                </a:lnTo>
                <a:close/>
                <a:moveTo>
                  <a:pt x="2558" y="788"/>
                </a:moveTo>
                <a:lnTo>
                  <a:pt x="2558" y="18"/>
                </a:lnTo>
                <a:lnTo>
                  <a:pt x="2786" y="18"/>
                </a:lnTo>
                <a:lnTo>
                  <a:pt x="2786" y="126"/>
                </a:lnTo>
                <a:lnTo>
                  <a:pt x="2623" y="126"/>
                </a:lnTo>
                <a:lnTo>
                  <a:pt x="2623" y="341"/>
                </a:lnTo>
                <a:lnTo>
                  <a:pt x="2756" y="341"/>
                </a:lnTo>
                <a:lnTo>
                  <a:pt x="2756" y="445"/>
                </a:lnTo>
                <a:lnTo>
                  <a:pt x="2623" y="445"/>
                </a:lnTo>
                <a:lnTo>
                  <a:pt x="2623" y="683"/>
                </a:lnTo>
                <a:lnTo>
                  <a:pt x="2786" y="683"/>
                </a:lnTo>
                <a:lnTo>
                  <a:pt x="2786" y="788"/>
                </a:lnTo>
                <a:lnTo>
                  <a:pt x="2558" y="788"/>
                </a:lnTo>
                <a:close/>
                <a:moveTo>
                  <a:pt x="2939" y="18"/>
                </a:moveTo>
                <a:lnTo>
                  <a:pt x="3030" y="439"/>
                </a:lnTo>
                <a:lnTo>
                  <a:pt x="3038" y="477"/>
                </a:lnTo>
                <a:lnTo>
                  <a:pt x="3042" y="495"/>
                </a:lnTo>
                <a:lnTo>
                  <a:pt x="3046" y="515"/>
                </a:lnTo>
                <a:lnTo>
                  <a:pt x="3053" y="553"/>
                </a:lnTo>
                <a:lnTo>
                  <a:pt x="3060" y="595"/>
                </a:lnTo>
                <a:lnTo>
                  <a:pt x="3060" y="509"/>
                </a:lnTo>
                <a:lnTo>
                  <a:pt x="3059" y="421"/>
                </a:lnTo>
                <a:lnTo>
                  <a:pt x="3059" y="18"/>
                </a:lnTo>
                <a:lnTo>
                  <a:pt x="3124" y="18"/>
                </a:lnTo>
                <a:lnTo>
                  <a:pt x="3124" y="788"/>
                </a:lnTo>
                <a:lnTo>
                  <a:pt x="3046" y="788"/>
                </a:lnTo>
                <a:lnTo>
                  <a:pt x="2954" y="369"/>
                </a:lnTo>
                <a:lnTo>
                  <a:pt x="2946" y="331"/>
                </a:lnTo>
                <a:lnTo>
                  <a:pt x="2938" y="293"/>
                </a:lnTo>
                <a:lnTo>
                  <a:pt x="2931" y="255"/>
                </a:lnTo>
                <a:lnTo>
                  <a:pt x="2923" y="214"/>
                </a:lnTo>
                <a:lnTo>
                  <a:pt x="2924" y="389"/>
                </a:lnTo>
                <a:lnTo>
                  <a:pt x="2924" y="790"/>
                </a:lnTo>
                <a:lnTo>
                  <a:pt x="2859" y="790"/>
                </a:lnTo>
                <a:lnTo>
                  <a:pt x="2859" y="18"/>
                </a:lnTo>
                <a:lnTo>
                  <a:pt x="2939" y="18"/>
                </a:lnTo>
                <a:close/>
                <a:moveTo>
                  <a:pt x="3306" y="18"/>
                </a:moveTo>
                <a:lnTo>
                  <a:pt x="3396" y="425"/>
                </a:lnTo>
                <a:lnTo>
                  <a:pt x="3404" y="463"/>
                </a:lnTo>
                <a:lnTo>
                  <a:pt x="3408" y="481"/>
                </a:lnTo>
                <a:lnTo>
                  <a:pt x="3412" y="501"/>
                </a:lnTo>
                <a:lnTo>
                  <a:pt x="3419" y="539"/>
                </a:lnTo>
                <a:lnTo>
                  <a:pt x="3426" y="581"/>
                </a:lnTo>
                <a:lnTo>
                  <a:pt x="3426" y="495"/>
                </a:lnTo>
                <a:lnTo>
                  <a:pt x="3426" y="407"/>
                </a:lnTo>
                <a:lnTo>
                  <a:pt x="3426" y="18"/>
                </a:lnTo>
                <a:lnTo>
                  <a:pt x="3491" y="18"/>
                </a:lnTo>
                <a:lnTo>
                  <a:pt x="3491" y="788"/>
                </a:lnTo>
                <a:lnTo>
                  <a:pt x="3412" y="788"/>
                </a:lnTo>
                <a:lnTo>
                  <a:pt x="3320" y="383"/>
                </a:lnTo>
                <a:lnTo>
                  <a:pt x="3312" y="345"/>
                </a:lnTo>
                <a:lnTo>
                  <a:pt x="3305" y="307"/>
                </a:lnTo>
                <a:lnTo>
                  <a:pt x="3297" y="269"/>
                </a:lnTo>
                <a:lnTo>
                  <a:pt x="3290" y="228"/>
                </a:lnTo>
                <a:lnTo>
                  <a:pt x="3290" y="403"/>
                </a:lnTo>
                <a:lnTo>
                  <a:pt x="3290" y="788"/>
                </a:lnTo>
                <a:lnTo>
                  <a:pt x="3226" y="788"/>
                </a:lnTo>
                <a:lnTo>
                  <a:pt x="3226" y="18"/>
                </a:lnTo>
                <a:lnTo>
                  <a:pt x="3306" y="18"/>
                </a:lnTo>
                <a:close/>
                <a:moveTo>
                  <a:pt x="3618" y="735"/>
                </a:moveTo>
                <a:lnTo>
                  <a:pt x="3611" y="719"/>
                </a:lnTo>
                <a:lnTo>
                  <a:pt x="3605" y="701"/>
                </a:lnTo>
                <a:lnTo>
                  <a:pt x="3599" y="681"/>
                </a:lnTo>
                <a:lnTo>
                  <a:pt x="3597" y="669"/>
                </a:lnTo>
                <a:lnTo>
                  <a:pt x="3595" y="659"/>
                </a:lnTo>
                <a:lnTo>
                  <a:pt x="3591" y="635"/>
                </a:lnTo>
                <a:lnTo>
                  <a:pt x="3589" y="609"/>
                </a:lnTo>
                <a:lnTo>
                  <a:pt x="3588" y="595"/>
                </a:lnTo>
                <a:lnTo>
                  <a:pt x="3587" y="581"/>
                </a:lnTo>
                <a:lnTo>
                  <a:pt x="3587" y="549"/>
                </a:lnTo>
                <a:lnTo>
                  <a:pt x="3587" y="18"/>
                </a:lnTo>
                <a:lnTo>
                  <a:pt x="3652" y="18"/>
                </a:lnTo>
                <a:lnTo>
                  <a:pt x="3652" y="543"/>
                </a:lnTo>
                <a:lnTo>
                  <a:pt x="3652" y="563"/>
                </a:lnTo>
                <a:lnTo>
                  <a:pt x="3652" y="581"/>
                </a:lnTo>
                <a:lnTo>
                  <a:pt x="3653" y="597"/>
                </a:lnTo>
                <a:lnTo>
                  <a:pt x="3655" y="611"/>
                </a:lnTo>
                <a:lnTo>
                  <a:pt x="3657" y="625"/>
                </a:lnTo>
                <a:lnTo>
                  <a:pt x="3659" y="637"/>
                </a:lnTo>
                <a:lnTo>
                  <a:pt x="3662" y="649"/>
                </a:lnTo>
                <a:lnTo>
                  <a:pt x="3665" y="659"/>
                </a:lnTo>
                <a:lnTo>
                  <a:pt x="3669" y="667"/>
                </a:lnTo>
                <a:lnTo>
                  <a:pt x="3674" y="675"/>
                </a:lnTo>
                <a:lnTo>
                  <a:pt x="3679" y="683"/>
                </a:lnTo>
                <a:lnTo>
                  <a:pt x="3685" y="689"/>
                </a:lnTo>
                <a:lnTo>
                  <a:pt x="3688" y="691"/>
                </a:lnTo>
                <a:lnTo>
                  <a:pt x="3692" y="693"/>
                </a:lnTo>
                <a:lnTo>
                  <a:pt x="3699" y="697"/>
                </a:lnTo>
                <a:lnTo>
                  <a:pt x="3706" y="699"/>
                </a:lnTo>
                <a:lnTo>
                  <a:pt x="3715" y="699"/>
                </a:lnTo>
                <a:lnTo>
                  <a:pt x="3723" y="699"/>
                </a:lnTo>
                <a:lnTo>
                  <a:pt x="3731" y="697"/>
                </a:lnTo>
                <a:lnTo>
                  <a:pt x="3738" y="693"/>
                </a:lnTo>
                <a:lnTo>
                  <a:pt x="3744" y="689"/>
                </a:lnTo>
                <a:lnTo>
                  <a:pt x="3750" y="683"/>
                </a:lnTo>
                <a:lnTo>
                  <a:pt x="3755" y="675"/>
                </a:lnTo>
                <a:lnTo>
                  <a:pt x="3760" y="667"/>
                </a:lnTo>
                <a:lnTo>
                  <a:pt x="3764" y="659"/>
                </a:lnTo>
                <a:lnTo>
                  <a:pt x="3768" y="649"/>
                </a:lnTo>
                <a:lnTo>
                  <a:pt x="3770" y="637"/>
                </a:lnTo>
                <a:lnTo>
                  <a:pt x="3773" y="625"/>
                </a:lnTo>
                <a:lnTo>
                  <a:pt x="3775" y="613"/>
                </a:lnTo>
                <a:lnTo>
                  <a:pt x="3776" y="597"/>
                </a:lnTo>
                <a:lnTo>
                  <a:pt x="3777" y="581"/>
                </a:lnTo>
                <a:lnTo>
                  <a:pt x="3778" y="563"/>
                </a:lnTo>
                <a:lnTo>
                  <a:pt x="3778" y="543"/>
                </a:lnTo>
                <a:lnTo>
                  <a:pt x="3778" y="18"/>
                </a:lnTo>
                <a:lnTo>
                  <a:pt x="3843" y="18"/>
                </a:lnTo>
                <a:lnTo>
                  <a:pt x="3843" y="549"/>
                </a:lnTo>
                <a:lnTo>
                  <a:pt x="3843" y="581"/>
                </a:lnTo>
                <a:lnTo>
                  <a:pt x="3842" y="595"/>
                </a:lnTo>
                <a:lnTo>
                  <a:pt x="3841" y="609"/>
                </a:lnTo>
                <a:lnTo>
                  <a:pt x="3838" y="635"/>
                </a:lnTo>
                <a:lnTo>
                  <a:pt x="3835" y="659"/>
                </a:lnTo>
                <a:lnTo>
                  <a:pt x="3833" y="669"/>
                </a:lnTo>
                <a:lnTo>
                  <a:pt x="3830" y="681"/>
                </a:lnTo>
                <a:lnTo>
                  <a:pt x="3825" y="701"/>
                </a:lnTo>
                <a:lnTo>
                  <a:pt x="3822" y="709"/>
                </a:lnTo>
                <a:lnTo>
                  <a:pt x="3819" y="719"/>
                </a:lnTo>
                <a:lnTo>
                  <a:pt x="3815" y="727"/>
                </a:lnTo>
                <a:lnTo>
                  <a:pt x="3812" y="735"/>
                </a:lnTo>
                <a:lnTo>
                  <a:pt x="3807" y="744"/>
                </a:lnTo>
                <a:lnTo>
                  <a:pt x="3802" y="752"/>
                </a:lnTo>
                <a:lnTo>
                  <a:pt x="3792" y="766"/>
                </a:lnTo>
                <a:lnTo>
                  <a:pt x="3781" y="778"/>
                </a:lnTo>
                <a:lnTo>
                  <a:pt x="3775" y="784"/>
                </a:lnTo>
                <a:lnTo>
                  <a:pt x="3769" y="788"/>
                </a:lnTo>
                <a:lnTo>
                  <a:pt x="3757" y="796"/>
                </a:lnTo>
                <a:lnTo>
                  <a:pt x="3750" y="800"/>
                </a:lnTo>
                <a:lnTo>
                  <a:pt x="3743" y="802"/>
                </a:lnTo>
                <a:lnTo>
                  <a:pt x="3729" y="806"/>
                </a:lnTo>
                <a:lnTo>
                  <a:pt x="3722" y="806"/>
                </a:lnTo>
                <a:lnTo>
                  <a:pt x="3715" y="806"/>
                </a:lnTo>
                <a:lnTo>
                  <a:pt x="3700" y="806"/>
                </a:lnTo>
                <a:lnTo>
                  <a:pt x="3686" y="802"/>
                </a:lnTo>
                <a:lnTo>
                  <a:pt x="3679" y="800"/>
                </a:lnTo>
                <a:lnTo>
                  <a:pt x="3673" y="796"/>
                </a:lnTo>
                <a:lnTo>
                  <a:pt x="3660" y="788"/>
                </a:lnTo>
                <a:lnTo>
                  <a:pt x="3648" y="778"/>
                </a:lnTo>
                <a:lnTo>
                  <a:pt x="3637" y="766"/>
                </a:lnTo>
                <a:lnTo>
                  <a:pt x="3627" y="750"/>
                </a:lnTo>
                <a:lnTo>
                  <a:pt x="3623" y="742"/>
                </a:lnTo>
                <a:lnTo>
                  <a:pt x="3618" y="735"/>
                </a:lnTo>
                <a:close/>
                <a:moveTo>
                  <a:pt x="4052" y="806"/>
                </a:moveTo>
                <a:lnTo>
                  <a:pt x="4036" y="806"/>
                </a:lnTo>
                <a:lnTo>
                  <a:pt x="4020" y="802"/>
                </a:lnTo>
                <a:lnTo>
                  <a:pt x="4006" y="796"/>
                </a:lnTo>
                <a:lnTo>
                  <a:pt x="4000" y="792"/>
                </a:lnTo>
                <a:lnTo>
                  <a:pt x="3993" y="788"/>
                </a:lnTo>
                <a:lnTo>
                  <a:pt x="3981" y="780"/>
                </a:lnTo>
                <a:lnTo>
                  <a:pt x="3975" y="774"/>
                </a:lnTo>
                <a:lnTo>
                  <a:pt x="3970" y="768"/>
                </a:lnTo>
                <a:lnTo>
                  <a:pt x="3960" y="756"/>
                </a:lnTo>
                <a:lnTo>
                  <a:pt x="3956" y="748"/>
                </a:lnTo>
                <a:lnTo>
                  <a:pt x="3951" y="740"/>
                </a:lnTo>
                <a:lnTo>
                  <a:pt x="3947" y="733"/>
                </a:lnTo>
                <a:lnTo>
                  <a:pt x="3943" y="725"/>
                </a:lnTo>
                <a:lnTo>
                  <a:pt x="3939" y="717"/>
                </a:lnTo>
                <a:lnTo>
                  <a:pt x="3936" y="707"/>
                </a:lnTo>
                <a:lnTo>
                  <a:pt x="3930" y="687"/>
                </a:lnTo>
                <a:lnTo>
                  <a:pt x="3926" y="667"/>
                </a:lnTo>
                <a:lnTo>
                  <a:pt x="3924" y="657"/>
                </a:lnTo>
                <a:lnTo>
                  <a:pt x="3922" y="645"/>
                </a:lnTo>
                <a:lnTo>
                  <a:pt x="3919" y="623"/>
                </a:lnTo>
                <a:lnTo>
                  <a:pt x="3918" y="599"/>
                </a:lnTo>
                <a:lnTo>
                  <a:pt x="3917" y="585"/>
                </a:lnTo>
                <a:lnTo>
                  <a:pt x="3917" y="573"/>
                </a:lnTo>
                <a:lnTo>
                  <a:pt x="3980" y="545"/>
                </a:lnTo>
                <a:lnTo>
                  <a:pt x="3981" y="567"/>
                </a:lnTo>
                <a:lnTo>
                  <a:pt x="3982" y="587"/>
                </a:lnTo>
                <a:lnTo>
                  <a:pt x="3984" y="603"/>
                </a:lnTo>
                <a:lnTo>
                  <a:pt x="3986" y="619"/>
                </a:lnTo>
                <a:lnTo>
                  <a:pt x="3988" y="627"/>
                </a:lnTo>
                <a:lnTo>
                  <a:pt x="3989" y="635"/>
                </a:lnTo>
                <a:lnTo>
                  <a:pt x="3993" y="647"/>
                </a:lnTo>
                <a:lnTo>
                  <a:pt x="3997" y="659"/>
                </a:lnTo>
                <a:lnTo>
                  <a:pt x="4001" y="667"/>
                </a:lnTo>
                <a:lnTo>
                  <a:pt x="4006" y="677"/>
                </a:lnTo>
                <a:lnTo>
                  <a:pt x="4012" y="683"/>
                </a:lnTo>
                <a:lnTo>
                  <a:pt x="4018" y="689"/>
                </a:lnTo>
                <a:lnTo>
                  <a:pt x="4025" y="693"/>
                </a:lnTo>
                <a:lnTo>
                  <a:pt x="4032" y="697"/>
                </a:lnTo>
                <a:lnTo>
                  <a:pt x="4039" y="699"/>
                </a:lnTo>
                <a:lnTo>
                  <a:pt x="4047" y="701"/>
                </a:lnTo>
                <a:lnTo>
                  <a:pt x="4056" y="701"/>
                </a:lnTo>
                <a:lnTo>
                  <a:pt x="4063" y="701"/>
                </a:lnTo>
                <a:lnTo>
                  <a:pt x="4070" y="699"/>
                </a:lnTo>
                <a:lnTo>
                  <a:pt x="4077" y="697"/>
                </a:lnTo>
                <a:lnTo>
                  <a:pt x="4083" y="695"/>
                </a:lnTo>
                <a:lnTo>
                  <a:pt x="4089" y="691"/>
                </a:lnTo>
                <a:lnTo>
                  <a:pt x="4095" y="685"/>
                </a:lnTo>
                <a:lnTo>
                  <a:pt x="4100" y="679"/>
                </a:lnTo>
                <a:lnTo>
                  <a:pt x="4105" y="673"/>
                </a:lnTo>
                <a:lnTo>
                  <a:pt x="4109" y="665"/>
                </a:lnTo>
                <a:lnTo>
                  <a:pt x="4113" y="657"/>
                </a:lnTo>
                <a:lnTo>
                  <a:pt x="4116" y="649"/>
                </a:lnTo>
                <a:lnTo>
                  <a:pt x="4119" y="639"/>
                </a:lnTo>
                <a:lnTo>
                  <a:pt x="4121" y="627"/>
                </a:lnTo>
                <a:lnTo>
                  <a:pt x="4122" y="623"/>
                </a:lnTo>
                <a:lnTo>
                  <a:pt x="4123" y="617"/>
                </a:lnTo>
                <a:lnTo>
                  <a:pt x="4124" y="605"/>
                </a:lnTo>
                <a:lnTo>
                  <a:pt x="4124" y="591"/>
                </a:lnTo>
                <a:lnTo>
                  <a:pt x="4124" y="581"/>
                </a:lnTo>
                <a:lnTo>
                  <a:pt x="4123" y="571"/>
                </a:lnTo>
                <a:lnTo>
                  <a:pt x="4122" y="563"/>
                </a:lnTo>
                <a:lnTo>
                  <a:pt x="4121" y="553"/>
                </a:lnTo>
                <a:lnTo>
                  <a:pt x="4119" y="545"/>
                </a:lnTo>
                <a:lnTo>
                  <a:pt x="4117" y="537"/>
                </a:lnTo>
                <a:lnTo>
                  <a:pt x="4115" y="529"/>
                </a:lnTo>
                <a:lnTo>
                  <a:pt x="4112" y="521"/>
                </a:lnTo>
                <a:lnTo>
                  <a:pt x="4104" y="505"/>
                </a:lnTo>
                <a:lnTo>
                  <a:pt x="4100" y="497"/>
                </a:lnTo>
                <a:lnTo>
                  <a:pt x="4095" y="491"/>
                </a:lnTo>
                <a:lnTo>
                  <a:pt x="4084" y="477"/>
                </a:lnTo>
                <a:lnTo>
                  <a:pt x="4071" y="465"/>
                </a:lnTo>
                <a:lnTo>
                  <a:pt x="4007" y="407"/>
                </a:lnTo>
                <a:lnTo>
                  <a:pt x="3998" y="399"/>
                </a:lnTo>
                <a:lnTo>
                  <a:pt x="3988" y="389"/>
                </a:lnTo>
                <a:lnTo>
                  <a:pt x="3972" y="369"/>
                </a:lnTo>
                <a:lnTo>
                  <a:pt x="3958" y="349"/>
                </a:lnTo>
                <a:lnTo>
                  <a:pt x="3953" y="337"/>
                </a:lnTo>
                <a:lnTo>
                  <a:pt x="3947" y="325"/>
                </a:lnTo>
                <a:lnTo>
                  <a:pt x="3942" y="313"/>
                </a:lnTo>
                <a:lnTo>
                  <a:pt x="3937" y="299"/>
                </a:lnTo>
                <a:lnTo>
                  <a:pt x="3934" y="285"/>
                </a:lnTo>
                <a:lnTo>
                  <a:pt x="3931" y="269"/>
                </a:lnTo>
                <a:lnTo>
                  <a:pt x="3929" y="253"/>
                </a:lnTo>
                <a:lnTo>
                  <a:pt x="3928" y="246"/>
                </a:lnTo>
                <a:lnTo>
                  <a:pt x="3927" y="238"/>
                </a:lnTo>
                <a:lnTo>
                  <a:pt x="3927" y="220"/>
                </a:lnTo>
                <a:lnTo>
                  <a:pt x="3926" y="200"/>
                </a:lnTo>
                <a:lnTo>
                  <a:pt x="3926" y="188"/>
                </a:lnTo>
                <a:lnTo>
                  <a:pt x="3927" y="176"/>
                </a:lnTo>
                <a:lnTo>
                  <a:pt x="3928" y="164"/>
                </a:lnTo>
                <a:lnTo>
                  <a:pt x="3929" y="152"/>
                </a:lnTo>
                <a:lnTo>
                  <a:pt x="3930" y="142"/>
                </a:lnTo>
                <a:lnTo>
                  <a:pt x="3932" y="132"/>
                </a:lnTo>
                <a:lnTo>
                  <a:pt x="3936" y="112"/>
                </a:lnTo>
                <a:lnTo>
                  <a:pt x="3939" y="102"/>
                </a:lnTo>
                <a:lnTo>
                  <a:pt x="3942" y="94"/>
                </a:lnTo>
                <a:lnTo>
                  <a:pt x="3949" y="78"/>
                </a:lnTo>
                <a:lnTo>
                  <a:pt x="3957" y="62"/>
                </a:lnTo>
                <a:lnTo>
                  <a:pt x="3961" y="56"/>
                </a:lnTo>
                <a:lnTo>
                  <a:pt x="3965" y="50"/>
                </a:lnTo>
                <a:lnTo>
                  <a:pt x="3974" y="38"/>
                </a:lnTo>
                <a:lnTo>
                  <a:pt x="3984" y="28"/>
                </a:lnTo>
                <a:lnTo>
                  <a:pt x="3994" y="20"/>
                </a:lnTo>
                <a:lnTo>
                  <a:pt x="4005" y="12"/>
                </a:lnTo>
                <a:lnTo>
                  <a:pt x="4017" y="6"/>
                </a:lnTo>
                <a:lnTo>
                  <a:pt x="4029" y="4"/>
                </a:lnTo>
                <a:lnTo>
                  <a:pt x="4042" y="0"/>
                </a:lnTo>
                <a:lnTo>
                  <a:pt x="4055" y="0"/>
                </a:lnTo>
                <a:lnTo>
                  <a:pt x="4070" y="2"/>
                </a:lnTo>
                <a:lnTo>
                  <a:pt x="4085" y="4"/>
                </a:lnTo>
                <a:lnTo>
                  <a:pt x="4098" y="10"/>
                </a:lnTo>
                <a:lnTo>
                  <a:pt x="4104" y="14"/>
                </a:lnTo>
                <a:lnTo>
                  <a:pt x="4110" y="18"/>
                </a:lnTo>
                <a:lnTo>
                  <a:pt x="4122" y="26"/>
                </a:lnTo>
                <a:lnTo>
                  <a:pt x="4132" y="38"/>
                </a:lnTo>
                <a:lnTo>
                  <a:pt x="4141" y="50"/>
                </a:lnTo>
                <a:lnTo>
                  <a:pt x="4149" y="64"/>
                </a:lnTo>
                <a:lnTo>
                  <a:pt x="4153" y="72"/>
                </a:lnTo>
                <a:lnTo>
                  <a:pt x="4156" y="78"/>
                </a:lnTo>
                <a:lnTo>
                  <a:pt x="4159" y="86"/>
                </a:lnTo>
                <a:lnTo>
                  <a:pt x="4162" y="94"/>
                </a:lnTo>
                <a:lnTo>
                  <a:pt x="4167" y="112"/>
                </a:lnTo>
                <a:lnTo>
                  <a:pt x="4172" y="128"/>
                </a:lnTo>
                <a:lnTo>
                  <a:pt x="4175" y="146"/>
                </a:lnTo>
                <a:lnTo>
                  <a:pt x="4177" y="166"/>
                </a:lnTo>
                <a:lnTo>
                  <a:pt x="4179" y="184"/>
                </a:lnTo>
                <a:lnTo>
                  <a:pt x="4179" y="202"/>
                </a:lnTo>
                <a:lnTo>
                  <a:pt x="4117" y="228"/>
                </a:lnTo>
                <a:lnTo>
                  <a:pt x="4117" y="212"/>
                </a:lnTo>
                <a:lnTo>
                  <a:pt x="4115" y="198"/>
                </a:lnTo>
                <a:lnTo>
                  <a:pt x="4114" y="186"/>
                </a:lnTo>
                <a:lnTo>
                  <a:pt x="4112" y="172"/>
                </a:lnTo>
                <a:lnTo>
                  <a:pt x="4109" y="162"/>
                </a:lnTo>
                <a:lnTo>
                  <a:pt x="4106" y="152"/>
                </a:lnTo>
                <a:lnTo>
                  <a:pt x="4103" y="142"/>
                </a:lnTo>
                <a:lnTo>
                  <a:pt x="4099" y="136"/>
                </a:lnTo>
                <a:lnTo>
                  <a:pt x="4095" y="128"/>
                </a:lnTo>
                <a:lnTo>
                  <a:pt x="4090" y="122"/>
                </a:lnTo>
                <a:lnTo>
                  <a:pt x="4085" y="118"/>
                </a:lnTo>
                <a:lnTo>
                  <a:pt x="4079" y="114"/>
                </a:lnTo>
                <a:lnTo>
                  <a:pt x="4073" y="110"/>
                </a:lnTo>
                <a:lnTo>
                  <a:pt x="4067" y="108"/>
                </a:lnTo>
                <a:lnTo>
                  <a:pt x="4060" y="108"/>
                </a:lnTo>
                <a:lnTo>
                  <a:pt x="4052" y="106"/>
                </a:lnTo>
                <a:lnTo>
                  <a:pt x="4040" y="108"/>
                </a:lnTo>
                <a:lnTo>
                  <a:pt x="4028" y="112"/>
                </a:lnTo>
                <a:lnTo>
                  <a:pt x="4023" y="116"/>
                </a:lnTo>
                <a:lnTo>
                  <a:pt x="4018" y="120"/>
                </a:lnTo>
                <a:lnTo>
                  <a:pt x="4013" y="124"/>
                </a:lnTo>
                <a:lnTo>
                  <a:pt x="4009" y="128"/>
                </a:lnTo>
                <a:lnTo>
                  <a:pt x="4005" y="134"/>
                </a:lnTo>
                <a:lnTo>
                  <a:pt x="4002" y="140"/>
                </a:lnTo>
                <a:lnTo>
                  <a:pt x="3999" y="148"/>
                </a:lnTo>
                <a:lnTo>
                  <a:pt x="3996" y="156"/>
                </a:lnTo>
                <a:lnTo>
                  <a:pt x="3994" y="164"/>
                </a:lnTo>
                <a:lnTo>
                  <a:pt x="3993" y="174"/>
                </a:lnTo>
                <a:lnTo>
                  <a:pt x="3992" y="184"/>
                </a:lnTo>
                <a:lnTo>
                  <a:pt x="3992" y="194"/>
                </a:lnTo>
                <a:lnTo>
                  <a:pt x="3992" y="204"/>
                </a:lnTo>
                <a:lnTo>
                  <a:pt x="3992" y="214"/>
                </a:lnTo>
                <a:lnTo>
                  <a:pt x="3993" y="224"/>
                </a:lnTo>
                <a:lnTo>
                  <a:pt x="3994" y="232"/>
                </a:lnTo>
                <a:lnTo>
                  <a:pt x="3996" y="240"/>
                </a:lnTo>
                <a:lnTo>
                  <a:pt x="3998" y="248"/>
                </a:lnTo>
                <a:lnTo>
                  <a:pt x="4001" y="255"/>
                </a:lnTo>
                <a:lnTo>
                  <a:pt x="4003" y="261"/>
                </a:lnTo>
                <a:lnTo>
                  <a:pt x="4007" y="267"/>
                </a:lnTo>
                <a:lnTo>
                  <a:pt x="4010" y="273"/>
                </a:lnTo>
                <a:lnTo>
                  <a:pt x="4019" y="285"/>
                </a:lnTo>
                <a:lnTo>
                  <a:pt x="4029" y="297"/>
                </a:lnTo>
                <a:lnTo>
                  <a:pt x="4041" y="309"/>
                </a:lnTo>
                <a:lnTo>
                  <a:pt x="4103" y="363"/>
                </a:lnTo>
                <a:lnTo>
                  <a:pt x="4113" y="373"/>
                </a:lnTo>
                <a:lnTo>
                  <a:pt x="4123" y="383"/>
                </a:lnTo>
                <a:lnTo>
                  <a:pt x="4133" y="393"/>
                </a:lnTo>
                <a:lnTo>
                  <a:pt x="4141" y="405"/>
                </a:lnTo>
                <a:lnTo>
                  <a:pt x="4149" y="417"/>
                </a:lnTo>
                <a:lnTo>
                  <a:pt x="4156" y="427"/>
                </a:lnTo>
                <a:lnTo>
                  <a:pt x="4162" y="441"/>
                </a:lnTo>
                <a:lnTo>
                  <a:pt x="4168" y="453"/>
                </a:lnTo>
                <a:lnTo>
                  <a:pt x="4173" y="467"/>
                </a:lnTo>
                <a:lnTo>
                  <a:pt x="4177" y="481"/>
                </a:lnTo>
                <a:lnTo>
                  <a:pt x="4181" y="495"/>
                </a:lnTo>
                <a:lnTo>
                  <a:pt x="4184" y="511"/>
                </a:lnTo>
                <a:lnTo>
                  <a:pt x="4186" y="527"/>
                </a:lnTo>
                <a:lnTo>
                  <a:pt x="4187" y="537"/>
                </a:lnTo>
                <a:lnTo>
                  <a:pt x="4187" y="545"/>
                </a:lnTo>
                <a:lnTo>
                  <a:pt x="4188" y="563"/>
                </a:lnTo>
                <a:lnTo>
                  <a:pt x="4189" y="583"/>
                </a:lnTo>
                <a:lnTo>
                  <a:pt x="4188" y="609"/>
                </a:lnTo>
                <a:lnTo>
                  <a:pt x="4186" y="633"/>
                </a:lnTo>
                <a:lnTo>
                  <a:pt x="4185" y="645"/>
                </a:lnTo>
                <a:lnTo>
                  <a:pt x="4183" y="655"/>
                </a:lnTo>
                <a:lnTo>
                  <a:pt x="4181" y="667"/>
                </a:lnTo>
                <a:lnTo>
                  <a:pt x="4179" y="677"/>
                </a:lnTo>
                <a:lnTo>
                  <a:pt x="4177" y="687"/>
                </a:lnTo>
                <a:lnTo>
                  <a:pt x="4174" y="697"/>
                </a:lnTo>
                <a:lnTo>
                  <a:pt x="4167" y="715"/>
                </a:lnTo>
                <a:lnTo>
                  <a:pt x="4164" y="723"/>
                </a:lnTo>
                <a:lnTo>
                  <a:pt x="4160" y="733"/>
                </a:lnTo>
                <a:lnTo>
                  <a:pt x="4152" y="746"/>
                </a:lnTo>
                <a:lnTo>
                  <a:pt x="4147" y="754"/>
                </a:lnTo>
                <a:lnTo>
                  <a:pt x="4142" y="760"/>
                </a:lnTo>
                <a:lnTo>
                  <a:pt x="4137" y="766"/>
                </a:lnTo>
                <a:lnTo>
                  <a:pt x="4132" y="772"/>
                </a:lnTo>
                <a:lnTo>
                  <a:pt x="4121" y="782"/>
                </a:lnTo>
                <a:lnTo>
                  <a:pt x="4109" y="790"/>
                </a:lnTo>
                <a:lnTo>
                  <a:pt x="4096" y="798"/>
                </a:lnTo>
                <a:lnTo>
                  <a:pt x="4082" y="802"/>
                </a:lnTo>
                <a:lnTo>
                  <a:pt x="4075" y="804"/>
                </a:lnTo>
                <a:lnTo>
                  <a:pt x="4068" y="804"/>
                </a:lnTo>
                <a:lnTo>
                  <a:pt x="4052" y="806"/>
                </a:lnTo>
                <a:close/>
                <a:moveTo>
                  <a:pt x="1669" y="1273"/>
                </a:moveTo>
                <a:lnTo>
                  <a:pt x="1669" y="1936"/>
                </a:lnTo>
                <a:lnTo>
                  <a:pt x="1604" y="1936"/>
                </a:lnTo>
                <a:lnTo>
                  <a:pt x="1604" y="1273"/>
                </a:lnTo>
                <a:lnTo>
                  <a:pt x="1506" y="1273"/>
                </a:lnTo>
                <a:lnTo>
                  <a:pt x="1506" y="1166"/>
                </a:lnTo>
                <a:lnTo>
                  <a:pt x="1767" y="1166"/>
                </a:lnTo>
                <a:lnTo>
                  <a:pt x="1767" y="1273"/>
                </a:lnTo>
                <a:lnTo>
                  <a:pt x="1669" y="1273"/>
                </a:lnTo>
                <a:close/>
                <a:moveTo>
                  <a:pt x="1832" y="1936"/>
                </a:moveTo>
                <a:lnTo>
                  <a:pt x="1832" y="1166"/>
                </a:lnTo>
                <a:lnTo>
                  <a:pt x="2060" y="1166"/>
                </a:lnTo>
                <a:lnTo>
                  <a:pt x="2060" y="1273"/>
                </a:lnTo>
                <a:lnTo>
                  <a:pt x="1897" y="1273"/>
                </a:lnTo>
                <a:lnTo>
                  <a:pt x="1897" y="1489"/>
                </a:lnTo>
                <a:lnTo>
                  <a:pt x="2030" y="1489"/>
                </a:lnTo>
                <a:lnTo>
                  <a:pt x="2030" y="1593"/>
                </a:lnTo>
                <a:lnTo>
                  <a:pt x="1897" y="1593"/>
                </a:lnTo>
                <a:lnTo>
                  <a:pt x="1897" y="1828"/>
                </a:lnTo>
                <a:lnTo>
                  <a:pt x="2060" y="1828"/>
                </a:lnTo>
                <a:lnTo>
                  <a:pt x="2060" y="1936"/>
                </a:lnTo>
                <a:lnTo>
                  <a:pt x="1832" y="1936"/>
                </a:lnTo>
                <a:close/>
                <a:moveTo>
                  <a:pt x="2260" y="1954"/>
                </a:moveTo>
                <a:lnTo>
                  <a:pt x="2251" y="1954"/>
                </a:lnTo>
                <a:lnTo>
                  <a:pt x="2242" y="1952"/>
                </a:lnTo>
                <a:lnTo>
                  <a:pt x="2234" y="1950"/>
                </a:lnTo>
                <a:lnTo>
                  <a:pt x="2226" y="1948"/>
                </a:lnTo>
                <a:lnTo>
                  <a:pt x="2218" y="1944"/>
                </a:lnTo>
                <a:lnTo>
                  <a:pt x="2211" y="1938"/>
                </a:lnTo>
                <a:lnTo>
                  <a:pt x="2204" y="1932"/>
                </a:lnTo>
                <a:lnTo>
                  <a:pt x="2197" y="1926"/>
                </a:lnTo>
                <a:lnTo>
                  <a:pt x="2190" y="1920"/>
                </a:lnTo>
                <a:lnTo>
                  <a:pt x="2184" y="1912"/>
                </a:lnTo>
                <a:lnTo>
                  <a:pt x="2178" y="1902"/>
                </a:lnTo>
                <a:lnTo>
                  <a:pt x="2172" y="1892"/>
                </a:lnTo>
                <a:lnTo>
                  <a:pt x="2166" y="1882"/>
                </a:lnTo>
                <a:lnTo>
                  <a:pt x="2161" y="1872"/>
                </a:lnTo>
                <a:lnTo>
                  <a:pt x="2156" y="1860"/>
                </a:lnTo>
                <a:lnTo>
                  <a:pt x="2151" y="1846"/>
                </a:lnTo>
                <a:lnTo>
                  <a:pt x="2147" y="1834"/>
                </a:lnTo>
                <a:lnTo>
                  <a:pt x="2143" y="1820"/>
                </a:lnTo>
                <a:lnTo>
                  <a:pt x="2139" y="1804"/>
                </a:lnTo>
                <a:lnTo>
                  <a:pt x="2135" y="1788"/>
                </a:lnTo>
                <a:lnTo>
                  <a:pt x="2132" y="1772"/>
                </a:lnTo>
                <a:lnTo>
                  <a:pt x="2129" y="1756"/>
                </a:lnTo>
                <a:lnTo>
                  <a:pt x="2126" y="1738"/>
                </a:lnTo>
                <a:lnTo>
                  <a:pt x="2124" y="1720"/>
                </a:lnTo>
                <a:lnTo>
                  <a:pt x="2121" y="1701"/>
                </a:lnTo>
                <a:lnTo>
                  <a:pt x="2120" y="1681"/>
                </a:lnTo>
                <a:lnTo>
                  <a:pt x="2118" y="1661"/>
                </a:lnTo>
                <a:lnTo>
                  <a:pt x="2117" y="1641"/>
                </a:lnTo>
                <a:lnTo>
                  <a:pt x="2115" y="1597"/>
                </a:lnTo>
                <a:lnTo>
                  <a:pt x="2114" y="1575"/>
                </a:lnTo>
                <a:lnTo>
                  <a:pt x="2114" y="1551"/>
                </a:lnTo>
                <a:lnTo>
                  <a:pt x="2115" y="1505"/>
                </a:lnTo>
                <a:lnTo>
                  <a:pt x="2117" y="1461"/>
                </a:lnTo>
                <a:lnTo>
                  <a:pt x="2118" y="1441"/>
                </a:lnTo>
                <a:lnTo>
                  <a:pt x="2120" y="1421"/>
                </a:lnTo>
                <a:lnTo>
                  <a:pt x="2124" y="1383"/>
                </a:lnTo>
                <a:lnTo>
                  <a:pt x="2126" y="1363"/>
                </a:lnTo>
                <a:lnTo>
                  <a:pt x="2129" y="1347"/>
                </a:lnTo>
                <a:lnTo>
                  <a:pt x="2135" y="1313"/>
                </a:lnTo>
                <a:lnTo>
                  <a:pt x="2139" y="1297"/>
                </a:lnTo>
                <a:lnTo>
                  <a:pt x="2143" y="1283"/>
                </a:lnTo>
                <a:lnTo>
                  <a:pt x="2147" y="1269"/>
                </a:lnTo>
                <a:lnTo>
                  <a:pt x="2151" y="1255"/>
                </a:lnTo>
                <a:lnTo>
                  <a:pt x="2156" y="1243"/>
                </a:lnTo>
                <a:lnTo>
                  <a:pt x="2161" y="1231"/>
                </a:lnTo>
                <a:lnTo>
                  <a:pt x="2166" y="1220"/>
                </a:lnTo>
                <a:lnTo>
                  <a:pt x="2172" y="1210"/>
                </a:lnTo>
                <a:lnTo>
                  <a:pt x="2178" y="1200"/>
                </a:lnTo>
                <a:lnTo>
                  <a:pt x="2184" y="1192"/>
                </a:lnTo>
                <a:lnTo>
                  <a:pt x="2197" y="1176"/>
                </a:lnTo>
                <a:lnTo>
                  <a:pt x="2204" y="1170"/>
                </a:lnTo>
                <a:lnTo>
                  <a:pt x="2211" y="1164"/>
                </a:lnTo>
                <a:lnTo>
                  <a:pt x="2218" y="1160"/>
                </a:lnTo>
                <a:lnTo>
                  <a:pt x="2226" y="1156"/>
                </a:lnTo>
                <a:lnTo>
                  <a:pt x="2234" y="1152"/>
                </a:lnTo>
                <a:lnTo>
                  <a:pt x="2242" y="1150"/>
                </a:lnTo>
                <a:lnTo>
                  <a:pt x="2251" y="1148"/>
                </a:lnTo>
                <a:lnTo>
                  <a:pt x="2260" y="1148"/>
                </a:lnTo>
                <a:lnTo>
                  <a:pt x="2268" y="1148"/>
                </a:lnTo>
                <a:lnTo>
                  <a:pt x="2277" y="1150"/>
                </a:lnTo>
                <a:lnTo>
                  <a:pt x="2285" y="1152"/>
                </a:lnTo>
                <a:lnTo>
                  <a:pt x="2293" y="1156"/>
                </a:lnTo>
                <a:lnTo>
                  <a:pt x="2301" y="1160"/>
                </a:lnTo>
                <a:lnTo>
                  <a:pt x="2308" y="1164"/>
                </a:lnTo>
                <a:lnTo>
                  <a:pt x="2316" y="1170"/>
                </a:lnTo>
                <a:lnTo>
                  <a:pt x="2323" y="1176"/>
                </a:lnTo>
                <a:lnTo>
                  <a:pt x="2329" y="1184"/>
                </a:lnTo>
                <a:lnTo>
                  <a:pt x="2336" y="1192"/>
                </a:lnTo>
                <a:lnTo>
                  <a:pt x="2342" y="1200"/>
                </a:lnTo>
                <a:lnTo>
                  <a:pt x="2348" y="1210"/>
                </a:lnTo>
                <a:lnTo>
                  <a:pt x="2353" y="1220"/>
                </a:lnTo>
                <a:lnTo>
                  <a:pt x="2359" y="1229"/>
                </a:lnTo>
                <a:lnTo>
                  <a:pt x="2364" y="1241"/>
                </a:lnTo>
                <a:lnTo>
                  <a:pt x="2368" y="1255"/>
                </a:lnTo>
                <a:lnTo>
                  <a:pt x="2377" y="1283"/>
                </a:lnTo>
                <a:lnTo>
                  <a:pt x="2381" y="1297"/>
                </a:lnTo>
                <a:lnTo>
                  <a:pt x="2385" y="1313"/>
                </a:lnTo>
                <a:lnTo>
                  <a:pt x="2391" y="1345"/>
                </a:lnTo>
                <a:lnTo>
                  <a:pt x="2394" y="1363"/>
                </a:lnTo>
                <a:lnTo>
                  <a:pt x="2396" y="1381"/>
                </a:lnTo>
                <a:lnTo>
                  <a:pt x="2398" y="1401"/>
                </a:lnTo>
                <a:lnTo>
                  <a:pt x="2400" y="1421"/>
                </a:lnTo>
                <a:lnTo>
                  <a:pt x="2402" y="1441"/>
                </a:lnTo>
                <a:lnTo>
                  <a:pt x="2403" y="1461"/>
                </a:lnTo>
                <a:lnTo>
                  <a:pt x="2404" y="1483"/>
                </a:lnTo>
                <a:lnTo>
                  <a:pt x="2405" y="1505"/>
                </a:lnTo>
                <a:lnTo>
                  <a:pt x="2405" y="1527"/>
                </a:lnTo>
                <a:lnTo>
                  <a:pt x="2406" y="1551"/>
                </a:lnTo>
                <a:lnTo>
                  <a:pt x="2405" y="1597"/>
                </a:lnTo>
                <a:lnTo>
                  <a:pt x="2403" y="1641"/>
                </a:lnTo>
                <a:lnTo>
                  <a:pt x="2402" y="1663"/>
                </a:lnTo>
                <a:lnTo>
                  <a:pt x="2400" y="1683"/>
                </a:lnTo>
                <a:lnTo>
                  <a:pt x="2396" y="1720"/>
                </a:lnTo>
                <a:lnTo>
                  <a:pt x="2394" y="1738"/>
                </a:lnTo>
                <a:lnTo>
                  <a:pt x="2391" y="1756"/>
                </a:lnTo>
                <a:lnTo>
                  <a:pt x="2388" y="1772"/>
                </a:lnTo>
                <a:lnTo>
                  <a:pt x="2385" y="1790"/>
                </a:lnTo>
                <a:lnTo>
                  <a:pt x="2381" y="1804"/>
                </a:lnTo>
                <a:lnTo>
                  <a:pt x="2377" y="1820"/>
                </a:lnTo>
                <a:lnTo>
                  <a:pt x="2373" y="1834"/>
                </a:lnTo>
                <a:lnTo>
                  <a:pt x="2368" y="1846"/>
                </a:lnTo>
                <a:lnTo>
                  <a:pt x="2364" y="1860"/>
                </a:lnTo>
                <a:lnTo>
                  <a:pt x="2359" y="1872"/>
                </a:lnTo>
                <a:lnTo>
                  <a:pt x="2353" y="1882"/>
                </a:lnTo>
                <a:lnTo>
                  <a:pt x="2348" y="1894"/>
                </a:lnTo>
                <a:lnTo>
                  <a:pt x="2342" y="1902"/>
                </a:lnTo>
                <a:lnTo>
                  <a:pt x="2336" y="1912"/>
                </a:lnTo>
                <a:lnTo>
                  <a:pt x="2329" y="1920"/>
                </a:lnTo>
                <a:lnTo>
                  <a:pt x="2323" y="1926"/>
                </a:lnTo>
                <a:lnTo>
                  <a:pt x="2316" y="1934"/>
                </a:lnTo>
                <a:lnTo>
                  <a:pt x="2308" y="1938"/>
                </a:lnTo>
                <a:lnTo>
                  <a:pt x="2301" y="1944"/>
                </a:lnTo>
                <a:lnTo>
                  <a:pt x="2293" y="1948"/>
                </a:lnTo>
                <a:lnTo>
                  <a:pt x="2285" y="1950"/>
                </a:lnTo>
                <a:lnTo>
                  <a:pt x="2277" y="1952"/>
                </a:lnTo>
                <a:lnTo>
                  <a:pt x="2268" y="1954"/>
                </a:lnTo>
                <a:lnTo>
                  <a:pt x="2260" y="1954"/>
                </a:lnTo>
                <a:close/>
                <a:moveTo>
                  <a:pt x="2260" y="1257"/>
                </a:moveTo>
                <a:lnTo>
                  <a:pt x="2251" y="1257"/>
                </a:lnTo>
                <a:lnTo>
                  <a:pt x="2246" y="1259"/>
                </a:lnTo>
                <a:lnTo>
                  <a:pt x="2242" y="1259"/>
                </a:lnTo>
                <a:lnTo>
                  <a:pt x="2234" y="1265"/>
                </a:lnTo>
                <a:lnTo>
                  <a:pt x="2227" y="1271"/>
                </a:lnTo>
                <a:lnTo>
                  <a:pt x="2223" y="1275"/>
                </a:lnTo>
                <a:lnTo>
                  <a:pt x="2220" y="1281"/>
                </a:lnTo>
                <a:lnTo>
                  <a:pt x="2216" y="1287"/>
                </a:lnTo>
                <a:lnTo>
                  <a:pt x="2213" y="1293"/>
                </a:lnTo>
                <a:lnTo>
                  <a:pt x="2210" y="1299"/>
                </a:lnTo>
                <a:lnTo>
                  <a:pt x="2207" y="1307"/>
                </a:lnTo>
                <a:lnTo>
                  <a:pt x="2201" y="1323"/>
                </a:lnTo>
                <a:lnTo>
                  <a:pt x="2199" y="1331"/>
                </a:lnTo>
                <a:lnTo>
                  <a:pt x="2196" y="1341"/>
                </a:lnTo>
                <a:lnTo>
                  <a:pt x="2192" y="1363"/>
                </a:lnTo>
                <a:lnTo>
                  <a:pt x="2188" y="1387"/>
                </a:lnTo>
                <a:lnTo>
                  <a:pt x="2187" y="1399"/>
                </a:lnTo>
                <a:lnTo>
                  <a:pt x="2185" y="1413"/>
                </a:lnTo>
                <a:lnTo>
                  <a:pt x="2183" y="1443"/>
                </a:lnTo>
                <a:lnTo>
                  <a:pt x="2181" y="1477"/>
                </a:lnTo>
                <a:lnTo>
                  <a:pt x="2180" y="1513"/>
                </a:lnTo>
                <a:lnTo>
                  <a:pt x="2180" y="1551"/>
                </a:lnTo>
                <a:lnTo>
                  <a:pt x="2180" y="1591"/>
                </a:lnTo>
                <a:lnTo>
                  <a:pt x="2181" y="1627"/>
                </a:lnTo>
                <a:lnTo>
                  <a:pt x="2183" y="1659"/>
                </a:lnTo>
                <a:lnTo>
                  <a:pt x="2185" y="1689"/>
                </a:lnTo>
                <a:lnTo>
                  <a:pt x="2188" y="1714"/>
                </a:lnTo>
                <a:lnTo>
                  <a:pt x="2192" y="1738"/>
                </a:lnTo>
                <a:lnTo>
                  <a:pt x="2196" y="1760"/>
                </a:lnTo>
                <a:lnTo>
                  <a:pt x="2201" y="1780"/>
                </a:lnTo>
                <a:lnTo>
                  <a:pt x="2207" y="1796"/>
                </a:lnTo>
                <a:lnTo>
                  <a:pt x="2213" y="1810"/>
                </a:lnTo>
                <a:lnTo>
                  <a:pt x="2220" y="1820"/>
                </a:lnTo>
                <a:lnTo>
                  <a:pt x="2227" y="1830"/>
                </a:lnTo>
                <a:lnTo>
                  <a:pt x="2234" y="1836"/>
                </a:lnTo>
                <a:lnTo>
                  <a:pt x="2242" y="1842"/>
                </a:lnTo>
                <a:lnTo>
                  <a:pt x="2251" y="1844"/>
                </a:lnTo>
                <a:lnTo>
                  <a:pt x="2260" y="1846"/>
                </a:lnTo>
                <a:lnTo>
                  <a:pt x="2269" y="1844"/>
                </a:lnTo>
                <a:lnTo>
                  <a:pt x="2273" y="1844"/>
                </a:lnTo>
                <a:lnTo>
                  <a:pt x="2277" y="1842"/>
                </a:lnTo>
                <a:lnTo>
                  <a:pt x="2285" y="1836"/>
                </a:lnTo>
                <a:lnTo>
                  <a:pt x="2293" y="1830"/>
                </a:lnTo>
                <a:lnTo>
                  <a:pt x="2296" y="1826"/>
                </a:lnTo>
                <a:lnTo>
                  <a:pt x="2300" y="1820"/>
                </a:lnTo>
                <a:lnTo>
                  <a:pt x="2306" y="1808"/>
                </a:lnTo>
                <a:lnTo>
                  <a:pt x="2309" y="1802"/>
                </a:lnTo>
                <a:lnTo>
                  <a:pt x="2312" y="1796"/>
                </a:lnTo>
                <a:lnTo>
                  <a:pt x="2318" y="1778"/>
                </a:lnTo>
                <a:lnTo>
                  <a:pt x="2320" y="1770"/>
                </a:lnTo>
                <a:lnTo>
                  <a:pt x="2323" y="1760"/>
                </a:lnTo>
                <a:lnTo>
                  <a:pt x="2327" y="1738"/>
                </a:lnTo>
                <a:lnTo>
                  <a:pt x="2331" y="1714"/>
                </a:lnTo>
                <a:lnTo>
                  <a:pt x="2332" y="1703"/>
                </a:lnTo>
                <a:lnTo>
                  <a:pt x="2334" y="1689"/>
                </a:lnTo>
                <a:lnTo>
                  <a:pt x="2336" y="1659"/>
                </a:lnTo>
                <a:lnTo>
                  <a:pt x="2338" y="1625"/>
                </a:lnTo>
                <a:lnTo>
                  <a:pt x="2339" y="1591"/>
                </a:lnTo>
                <a:lnTo>
                  <a:pt x="2340" y="1551"/>
                </a:lnTo>
                <a:lnTo>
                  <a:pt x="2339" y="1513"/>
                </a:lnTo>
                <a:lnTo>
                  <a:pt x="2338" y="1477"/>
                </a:lnTo>
                <a:lnTo>
                  <a:pt x="2336" y="1443"/>
                </a:lnTo>
                <a:lnTo>
                  <a:pt x="2334" y="1415"/>
                </a:lnTo>
                <a:lnTo>
                  <a:pt x="2331" y="1387"/>
                </a:lnTo>
                <a:lnTo>
                  <a:pt x="2327" y="1363"/>
                </a:lnTo>
                <a:lnTo>
                  <a:pt x="2323" y="1341"/>
                </a:lnTo>
                <a:lnTo>
                  <a:pt x="2318" y="1323"/>
                </a:lnTo>
                <a:lnTo>
                  <a:pt x="2312" y="1307"/>
                </a:lnTo>
                <a:lnTo>
                  <a:pt x="2306" y="1293"/>
                </a:lnTo>
                <a:lnTo>
                  <a:pt x="2300" y="1281"/>
                </a:lnTo>
                <a:lnTo>
                  <a:pt x="2293" y="1271"/>
                </a:lnTo>
                <a:lnTo>
                  <a:pt x="2285" y="1265"/>
                </a:lnTo>
                <a:lnTo>
                  <a:pt x="2277" y="1259"/>
                </a:lnTo>
                <a:lnTo>
                  <a:pt x="2273" y="1259"/>
                </a:lnTo>
                <a:lnTo>
                  <a:pt x="2269" y="1257"/>
                </a:lnTo>
                <a:lnTo>
                  <a:pt x="2260" y="1257"/>
                </a:lnTo>
                <a:close/>
                <a:moveTo>
                  <a:pt x="2485" y="1936"/>
                </a:moveTo>
                <a:lnTo>
                  <a:pt x="2485" y="1166"/>
                </a:lnTo>
                <a:lnTo>
                  <a:pt x="2549" y="1166"/>
                </a:lnTo>
                <a:lnTo>
                  <a:pt x="2549" y="1828"/>
                </a:lnTo>
                <a:lnTo>
                  <a:pt x="2709" y="1828"/>
                </a:lnTo>
                <a:lnTo>
                  <a:pt x="2709" y="1936"/>
                </a:lnTo>
                <a:lnTo>
                  <a:pt x="2485" y="1936"/>
                </a:lnTo>
                <a:close/>
                <a:moveTo>
                  <a:pt x="2769" y="1936"/>
                </a:moveTo>
                <a:lnTo>
                  <a:pt x="2769" y="1166"/>
                </a:lnTo>
                <a:lnTo>
                  <a:pt x="2835" y="1166"/>
                </a:lnTo>
                <a:lnTo>
                  <a:pt x="2835" y="1828"/>
                </a:lnTo>
                <a:lnTo>
                  <a:pt x="2994" y="1828"/>
                </a:lnTo>
                <a:lnTo>
                  <a:pt x="2994" y="1936"/>
                </a:lnTo>
                <a:lnTo>
                  <a:pt x="2769" y="1936"/>
                </a:lnTo>
                <a:close/>
                <a:moveTo>
                  <a:pt x="3055" y="1166"/>
                </a:moveTo>
                <a:lnTo>
                  <a:pt x="3120" y="1166"/>
                </a:lnTo>
                <a:lnTo>
                  <a:pt x="3120" y="1936"/>
                </a:lnTo>
                <a:lnTo>
                  <a:pt x="3055" y="1936"/>
                </a:lnTo>
                <a:lnTo>
                  <a:pt x="3055" y="1166"/>
                </a:lnTo>
                <a:close/>
                <a:moveTo>
                  <a:pt x="3337" y="1954"/>
                </a:moveTo>
                <a:lnTo>
                  <a:pt x="3321" y="1954"/>
                </a:lnTo>
                <a:lnTo>
                  <a:pt x="3305" y="1950"/>
                </a:lnTo>
                <a:lnTo>
                  <a:pt x="3291" y="1944"/>
                </a:lnTo>
                <a:lnTo>
                  <a:pt x="3284" y="1940"/>
                </a:lnTo>
                <a:lnTo>
                  <a:pt x="3278" y="1936"/>
                </a:lnTo>
                <a:lnTo>
                  <a:pt x="3266" y="1928"/>
                </a:lnTo>
                <a:lnTo>
                  <a:pt x="3260" y="1922"/>
                </a:lnTo>
                <a:lnTo>
                  <a:pt x="3255" y="1916"/>
                </a:lnTo>
                <a:lnTo>
                  <a:pt x="3245" y="1902"/>
                </a:lnTo>
                <a:lnTo>
                  <a:pt x="3241" y="1896"/>
                </a:lnTo>
                <a:lnTo>
                  <a:pt x="3236" y="1888"/>
                </a:lnTo>
                <a:lnTo>
                  <a:pt x="3232" y="1880"/>
                </a:lnTo>
                <a:lnTo>
                  <a:pt x="3229" y="1872"/>
                </a:lnTo>
                <a:lnTo>
                  <a:pt x="3225" y="1864"/>
                </a:lnTo>
                <a:lnTo>
                  <a:pt x="3222" y="1854"/>
                </a:lnTo>
                <a:lnTo>
                  <a:pt x="3216" y="1834"/>
                </a:lnTo>
                <a:lnTo>
                  <a:pt x="3211" y="1814"/>
                </a:lnTo>
                <a:lnTo>
                  <a:pt x="3210" y="1804"/>
                </a:lnTo>
                <a:lnTo>
                  <a:pt x="3208" y="1792"/>
                </a:lnTo>
                <a:lnTo>
                  <a:pt x="3205" y="1770"/>
                </a:lnTo>
                <a:lnTo>
                  <a:pt x="3203" y="1746"/>
                </a:lnTo>
                <a:lnTo>
                  <a:pt x="3203" y="1732"/>
                </a:lnTo>
                <a:lnTo>
                  <a:pt x="3203" y="1720"/>
                </a:lnTo>
                <a:lnTo>
                  <a:pt x="3265" y="1693"/>
                </a:lnTo>
                <a:lnTo>
                  <a:pt x="3266" y="1714"/>
                </a:lnTo>
                <a:lnTo>
                  <a:pt x="3267" y="1734"/>
                </a:lnTo>
                <a:lnTo>
                  <a:pt x="3269" y="1750"/>
                </a:lnTo>
                <a:lnTo>
                  <a:pt x="3271" y="1766"/>
                </a:lnTo>
                <a:lnTo>
                  <a:pt x="3273" y="1774"/>
                </a:lnTo>
                <a:lnTo>
                  <a:pt x="3274" y="1782"/>
                </a:lnTo>
                <a:lnTo>
                  <a:pt x="3278" y="1794"/>
                </a:lnTo>
                <a:lnTo>
                  <a:pt x="3282" y="1804"/>
                </a:lnTo>
                <a:lnTo>
                  <a:pt x="3286" y="1814"/>
                </a:lnTo>
                <a:lnTo>
                  <a:pt x="3291" y="1824"/>
                </a:lnTo>
                <a:lnTo>
                  <a:pt x="3297" y="1830"/>
                </a:lnTo>
                <a:lnTo>
                  <a:pt x="3303" y="1836"/>
                </a:lnTo>
                <a:lnTo>
                  <a:pt x="3310" y="1840"/>
                </a:lnTo>
                <a:lnTo>
                  <a:pt x="3317" y="1844"/>
                </a:lnTo>
                <a:lnTo>
                  <a:pt x="3324" y="1846"/>
                </a:lnTo>
                <a:lnTo>
                  <a:pt x="3332" y="1848"/>
                </a:lnTo>
                <a:lnTo>
                  <a:pt x="3341" y="1848"/>
                </a:lnTo>
                <a:lnTo>
                  <a:pt x="3348" y="1848"/>
                </a:lnTo>
                <a:lnTo>
                  <a:pt x="3355" y="1846"/>
                </a:lnTo>
                <a:lnTo>
                  <a:pt x="3362" y="1844"/>
                </a:lnTo>
                <a:lnTo>
                  <a:pt x="3368" y="1842"/>
                </a:lnTo>
                <a:lnTo>
                  <a:pt x="3374" y="1838"/>
                </a:lnTo>
                <a:lnTo>
                  <a:pt x="3380" y="1832"/>
                </a:lnTo>
                <a:lnTo>
                  <a:pt x="3385" y="1826"/>
                </a:lnTo>
                <a:lnTo>
                  <a:pt x="3390" y="1820"/>
                </a:lnTo>
                <a:lnTo>
                  <a:pt x="3394" y="1812"/>
                </a:lnTo>
                <a:lnTo>
                  <a:pt x="3398" y="1804"/>
                </a:lnTo>
                <a:lnTo>
                  <a:pt x="3401" y="1796"/>
                </a:lnTo>
                <a:lnTo>
                  <a:pt x="3404" y="1786"/>
                </a:lnTo>
                <a:lnTo>
                  <a:pt x="3406" y="1774"/>
                </a:lnTo>
                <a:lnTo>
                  <a:pt x="3407" y="1770"/>
                </a:lnTo>
                <a:lnTo>
                  <a:pt x="3408" y="1764"/>
                </a:lnTo>
                <a:lnTo>
                  <a:pt x="3409" y="1752"/>
                </a:lnTo>
                <a:lnTo>
                  <a:pt x="3409" y="1738"/>
                </a:lnTo>
                <a:lnTo>
                  <a:pt x="3409" y="1728"/>
                </a:lnTo>
                <a:lnTo>
                  <a:pt x="3408" y="1718"/>
                </a:lnTo>
                <a:lnTo>
                  <a:pt x="3407" y="1711"/>
                </a:lnTo>
                <a:lnTo>
                  <a:pt x="3406" y="1701"/>
                </a:lnTo>
                <a:lnTo>
                  <a:pt x="3404" y="1693"/>
                </a:lnTo>
                <a:lnTo>
                  <a:pt x="3402" y="1685"/>
                </a:lnTo>
                <a:lnTo>
                  <a:pt x="3400" y="1677"/>
                </a:lnTo>
                <a:lnTo>
                  <a:pt x="3396" y="1669"/>
                </a:lnTo>
                <a:lnTo>
                  <a:pt x="3389" y="1653"/>
                </a:lnTo>
                <a:lnTo>
                  <a:pt x="3385" y="1645"/>
                </a:lnTo>
                <a:lnTo>
                  <a:pt x="3380" y="1639"/>
                </a:lnTo>
                <a:lnTo>
                  <a:pt x="3369" y="1625"/>
                </a:lnTo>
                <a:lnTo>
                  <a:pt x="3356" y="1613"/>
                </a:lnTo>
                <a:lnTo>
                  <a:pt x="3292" y="1555"/>
                </a:lnTo>
                <a:lnTo>
                  <a:pt x="3282" y="1547"/>
                </a:lnTo>
                <a:lnTo>
                  <a:pt x="3273" y="1537"/>
                </a:lnTo>
                <a:lnTo>
                  <a:pt x="3257" y="1517"/>
                </a:lnTo>
                <a:lnTo>
                  <a:pt x="3243" y="1497"/>
                </a:lnTo>
                <a:lnTo>
                  <a:pt x="3237" y="1485"/>
                </a:lnTo>
                <a:lnTo>
                  <a:pt x="3232" y="1473"/>
                </a:lnTo>
                <a:lnTo>
                  <a:pt x="3227" y="1461"/>
                </a:lnTo>
                <a:lnTo>
                  <a:pt x="3223" y="1447"/>
                </a:lnTo>
                <a:lnTo>
                  <a:pt x="3220" y="1433"/>
                </a:lnTo>
                <a:lnTo>
                  <a:pt x="3217" y="1417"/>
                </a:lnTo>
                <a:lnTo>
                  <a:pt x="3215" y="1401"/>
                </a:lnTo>
                <a:lnTo>
                  <a:pt x="3214" y="1393"/>
                </a:lnTo>
                <a:lnTo>
                  <a:pt x="3213" y="1385"/>
                </a:lnTo>
                <a:lnTo>
                  <a:pt x="3212" y="1367"/>
                </a:lnTo>
                <a:lnTo>
                  <a:pt x="3212" y="1347"/>
                </a:lnTo>
                <a:lnTo>
                  <a:pt x="3212" y="1335"/>
                </a:lnTo>
                <a:lnTo>
                  <a:pt x="3213" y="1323"/>
                </a:lnTo>
                <a:lnTo>
                  <a:pt x="3214" y="1311"/>
                </a:lnTo>
                <a:lnTo>
                  <a:pt x="3215" y="1299"/>
                </a:lnTo>
                <a:lnTo>
                  <a:pt x="3216" y="1289"/>
                </a:lnTo>
                <a:lnTo>
                  <a:pt x="3218" y="1279"/>
                </a:lnTo>
                <a:lnTo>
                  <a:pt x="3222" y="1259"/>
                </a:lnTo>
                <a:lnTo>
                  <a:pt x="3225" y="1249"/>
                </a:lnTo>
                <a:lnTo>
                  <a:pt x="3228" y="1241"/>
                </a:lnTo>
                <a:lnTo>
                  <a:pt x="3234" y="1225"/>
                </a:lnTo>
                <a:lnTo>
                  <a:pt x="3241" y="1210"/>
                </a:lnTo>
                <a:lnTo>
                  <a:pt x="3245" y="1204"/>
                </a:lnTo>
                <a:lnTo>
                  <a:pt x="3250" y="1198"/>
                </a:lnTo>
                <a:lnTo>
                  <a:pt x="3259" y="1186"/>
                </a:lnTo>
                <a:lnTo>
                  <a:pt x="3269" y="1176"/>
                </a:lnTo>
                <a:lnTo>
                  <a:pt x="3279" y="1166"/>
                </a:lnTo>
                <a:lnTo>
                  <a:pt x="3290" y="1160"/>
                </a:lnTo>
                <a:lnTo>
                  <a:pt x="3302" y="1154"/>
                </a:lnTo>
                <a:lnTo>
                  <a:pt x="3314" y="1150"/>
                </a:lnTo>
                <a:lnTo>
                  <a:pt x="3327" y="1148"/>
                </a:lnTo>
                <a:lnTo>
                  <a:pt x="3340" y="1148"/>
                </a:lnTo>
                <a:lnTo>
                  <a:pt x="3355" y="1150"/>
                </a:lnTo>
                <a:lnTo>
                  <a:pt x="3370" y="1152"/>
                </a:lnTo>
                <a:lnTo>
                  <a:pt x="3383" y="1158"/>
                </a:lnTo>
                <a:lnTo>
                  <a:pt x="3389" y="1162"/>
                </a:lnTo>
                <a:lnTo>
                  <a:pt x="3395" y="1166"/>
                </a:lnTo>
                <a:lnTo>
                  <a:pt x="3407" y="1174"/>
                </a:lnTo>
                <a:lnTo>
                  <a:pt x="3417" y="1186"/>
                </a:lnTo>
                <a:lnTo>
                  <a:pt x="3426" y="1198"/>
                </a:lnTo>
                <a:lnTo>
                  <a:pt x="3434" y="1212"/>
                </a:lnTo>
                <a:lnTo>
                  <a:pt x="3438" y="1218"/>
                </a:lnTo>
                <a:lnTo>
                  <a:pt x="3441" y="1225"/>
                </a:lnTo>
                <a:lnTo>
                  <a:pt x="3444" y="1233"/>
                </a:lnTo>
                <a:lnTo>
                  <a:pt x="3447" y="1241"/>
                </a:lnTo>
                <a:lnTo>
                  <a:pt x="3452" y="1259"/>
                </a:lnTo>
                <a:lnTo>
                  <a:pt x="3457" y="1275"/>
                </a:lnTo>
                <a:lnTo>
                  <a:pt x="3460" y="1293"/>
                </a:lnTo>
                <a:lnTo>
                  <a:pt x="3462" y="1313"/>
                </a:lnTo>
                <a:lnTo>
                  <a:pt x="3464" y="1331"/>
                </a:lnTo>
                <a:lnTo>
                  <a:pt x="3464" y="1349"/>
                </a:lnTo>
                <a:lnTo>
                  <a:pt x="3402" y="1375"/>
                </a:lnTo>
                <a:lnTo>
                  <a:pt x="3402" y="1359"/>
                </a:lnTo>
                <a:lnTo>
                  <a:pt x="3400" y="1345"/>
                </a:lnTo>
                <a:lnTo>
                  <a:pt x="3399" y="1331"/>
                </a:lnTo>
                <a:lnTo>
                  <a:pt x="3397" y="1319"/>
                </a:lnTo>
                <a:lnTo>
                  <a:pt x="3394" y="1309"/>
                </a:lnTo>
                <a:lnTo>
                  <a:pt x="3391" y="1299"/>
                </a:lnTo>
                <a:lnTo>
                  <a:pt x="3388" y="1289"/>
                </a:lnTo>
                <a:lnTo>
                  <a:pt x="3384" y="1281"/>
                </a:lnTo>
                <a:lnTo>
                  <a:pt x="3380" y="1275"/>
                </a:lnTo>
                <a:lnTo>
                  <a:pt x="3375" y="1269"/>
                </a:lnTo>
                <a:lnTo>
                  <a:pt x="3370" y="1265"/>
                </a:lnTo>
                <a:lnTo>
                  <a:pt x="3364" y="1261"/>
                </a:lnTo>
                <a:lnTo>
                  <a:pt x="3358" y="1257"/>
                </a:lnTo>
                <a:lnTo>
                  <a:pt x="3352" y="1255"/>
                </a:lnTo>
                <a:lnTo>
                  <a:pt x="3345" y="1255"/>
                </a:lnTo>
                <a:lnTo>
                  <a:pt x="3337" y="1253"/>
                </a:lnTo>
                <a:lnTo>
                  <a:pt x="3325" y="1255"/>
                </a:lnTo>
                <a:lnTo>
                  <a:pt x="3313" y="1259"/>
                </a:lnTo>
                <a:lnTo>
                  <a:pt x="3308" y="1263"/>
                </a:lnTo>
                <a:lnTo>
                  <a:pt x="3303" y="1267"/>
                </a:lnTo>
                <a:lnTo>
                  <a:pt x="3298" y="1271"/>
                </a:lnTo>
                <a:lnTo>
                  <a:pt x="3294" y="1275"/>
                </a:lnTo>
                <a:lnTo>
                  <a:pt x="3290" y="1281"/>
                </a:lnTo>
                <a:lnTo>
                  <a:pt x="3287" y="1287"/>
                </a:lnTo>
                <a:lnTo>
                  <a:pt x="3284" y="1295"/>
                </a:lnTo>
                <a:lnTo>
                  <a:pt x="3281" y="1303"/>
                </a:lnTo>
                <a:lnTo>
                  <a:pt x="3279" y="1311"/>
                </a:lnTo>
                <a:lnTo>
                  <a:pt x="3278" y="1321"/>
                </a:lnTo>
                <a:lnTo>
                  <a:pt x="3277" y="1331"/>
                </a:lnTo>
                <a:lnTo>
                  <a:pt x="3276" y="1341"/>
                </a:lnTo>
                <a:lnTo>
                  <a:pt x="3277" y="1351"/>
                </a:lnTo>
                <a:lnTo>
                  <a:pt x="3277" y="1361"/>
                </a:lnTo>
                <a:lnTo>
                  <a:pt x="3278" y="1371"/>
                </a:lnTo>
                <a:lnTo>
                  <a:pt x="3279" y="1379"/>
                </a:lnTo>
                <a:lnTo>
                  <a:pt x="3281" y="1387"/>
                </a:lnTo>
                <a:lnTo>
                  <a:pt x="3283" y="1395"/>
                </a:lnTo>
                <a:lnTo>
                  <a:pt x="3286" y="1403"/>
                </a:lnTo>
                <a:lnTo>
                  <a:pt x="3288" y="1409"/>
                </a:lnTo>
                <a:lnTo>
                  <a:pt x="3292" y="1415"/>
                </a:lnTo>
                <a:lnTo>
                  <a:pt x="3295" y="1421"/>
                </a:lnTo>
                <a:lnTo>
                  <a:pt x="3304" y="1433"/>
                </a:lnTo>
                <a:lnTo>
                  <a:pt x="3314" y="1445"/>
                </a:lnTo>
                <a:lnTo>
                  <a:pt x="3326" y="1457"/>
                </a:lnTo>
                <a:lnTo>
                  <a:pt x="3388" y="1511"/>
                </a:lnTo>
                <a:lnTo>
                  <a:pt x="3398" y="1521"/>
                </a:lnTo>
                <a:lnTo>
                  <a:pt x="3408" y="1531"/>
                </a:lnTo>
                <a:lnTo>
                  <a:pt x="3418" y="1541"/>
                </a:lnTo>
                <a:lnTo>
                  <a:pt x="3426" y="1553"/>
                </a:lnTo>
                <a:lnTo>
                  <a:pt x="3434" y="1565"/>
                </a:lnTo>
                <a:lnTo>
                  <a:pt x="3441" y="1575"/>
                </a:lnTo>
                <a:lnTo>
                  <a:pt x="3447" y="1589"/>
                </a:lnTo>
                <a:lnTo>
                  <a:pt x="3453" y="1601"/>
                </a:lnTo>
                <a:lnTo>
                  <a:pt x="3458" y="1615"/>
                </a:lnTo>
                <a:lnTo>
                  <a:pt x="3462" y="1629"/>
                </a:lnTo>
                <a:lnTo>
                  <a:pt x="3466" y="1643"/>
                </a:lnTo>
                <a:lnTo>
                  <a:pt x="3469" y="1659"/>
                </a:lnTo>
                <a:lnTo>
                  <a:pt x="3471" y="1675"/>
                </a:lnTo>
                <a:lnTo>
                  <a:pt x="3472" y="1685"/>
                </a:lnTo>
                <a:lnTo>
                  <a:pt x="3472" y="1693"/>
                </a:lnTo>
                <a:lnTo>
                  <a:pt x="3473" y="1711"/>
                </a:lnTo>
                <a:lnTo>
                  <a:pt x="3474" y="1730"/>
                </a:lnTo>
                <a:lnTo>
                  <a:pt x="3473" y="1756"/>
                </a:lnTo>
                <a:lnTo>
                  <a:pt x="3471" y="1780"/>
                </a:lnTo>
                <a:lnTo>
                  <a:pt x="3470" y="1792"/>
                </a:lnTo>
                <a:lnTo>
                  <a:pt x="3468" y="1802"/>
                </a:lnTo>
                <a:lnTo>
                  <a:pt x="3466" y="1814"/>
                </a:lnTo>
                <a:lnTo>
                  <a:pt x="3464" y="1824"/>
                </a:lnTo>
                <a:lnTo>
                  <a:pt x="3461" y="1834"/>
                </a:lnTo>
                <a:lnTo>
                  <a:pt x="3459" y="1844"/>
                </a:lnTo>
                <a:lnTo>
                  <a:pt x="3452" y="1862"/>
                </a:lnTo>
                <a:lnTo>
                  <a:pt x="3449" y="1870"/>
                </a:lnTo>
                <a:lnTo>
                  <a:pt x="3445" y="1880"/>
                </a:lnTo>
                <a:lnTo>
                  <a:pt x="3437" y="1894"/>
                </a:lnTo>
                <a:lnTo>
                  <a:pt x="3432" y="1902"/>
                </a:lnTo>
                <a:lnTo>
                  <a:pt x="3427" y="1908"/>
                </a:lnTo>
                <a:lnTo>
                  <a:pt x="3422" y="1914"/>
                </a:lnTo>
                <a:lnTo>
                  <a:pt x="3417" y="1920"/>
                </a:lnTo>
                <a:lnTo>
                  <a:pt x="3406" y="1930"/>
                </a:lnTo>
                <a:lnTo>
                  <a:pt x="3394" y="1938"/>
                </a:lnTo>
                <a:lnTo>
                  <a:pt x="3381" y="1946"/>
                </a:lnTo>
                <a:lnTo>
                  <a:pt x="3367" y="1950"/>
                </a:lnTo>
                <a:lnTo>
                  <a:pt x="3360" y="1952"/>
                </a:lnTo>
                <a:lnTo>
                  <a:pt x="3353" y="1952"/>
                </a:lnTo>
                <a:lnTo>
                  <a:pt x="3337" y="1954"/>
                </a:lnTo>
                <a:close/>
                <a:moveTo>
                  <a:pt x="3582" y="1882"/>
                </a:moveTo>
                <a:lnTo>
                  <a:pt x="3574" y="1866"/>
                </a:lnTo>
                <a:lnTo>
                  <a:pt x="3567" y="1848"/>
                </a:lnTo>
                <a:lnTo>
                  <a:pt x="3562" y="1828"/>
                </a:lnTo>
                <a:lnTo>
                  <a:pt x="3559" y="1816"/>
                </a:lnTo>
                <a:lnTo>
                  <a:pt x="3557" y="1806"/>
                </a:lnTo>
                <a:lnTo>
                  <a:pt x="3554" y="1782"/>
                </a:lnTo>
                <a:lnTo>
                  <a:pt x="3551" y="1756"/>
                </a:lnTo>
                <a:lnTo>
                  <a:pt x="3550" y="1742"/>
                </a:lnTo>
                <a:lnTo>
                  <a:pt x="3550" y="1726"/>
                </a:lnTo>
                <a:lnTo>
                  <a:pt x="3549" y="1697"/>
                </a:lnTo>
                <a:lnTo>
                  <a:pt x="3549" y="1166"/>
                </a:lnTo>
                <a:lnTo>
                  <a:pt x="3615" y="1166"/>
                </a:lnTo>
                <a:lnTo>
                  <a:pt x="3615" y="1691"/>
                </a:lnTo>
                <a:lnTo>
                  <a:pt x="3615" y="1711"/>
                </a:lnTo>
                <a:lnTo>
                  <a:pt x="3616" y="1728"/>
                </a:lnTo>
                <a:lnTo>
                  <a:pt x="3617" y="1744"/>
                </a:lnTo>
                <a:lnTo>
                  <a:pt x="3618" y="1758"/>
                </a:lnTo>
                <a:lnTo>
                  <a:pt x="3620" y="1772"/>
                </a:lnTo>
                <a:lnTo>
                  <a:pt x="3623" y="1784"/>
                </a:lnTo>
                <a:lnTo>
                  <a:pt x="3625" y="1796"/>
                </a:lnTo>
                <a:lnTo>
                  <a:pt x="3629" y="1804"/>
                </a:lnTo>
                <a:lnTo>
                  <a:pt x="3633" y="1814"/>
                </a:lnTo>
                <a:lnTo>
                  <a:pt x="3637" y="1822"/>
                </a:lnTo>
                <a:lnTo>
                  <a:pt x="3643" y="1830"/>
                </a:lnTo>
                <a:lnTo>
                  <a:pt x="3649" y="1836"/>
                </a:lnTo>
                <a:lnTo>
                  <a:pt x="3652" y="1838"/>
                </a:lnTo>
                <a:lnTo>
                  <a:pt x="3655" y="1840"/>
                </a:lnTo>
                <a:lnTo>
                  <a:pt x="3662" y="1844"/>
                </a:lnTo>
                <a:lnTo>
                  <a:pt x="3670" y="1846"/>
                </a:lnTo>
                <a:lnTo>
                  <a:pt x="3678" y="1846"/>
                </a:lnTo>
                <a:lnTo>
                  <a:pt x="3686" y="1846"/>
                </a:lnTo>
                <a:lnTo>
                  <a:pt x="3694" y="1844"/>
                </a:lnTo>
                <a:lnTo>
                  <a:pt x="3701" y="1840"/>
                </a:lnTo>
                <a:lnTo>
                  <a:pt x="3708" y="1836"/>
                </a:lnTo>
                <a:lnTo>
                  <a:pt x="3713" y="1830"/>
                </a:lnTo>
                <a:lnTo>
                  <a:pt x="3719" y="1822"/>
                </a:lnTo>
                <a:lnTo>
                  <a:pt x="3723" y="1814"/>
                </a:lnTo>
                <a:lnTo>
                  <a:pt x="3728" y="1804"/>
                </a:lnTo>
                <a:lnTo>
                  <a:pt x="3731" y="1796"/>
                </a:lnTo>
                <a:lnTo>
                  <a:pt x="3734" y="1784"/>
                </a:lnTo>
                <a:lnTo>
                  <a:pt x="3736" y="1772"/>
                </a:lnTo>
                <a:lnTo>
                  <a:pt x="3738" y="1758"/>
                </a:lnTo>
                <a:lnTo>
                  <a:pt x="3740" y="1744"/>
                </a:lnTo>
                <a:lnTo>
                  <a:pt x="3741" y="1728"/>
                </a:lnTo>
                <a:lnTo>
                  <a:pt x="3741" y="1711"/>
                </a:lnTo>
                <a:lnTo>
                  <a:pt x="3741" y="1691"/>
                </a:lnTo>
                <a:lnTo>
                  <a:pt x="3741" y="1166"/>
                </a:lnTo>
                <a:lnTo>
                  <a:pt x="3807" y="1166"/>
                </a:lnTo>
                <a:lnTo>
                  <a:pt x="3807" y="1697"/>
                </a:lnTo>
                <a:lnTo>
                  <a:pt x="3806" y="1726"/>
                </a:lnTo>
                <a:lnTo>
                  <a:pt x="3805" y="1742"/>
                </a:lnTo>
                <a:lnTo>
                  <a:pt x="3805" y="1756"/>
                </a:lnTo>
                <a:lnTo>
                  <a:pt x="3802" y="1782"/>
                </a:lnTo>
                <a:lnTo>
                  <a:pt x="3798" y="1806"/>
                </a:lnTo>
                <a:lnTo>
                  <a:pt x="3796" y="1816"/>
                </a:lnTo>
                <a:lnTo>
                  <a:pt x="3794" y="1828"/>
                </a:lnTo>
                <a:lnTo>
                  <a:pt x="3788" y="1848"/>
                </a:lnTo>
                <a:lnTo>
                  <a:pt x="3785" y="1856"/>
                </a:lnTo>
                <a:lnTo>
                  <a:pt x="3782" y="1866"/>
                </a:lnTo>
                <a:lnTo>
                  <a:pt x="3779" y="1874"/>
                </a:lnTo>
                <a:lnTo>
                  <a:pt x="3775" y="1882"/>
                </a:lnTo>
                <a:lnTo>
                  <a:pt x="3771" y="1890"/>
                </a:lnTo>
                <a:lnTo>
                  <a:pt x="3766" y="1898"/>
                </a:lnTo>
                <a:lnTo>
                  <a:pt x="3756" y="1914"/>
                </a:lnTo>
                <a:lnTo>
                  <a:pt x="3745" y="1926"/>
                </a:lnTo>
                <a:lnTo>
                  <a:pt x="3739" y="1930"/>
                </a:lnTo>
                <a:lnTo>
                  <a:pt x="3733" y="1936"/>
                </a:lnTo>
                <a:lnTo>
                  <a:pt x="3720" y="1944"/>
                </a:lnTo>
                <a:lnTo>
                  <a:pt x="3714" y="1946"/>
                </a:lnTo>
                <a:lnTo>
                  <a:pt x="3707" y="1950"/>
                </a:lnTo>
                <a:lnTo>
                  <a:pt x="3693" y="1952"/>
                </a:lnTo>
                <a:lnTo>
                  <a:pt x="3685" y="1954"/>
                </a:lnTo>
                <a:lnTo>
                  <a:pt x="3678" y="1954"/>
                </a:lnTo>
                <a:lnTo>
                  <a:pt x="3663" y="1952"/>
                </a:lnTo>
                <a:lnTo>
                  <a:pt x="3649" y="1950"/>
                </a:lnTo>
                <a:lnTo>
                  <a:pt x="3643" y="1946"/>
                </a:lnTo>
                <a:lnTo>
                  <a:pt x="3636" y="1944"/>
                </a:lnTo>
                <a:lnTo>
                  <a:pt x="3624" y="1936"/>
                </a:lnTo>
                <a:lnTo>
                  <a:pt x="3612" y="1926"/>
                </a:lnTo>
                <a:lnTo>
                  <a:pt x="3601" y="1914"/>
                </a:lnTo>
                <a:lnTo>
                  <a:pt x="3591" y="1898"/>
                </a:lnTo>
                <a:lnTo>
                  <a:pt x="3586" y="1890"/>
                </a:lnTo>
                <a:lnTo>
                  <a:pt x="3582" y="1882"/>
                </a:lnTo>
                <a:close/>
                <a:moveTo>
                  <a:pt x="3934" y="1882"/>
                </a:moveTo>
                <a:lnTo>
                  <a:pt x="3927" y="1866"/>
                </a:lnTo>
                <a:lnTo>
                  <a:pt x="3920" y="1848"/>
                </a:lnTo>
                <a:lnTo>
                  <a:pt x="3915" y="1828"/>
                </a:lnTo>
                <a:lnTo>
                  <a:pt x="3912" y="1816"/>
                </a:lnTo>
                <a:lnTo>
                  <a:pt x="3910" y="1806"/>
                </a:lnTo>
                <a:lnTo>
                  <a:pt x="3907" y="1782"/>
                </a:lnTo>
                <a:lnTo>
                  <a:pt x="3904" y="1756"/>
                </a:lnTo>
                <a:lnTo>
                  <a:pt x="3903" y="1742"/>
                </a:lnTo>
                <a:lnTo>
                  <a:pt x="3903" y="1726"/>
                </a:lnTo>
                <a:lnTo>
                  <a:pt x="3902" y="1697"/>
                </a:lnTo>
                <a:lnTo>
                  <a:pt x="3902" y="1166"/>
                </a:lnTo>
                <a:lnTo>
                  <a:pt x="3968" y="1166"/>
                </a:lnTo>
                <a:lnTo>
                  <a:pt x="3968" y="1691"/>
                </a:lnTo>
                <a:lnTo>
                  <a:pt x="3968" y="1711"/>
                </a:lnTo>
                <a:lnTo>
                  <a:pt x="3969" y="1728"/>
                </a:lnTo>
                <a:lnTo>
                  <a:pt x="3970" y="1744"/>
                </a:lnTo>
                <a:lnTo>
                  <a:pt x="3972" y="1758"/>
                </a:lnTo>
                <a:lnTo>
                  <a:pt x="3973" y="1772"/>
                </a:lnTo>
                <a:lnTo>
                  <a:pt x="3976" y="1784"/>
                </a:lnTo>
                <a:lnTo>
                  <a:pt x="3979" y="1796"/>
                </a:lnTo>
                <a:lnTo>
                  <a:pt x="3982" y="1804"/>
                </a:lnTo>
                <a:lnTo>
                  <a:pt x="3986" y="1814"/>
                </a:lnTo>
                <a:lnTo>
                  <a:pt x="3991" y="1822"/>
                </a:lnTo>
                <a:lnTo>
                  <a:pt x="3996" y="1830"/>
                </a:lnTo>
                <a:lnTo>
                  <a:pt x="4002" y="1836"/>
                </a:lnTo>
                <a:lnTo>
                  <a:pt x="4005" y="1838"/>
                </a:lnTo>
                <a:lnTo>
                  <a:pt x="4008" y="1840"/>
                </a:lnTo>
                <a:lnTo>
                  <a:pt x="4015" y="1844"/>
                </a:lnTo>
                <a:lnTo>
                  <a:pt x="4023" y="1846"/>
                </a:lnTo>
                <a:lnTo>
                  <a:pt x="4031" y="1846"/>
                </a:lnTo>
                <a:lnTo>
                  <a:pt x="4040" y="1846"/>
                </a:lnTo>
                <a:lnTo>
                  <a:pt x="4047" y="1844"/>
                </a:lnTo>
                <a:lnTo>
                  <a:pt x="4054" y="1840"/>
                </a:lnTo>
                <a:lnTo>
                  <a:pt x="4061" y="1836"/>
                </a:lnTo>
                <a:lnTo>
                  <a:pt x="4067" y="1830"/>
                </a:lnTo>
                <a:lnTo>
                  <a:pt x="4072" y="1822"/>
                </a:lnTo>
                <a:lnTo>
                  <a:pt x="4077" y="1814"/>
                </a:lnTo>
                <a:lnTo>
                  <a:pt x="4081" y="1804"/>
                </a:lnTo>
                <a:lnTo>
                  <a:pt x="4084" y="1796"/>
                </a:lnTo>
                <a:lnTo>
                  <a:pt x="4087" y="1784"/>
                </a:lnTo>
                <a:lnTo>
                  <a:pt x="4090" y="1772"/>
                </a:lnTo>
                <a:lnTo>
                  <a:pt x="4091" y="1758"/>
                </a:lnTo>
                <a:lnTo>
                  <a:pt x="4093" y="1744"/>
                </a:lnTo>
                <a:lnTo>
                  <a:pt x="4094" y="1728"/>
                </a:lnTo>
                <a:lnTo>
                  <a:pt x="4094" y="1711"/>
                </a:lnTo>
                <a:lnTo>
                  <a:pt x="4094" y="1691"/>
                </a:lnTo>
                <a:lnTo>
                  <a:pt x="4094" y="1166"/>
                </a:lnTo>
                <a:lnTo>
                  <a:pt x="4160" y="1166"/>
                </a:lnTo>
                <a:lnTo>
                  <a:pt x="4160" y="1697"/>
                </a:lnTo>
                <a:lnTo>
                  <a:pt x="4159" y="1726"/>
                </a:lnTo>
                <a:lnTo>
                  <a:pt x="4159" y="1742"/>
                </a:lnTo>
                <a:lnTo>
                  <a:pt x="4158" y="1756"/>
                </a:lnTo>
                <a:lnTo>
                  <a:pt x="4155" y="1782"/>
                </a:lnTo>
                <a:lnTo>
                  <a:pt x="4152" y="1806"/>
                </a:lnTo>
                <a:lnTo>
                  <a:pt x="4149" y="1816"/>
                </a:lnTo>
                <a:lnTo>
                  <a:pt x="4147" y="1828"/>
                </a:lnTo>
                <a:lnTo>
                  <a:pt x="4142" y="1848"/>
                </a:lnTo>
                <a:lnTo>
                  <a:pt x="4139" y="1856"/>
                </a:lnTo>
                <a:lnTo>
                  <a:pt x="4135" y="1866"/>
                </a:lnTo>
                <a:lnTo>
                  <a:pt x="4132" y="1874"/>
                </a:lnTo>
                <a:lnTo>
                  <a:pt x="4128" y="1882"/>
                </a:lnTo>
                <a:lnTo>
                  <a:pt x="4124" y="1890"/>
                </a:lnTo>
                <a:lnTo>
                  <a:pt x="4119" y="1898"/>
                </a:lnTo>
                <a:lnTo>
                  <a:pt x="4109" y="1914"/>
                </a:lnTo>
                <a:lnTo>
                  <a:pt x="4098" y="1926"/>
                </a:lnTo>
                <a:lnTo>
                  <a:pt x="4092" y="1930"/>
                </a:lnTo>
                <a:lnTo>
                  <a:pt x="4086" y="1936"/>
                </a:lnTo>
                <a:lnTo>
                  <a:pt x="4073" y="1944"/>
                </a:lnTo>
                <a:lnTo>
                  <a:pt x="4067" y="1946"/>
                </a:lnTo>
                <a:lnTo>
                  <a:pt x="4060" y="1950"/>
                </a:lnTo>
                <a:lnTo>
                  <a:pt x="4046" y="1952"/>
                </a:lnTo>
                <a:lnTo>
                  <a:pt x="4039" y="1954"/>
                </a:lnTo>
                <a:lnTo>
                  <a:pt x="4031" y="1954"/>
                </a:lnTo>
                <a:lnTo>
                  <a:pt x="4017" y="1952"/>
                </a:lnTo>
                <a:lnTo>
                  <a:pt x="4003" y="1950"/>
                </a:lnTo>
                <a:lnTo>
                  <a:pt x="3996" y="1946"/>
                </a:lnTo>
                <a:lnTo>
                  <a:pt x="3989" y="1944"/>
                </a:lnTo>
                <a:lnTo>
                  <a:pt x="3977" y="1936"/>
                </a:lnTo>
                <a:lnTo>
                  <a:pt x="3965" y="1926"/>
                </a:lnTo>
                <a:lnTo>
                  <a:pt x="3954" y="1914"/>
                </a:lnTo>
                <a:lnTo>
                  <a:pt x="3943" y="1898"/>
                </a:lnTo>
                <a:lnTo>
                  <a:pt x="3938" y="1890"/>
                </a:lnTo>
                <a:lnTo>
                  <a:pt x="3934" y="1882"/>
                </a:lnTo>
                <a:close/>
                <a:moveTo>
                  <a:pt x="4370" y="1954"/>
                </a:moveTo>
                <a:lnTo>
                  <a:pt x="4354" y="1954"/>
                </a:lnTo>
                <a:lnTo>
                  <a:pt x="4339" y="1950"/>
                </a:lnTo>
                <a:lnTo>
                  <a:pt x="4324" y="1944"/>
                </a:lnTo>
                <a:lnTo>
                  <a:pt x="4317" y="1940"/>
                </a:lnTo>
                <a:lnTo>
                  <a:pt x="4310" y="1936"/>
                </a:lnTo>
                <a:lnTo>
                  <a:pt x="4298" y="1928"/>
                </a:lnTo>
                <a:lnTo>
                  <a:pt x="4292" y="1922"/>
                </a:lnTo>
                <a:lnTo>
                  <a:pt x="4287" y="1916"/>
                </a:lnTo>
                <a:lnTo>
                  <a:pt x="4277" y="1902"/>
                </a:lnTo>
                <a:lnTo>
                  <a:pt x="4273" y="1896"/>
                </a:lnTo>
                <a:lnTo>
                  <a:pt x="4268" y="1888"/>
                </a:lnTo>
                <a:lnTo>
                  <a:pt x="4264" y="1880"/>
                </a:lnTo>
                <a:lnTo>
                  <a:pt x="4261" y="1872"/>
                </a:lnTo>
                <a:lnTo>
                  <a:pt x="4257" y="1864"/>
                </a:lnTo>
                <a:lnTo>
                  <a:pt x="4254" y="1854"/>
                </a:lnTo>
                <a:lnTo>
                  <a:pt x="4248" y="1834"/>
                </a:lnTo>
                <a:lnTo>
                  <a:pt x="4244" y="1814"/>
                </a:lnTo>
                <a:lnTo>
                  <a:pt x="4242" y="1804"/>
                </a:lnTo>
                <a:lnTo>
                  <a:pt x="4240" y="1792"/>
                </a:lnTo>
                <a:lnTo>
                  <a:pt x="4237" y="1770"/>
                </a:lnTo>
                <a:lnTo>
                  <a:pt x="4236" y="1746"/>
                </a:lnTo>
                <a:lnTo>
                  <a:pt x="4235" y="1732"/>
                </a:lnTo>
                <a:lnTo>
                  <a:pt x="4235" y="1720"/>
                </a:lnTo>
                <a:lnTo>
                  <a:pt x="4298" y="1693"/>
                </a:lnTo>
                <a:lnTo>
                  <a:pt x="4298" y="1714"/>
                </a:lnTo>
                <a:lnTo>
                  <a:pt x="4299" y="1734"/>
                </a:lnTo>
                <a:lnTo>
                  <a:pt x="4301" y="1750"/>
                </a:lnTo>
                <a:lnTo>
                  <a:pt x="4303" y="1766"/>
                </a:lnTo>
                <a:lnTo>
                  <a:pt x="4305" y="1774"/>
                </a:lnTo>
                <a:lnTo>
                  <a:pt x="4306" y="1782"/>
                </a:lnTo>
                <a:lnTo>
                  <a:pt x="4310" y="1794"/>
                </a:lnTo>
                <a:lnTo>
                  <a:pt x="4314" y="1804"/>
                </a:lnTo>
                <a:lnTo>
                  <a:pt x="4318" y="1814"/>
                </a:lnTo>
                <a:lnTo>
                  <a:pt x="4324" y="1824"/>
                </a:lnTo>
                <a:lnTo>
                  <a:pt x="4330" y="1830"/>
                </a:lnTo>
                <a:lnTo>
                  <a:pt x="4336" y="1836"/>
                </a:lnTo>
                <a:lnTo>
                  <a:pt x="4343" y="1840"/>
                </a:lnTo>
                <a:lnTo>
                  <a:pt x="4350" y="1844"/>
                </a:lnTo>
                <a:lnTo>
                  <a:pt x="4357" y="1846"/>
                </a:lnTo>
                <a:lnTo>
                  <a:pt x="4365" y="1848"/>
                </a:lnTo>
                <a:lnTo>
                  <a:pt x="4374" y="1848"/>
                </a:lnTo>
                <a:lnTo>
                  <a:pt x="4381" y="1848"/>
                </a:lnTo>
                <a:lnTo>
                  <a:pt x="4388" y="1846"/>
                </a:lnTo>
                <a:lnTo>
                  <a:pt x="4395" y="1844"/>
                </a:lnTo>
                <a:lnTo>
                  <a:pt x="4401" y="1842"/>
                </a:lnTo>
                <a:lnTo>
                  <a:pt x="4407" y="1838"/>
                </a:lnTo>
                <a:lnTo>
                  <a:pt x="4413" y="1832"/>
                </a:lnTo>
                <a:lnTo>
                  <a:pt x="4418" y="1826"/>
                </a:lnTo>
                <a:lnTo>
                  <a:pt x="4423" y="1820"/>
                </a:lnTo>
                <a:lnTo>
                  <a:pt x="4427" y="1812"/>
                </a:lnTo>
                <a:lnTo>
                  <a:pt x="4431" y="1804"/>
                </a:lnTo>
                <a:lnTo>
                  <a:pt x="4434" y="1796"/>
                </a:lnTo>
                <a:lnTo>
                  <a:pt x="4437" y="1786"/>
                </a:lnTo>
                <a:lnTo>
                  <a:pt x="4439" y="1774"/>
                </a:lnTo>
                <a:lnTo>
                  <a:pt x="4440" y="1770"/>
                </a:lnTo>
                <a:lnTo>
                  <a:pt x="4441" y="1764"/>
                </a:lnTo>
                <a:lnTo>
                  <a:pt x="4442" y="1752"/>
                </a:lnTo>
                <a:lnTo>
                  <a:pt x="4442" y="1738"/>
                </a:lnTo>
                <a:lnTo>
                  <a:pt x="4442" y="1728"/>
                </a:lnTo>
                <a:lnTo>
                  <a:pt x="4442" y="1718"/>
                </a:lnTo>
                <a:lnTo>
                  <a:pt x="4441" y="1711"/>
                </a:lnTo>
                <a:lnTo>
                  <a:pt x="4439" y="1701"/>
                </a:lnTo>
                <a:lnTo>
                  <a:pt x="4437" y="1693"/>
                </a:lnTo>
                <a:lnTo>
                  <a:pt x="4435" y="1685"/>
                </a:lnTo>
                <a:lnTo>
                  <a:pt x="4433" y="1677"/>
                </a:lnTo>
                <a:lnTo>
                  <a:pt x="4430" y="1669"/>
                </a:lnTo>
                <a:lnTo>
                  <a:pt x="4422" y="1653"/>
                </a:lnTo>
                <a:lnTo>
                  <a:pt x="4418" y="1645"/>
                </a:lnTo>
                <a:lnTo>
                  <a:pt x="4413" y="1639"/>
                </a:lnTo>
                <a:lnTo>
                  <a:pt x="4402" y="1625"/>
                </a:lnTo>
                <a:lnTo>
                  <a:pt x="4389" y="1613"/>
                </a:lnTo>
                <a:lnTo>
                  <a:pt x="4325" y="1555"/>
                </a:lnTo>
                <a:lnTo>
                  <a:pt x="4315" y="1547"/>
                </a:lnTo>
                <a:lnTo>
                  <a:pt x="4305" y="1537"/>
                </a:lnTo>
                <a:lnTo>
                  <a:pt x="4289" y="1517"/>
                </a:lnTo>
                <a:lnTo>
                  <a:pt x="4275" y="1497"/>
                </a:lnTo>
                <a:lnTo>
                  <a:pt x="4270" y="1485"/>
                </a:lnTo>
                <a:lnTo>
                  <a:pt x="4264" y="1473"/>
                </a:lnTo>
                <a:lnTo>
                  <a:pt x="4260" y="1461"/>
                </a:lnTo>
                <a:lnTo>
                  <a:pt x="4255" y="1447"/>
                </a:lnTo>
                <a:lnTo>
                  <a:pt x="4252" y="1433"/>
                </a:lnTo>
                <a:lnTo>
                  <a:pt x="4249" y="1417"/>
                </a:lnTo>
                <a:lnTo>
                  <a:pt x="4247" y="1401"/>
                </a:lnTo>
                <a:lnTo>
                  <a:pt x="4246" y="1393"/>
                </a:lnTo>
                <a:lnTo>
                  <a:pt x="4245" y="1385"/>
                </a:lnTo>
                <a:lnTo>
                  <a:pt x="4244" y="1367"/>
                </a:lnTo>
                <a:lnTo>
                  <a:pt x="4244" y="1347"/>
                </a:lnTo>
                <a:lnTo>
                  <a:pt x="4244" y="1335"/>
                </a:lnTo>
                <a:lnTo>
                  <a:pt x="4245" y="1323"/>
                </a:lnTo>
                <a:lnTo>
                  <a:pt x="4246" y="1311"/>
                </a:lnTo>
                <a:lnTo>
                  <a:pt x="4247" y="1299"/>
                </a:lnTo>
                <a:lnTo>
                  <a:pt x="4248" y="1289"/>
                </a:lnTo>
                <a:lnTo>
                  <a:pt x="4250" y="1279"/>
                </a:lnTo>
                <a:lnTo>
                  <a:pt x="4254" y="1259"/>
                </a:lnTo>
                <a:lnTo>
                  <a:pt x="4257" y="1249"/>
                </a:lnTo>
                <a:lnTo>
                  <a:pt x="4260" y="1241"/>
                </a:lnTo>
                <a:lnTo>
                  <a:pt x="4266" y="1225"/>
                </a:lnTo>
                <a:lnTo>
                  <a:pt x="4273" y="1210"/>
                </a:lnTo>
                <a:lnTo>
                  <a:pt x="4277" y="1204"/>
                </a:lnTo>
                <a:lnTo>
                  <a:pt x="4282" y="1198"/>
                </a:lnTo>
                <a:lnTo>
                  <a:pt x="4291" y="1186"/>
                </a:lnTo>
                <a:lnTo>
                  <a:pt x="4301" y="1176"/>
                </a:lnTo>
                <a:lnTo>
                  <a:pt x="4311" y="1166"/>
                </a:lnTo>
                <a:lnTo>
                  <a:pt x="4323" y="1160"/>
                </a:lnTo>
                <a:lnTo>
                  <a:pt x="4335" y="1154"/>
                </a:lnTo>
                <a:lnTo>
                  <a:pt x="4347" y="1150"/>
                </a:lnTo>
                <a:lnTo>
                  <a:pt x="4360" y="1148"/>
                </a:lnTo>
                <a:lnTo>
                  <a:pt x="4373" y="1148"/>
                </a:lnTo>
                <a:lnTo>
                  <a:pt x="4388" y="1150"/>
                </a:lnTo>
                <a:lnTo>
                  <a:pt x="4403" y="1152"/>
                </a:lnTo>
                <a:lnTo>
                  <a:pt x="4416" y="1158"/>
                </a:lnTo>
                <a:lnTo>
                  <a:pt x="4422" y="1162"/>
                </a:lnTo>
                <a:lnTo>
                  <a:pt x="4428" y="1166"/>
                </a:lnTo>
                <a:lnTo>
                  <a:pt x="4440" y="1174"/>
                </a:lnTo>
                <a:lnTo>
                  <a:pt x="4450" y="1186"/>
                </a:lnTo>
                <a:lnTo>
                  <a:pt x="4459" y="1198"/>
                </a:lnTo>
                <a:lnTo>
                  <a:pt x="4467" y="1212"/>
                </a:lnTo>
                <a:lnTo>
                  <a:pt x="4471" y="1218"/>
                </a:lnTo>
                <a:lnTo>
                  <a:pt x="4474" y="1225"/>
                </a:lnTo>
                <a:lnTo>
                  <a:pt x="4477" y="1233"/>
                </a:lnTo>
                <a:lnTo>
                  <a:pt x="4480" y="1241"/>
                </a:lnTo>
                <a:lnTo>
                  <a:pt x="4485" y="1259"/>
                </a:lnTo>
                <a:lnTo>
                  <a:pt x="4490" y="1275"/>
                </a:lnTo>
                <a:lnTo>
                  <a:pt x="4493" y="1293"/>
                </a:lnTo>
                <a:lnTo>
                  <a:pt x="4495" y="1313"/>
                </a:lnTo>
                <a:lnTo>
                  <a:pt x="4497" y="1331"/>
                </a:lnTo>
                <a:lnTo>
                  <a:pt x="4497" y="1349"/>
                </a:lnTo>
                <a:lnTo>
                  <a:pt x="4435" y="1375"/>
                </a:lnTo>
                <a:lnTo>
                  <a:pt x="4435" y="1359"/>
                </a:lnTo>
                <a:lnTo>
                  <a:pt x="4433" y="1345"/>
                </a:lnTo>
                <a:lnTo>
                  <a:pt x="4432" y="1331"/>
                </a:lnTo>
                <a:lnTo>
                  <a:pt x="4430" y="1319"/>
                </a:lnTo>
                <a:lnTo>
                  <a:pt x="4427" y="1309"/>
                </a:lnTo>
                <a:lnTo>
                  <a:pt x="4426" y="1303"/>
                </a:lnTo>
                <a:lnTo>
                  <a:pt x="4424" y="1299"/>
                </a:lnTo>
                <a:lnTo>
                  <a:pt x="4421" y="1289"/>
                </a:lnTo>
                <a:lnTo>
                  <a:pt x="4417" y="1281"/>
                </a:lnTo>
                <a:lnTo>
                  <a:pt x="4413" y="1275"/>
                </a:lnTo>
                <a:lnTo>
                  <a:pt x="4408" y="1269"/>
                </a:lnTo>
                <a:lnTo>
                  <a:pt x="4403" y="1265"/>
                </a:lnTo>
                <a:lnTo>
                  <a:pt x="4397" y="1261"/>
                </a:lnTo>
                <a:lnTo>
                  <a:pt x="4391" y="1257"/>
                </a:lnTo>
                <a:lnTo>
                  <a:pt x="4385" y="1255"/>
                </a:lnTo>
                <a:lnTo>
                  <a:pt x="4378" y="1255"/>
                </a:lnTo>
                <a:lnTo>
                  <a:pt x="4370" y="1253"/>
                </a:lnTo>
                <a:lnTo>
                  <a:pt x="4358" y="1255"/>
                </a:lnTo>
                <a:lnTo>
                  <a:pt x="4346" y="1259"/>
                </a:lnTo>
                <a:lnTo>
                  <a:pt x="4341" y="1263"/>
                </a:lnTo>
                <a:lnTo>
                  <a:pt x="4336" y="1267"/>
                </a:lnTo>
                <a:lnTo>
                  <a:pt x="4331" y="1271"/>
                </a:lnTo>
                <a:lnTo>
                  <a:pt x="4327" y="1275"/>
                </a:lnTo>
                <a:lnTo>
                  <a:pt x="4323" y="1281"/>
                </a:lnTo>
                <a:lnTo>
                  <a:pt x="4319" y="1287"/>
                </a:lnTo>
                <a:lnTo>
                  <a:pt x="4316" y="1295"/>
                </a:lnTo>
                <a:lnTo>
                  <a:pt x="4313" y="1303"/>
                </a:lnTo>
                <a:lnTo>
                  <a:pt x="4311" y="1311"/>
                </a:lnTo>
                <a:lnTo>
                  <a:pt x="4310" y="1321"/>
                </a:lnTo>
                <a:lnTo>
                  <a:pt x="4309" y="1331"/>
                </a:lnTo>
                <a:lnTo>
                  <a:pt x="4308" y="1341"/>
                </a:lnTo>
                <a:lnTo>
                  <a:pt x="4309" y="1351"/>
                </a:lnTo>
                <a:lnTo>
                  <a:pt x="4309" y="1361"/>
                </a:lnTo>
                <a:lnTo>
                  <a:pt x="4310" y="1371"/>
                </a:lnTo>
                <a:lnTo>
                  <a:pt x="4311" y="1379"/>
                </a:lnTo>
                <a:lnTo>
                  <a:pt x="4313" y="1387"/>
                </a:lnTo>
                <a:lnTo>
                  <a:pt x="4315" y="1395"/>
                </a:lnTo>
                <a:lnTo>
                  <a:pt x="4318" y="1403"/>
                </a:lnTo>
                <a:lnTo>
                  <a:pt x="4321" y="1409"/>
                </a:lnTo>
                <a:lnTo>
                  <a:pt x="4325" y="1415"/>
                </a:lnTo>
                <a:lnTo>
                  <a:pt x="4328" y="1421"/>
                </a:lnTo>
                <a:lnTo>
                  <a:pt x="4337" y="1433"/>
                </a:lnTo>
                <a:lnTo>
                  <a:pt x="4347" y="1445"/>
                </a:lnTo>
                <a:lnTo>
                  <a:pt x="4359" y="1457"/>
                </a:lnTo>
                <a:lnTo>
                  <a:pt x="4421" y="1511"/>
                </a:lnTo>
                <a:lnTo>
                  <a:pt x="4431" y="1521"/>
                </a:lnTo>
                <a:lnTo>
                  <a:pt x="4442" y="1531"/>
                </a:lnTo>
                <a:lnTo>
                  <a:pt x="4451" y="1541"/>
                </a:lnTo>
                <a:lnTo>
                  <a:pt x="4459" y="1553"/>
                </a:lnTo>
                <a:lnTo>
                  <a:pt x="4467" y="1565"/>
                </a:lnTo>
                <a:lnTo>
                  <a:pt x="4474" y="1575"/>
                </a:lnTo>
                <a:lnTo>
                  <a:pt x="4480" y="1589"/>
                </a:lnTo>
                <a:lnTo>
                  <a:pt x="4486" y="1601"/>
                </a:lnTo>
                <a:lnTo>
                  <a:pt x="4491" y="1615"/>
                </a:lnTo>
                <a:lnTo>
                  <a:pt x="4495" y="1629"/>
                </a:lnTo>
                <a:lnTo>
                  <a:pt x="4499" y="1643"/>
                </a:lnTo>
                <a:lnTo>
                  <a:pt x="4502" y="1659"/>
                </a:lnTo>
                <a:lnTo>
                  <a:pt x="4504" y="1675"/>
                </a:lnTo>
                <a:lnTo>
                  <a:pt x="4505" y="1685"/>
                </a:lnTo>
                <a:lnTo>
                  <a:pt x="4505" y="1693"/>
                </a:lnTo>
                <a:lnTo>
                  <a:pt x="4506" y="1711"/>
                </a:lnTo>
                <a:lnTo>
                  <a:pt x="4507" y="1730"/>
                </a:lnTo>
                <a:lnTo>
                  <a:pt x="4506" y="1756"/>
                </a:lnTo>
                <a:lnTo>
                  <a:pt x="4504" y="1780"/>
                </a:lnTo>
                <a:lnTo>
                  <a:pt x="4503" y="1792"/>
                </a:lnTo>
                <a:lnTo>
                  <a:pt x="4501" y="1802"/>
                </a:lnTo>
                <a:lnTo>
                  <a:pt x="4499" y="1814"/>
                </a:lnTo>
                <a:lnTo>
                  <a:pt x="4497" y="1824"/>
                </a:lnTo>
                <a:lnTo>
                  <a:pt x="4494" y="1834"/>
                </a:lnTo>
                <a:lnTo>
                  <a:pt x="4492" y="1844"/>
                </a:lnTo>
                <a:lnTo>
                  <a:pt x="4485" y="1862"/>
                </a:lnTo>
                <a:lnTo>
                  <a:pt x="4482" y="1870"/>
                </a:lnTo>
                <a:lnTo>
                  <a:pt x="4478" y="1880"/>
                </a:lnTo>
                <a:lnTo>
                  <a:pt x="4470" y="1894"/>
                </a:lnTo>
                <a:lnTo>
                  <a:pt x="4465" y="1902"/>
                </a:lnTo>
                <a:lnTo>
                  <a:pt x="4460" y="1908"/>
                </a:lnTo>
                <a:lnTo>
                  <a:pt x="4455" y="1914"/>
                </a:lnTo>
                <a:lnTo>
                  <a:pt x="4450" y="1920"/>
                </a:lnTo>
                <a:lnTo>
                  <a:pt x="4439" y="1930"/>
                </a:lnTo>
                <a:lnTo>
                  <a:pt x="4427" y="1938"/>
                </a:lnTo>
                <a:lnTo>
                  <a:pt x="4414" y="1946"/>
                </a:lnTo>
                <a:lnTo>
                  <a:pt x="4400" y="1950"/>
                </a:lnTo>
                <a:lnTo>
                  <a:pt x="4393" y="1952"/>
                </a:lnTo>
                <a:lnTo>
                  <a:pt x="4386" y="1952"/>
                </a:lnTo>
                <a:lnTo>
                  <a:pt x="4370" y="19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7DE48D-705B-612C-7DFA-B303012D79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98587" y="5517232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F5A17A4-EA2D-AFFF-38DF-9699B925DC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98587" y="5805264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6648592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6924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3755CC-1185-51FC-E3B8-4147606A50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5"/>
            <a:ext cx="10008494" cy="1008063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E6B893-6B04-6927-CE94-9A66F78D61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28775"/>
            <a:ext cx="10008493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D925BA-5B20-3CBA-B94B-28B753A84A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9A54A5-807B-4E19-8DAF-79590E4F6B83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7193C2-3638-0637-9E42-4D47B9D9F3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FAE3C4-91D4-D1BC-C03D-1496593FA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41579420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98F4D-E89B-8263-EB37-8F8B305D4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B17A4E8-C248-452C-83F5-3E92BAF70A44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B5C31-D7B7-0A4A-9FF1-A8910751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9B765-A518-625F-2D82-59131FF13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CD5646D-347F-0693-85B7-82EEFAEE1F7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3106375" y="2780928"/>
            <a:ext cx="5979250" cy="1296144"/>
          </a:xfrm>
          <a:custGeom>
            <a:avLst/>
            <a:gdLst>
              <a:gd name="T0" fmla="*/ 11 w 4507"/>
              <a:gd name="T1" fmla="*/ 18 h 1954"/>
              <a:gd name="T2" fmla="*/ 659 w 4507"/>
              <a:gd name="T3" fmla="*/ 297 h 1954"/>
              <a:gd name="T4" fmla="*/ 666 w 4507"/>
              <a:gd name="T5" fmla="*/ 916 h 1954"/>
              <a:gd name="T6" fmla="*/ 347 w 4507"/>
              <a:gd name="T7" fmla="*/ 880 h 1954"/>
              <a:gd name="T8" fmla="*/ 471 w 4507"/>
              <a:gd name="T9" fmla="*/ 675 h 1954"/>
              <a:gd name="T10" fmla="*/ 375 w 4507"/>
              <a:gd name="T11" fmla="*/ 401 h 1954"/>
              <a:gd name="T12" fmla="*/ 1722 w 4507"/>
              <a:gd name="T13" fmla="*/ 26 h 1954"/>
              <a:gd name="T14" fmla="*/ 1804 w 4507"/>
              <a:gd name="T15" fmla="*/ 309 h 1954"/>
              <a:gd name="T16" fmla="*/ 1741 w 4507"/>
              <a:gd name="T17" fmla="*/ 269 h 1954"/>
              <a:gd name="T18" fmla="*/ 1854 w 4507"/>
              <a:gd name="T19" fmla="*/ 788 h 1954"/>
              <a:gd name="T20" fmla="*/ 2410 w 4507"/>
              <a:gd name="T21" fmla="*/ 18 h 1954"/>
              <a:gd name="T22" fmla="*/ 3053 w 4507"/>
              <a:gd name="T23" fmla="*/ 553 h 1954"/>
              <a:gd name="T24" fmla="*/ 3419 w 4507"/>
              <a:gd name="T25" fmla="*/ 539 h 1954"/>
              <a:gd name="T26" fmla="*/ 3595 w 4507"/>
              <a:gd name="T27" fmla="*/ 659 h 1954"/>
              <a:gd name="T28" fmla="*/ 3699 w 4507"/>
              <a:gd name="T29" fmla="*/ 697 h 1954"/>
              <a:gd name="T30" fmla="*/ 3842 w 4507"/>
              <a:gd name="T31" fmla="*/ 595 h 1954"/>
              <a:gd name="T32" fmla="*/ 3700 w 4507"/>
              <a:gd name="T33" fmla="*/ 806 h 1954"/>
              <a:gd name="T34" fmla="*/ 3943 w 4507"/>
              <a:gd name="T35" fmla="*/ 725 h 1954"/>
              <a:gd name="T36" fmla="*/ 4018 w 4507"/>
              <a:gd name="T37" fmla="*/ 689 h 1954"/>
              <a:gd name="T38" fmla="*/ 4124 w 4507"/>
              <a:gd name="T39" fmla="*/ 581 h 1954"/>
              <a:gd name="T40" fmla="*/ 3931 w 4507"/>
              <a:gd name="T41" fmla="*/ 269 h 1954"/>
              <a:gd name="T42" fmla="*/ 4017 w 4507"/>
              <a:gd name="T43" fmla="*/ 6 h 1954"/>
              <a:gd name="T44" fmla="*/ 4117 w 4507"/>
              <a:gd name="T45" fmla="*/ 228 h 1954"/>
              <a:gd name="T46" fmla="*/ 4005 w 4507"/>
              <a:gd name="T47" fmla="*/ 134 h 1954"/>
              <a:gd name="T48" fmla="*/ 4123 w 4507"/>
              <a:gd name="T49" fmla="*/ 383 h 1954"/>
              <a:gd name="T50" fmla="*/ 4174 w 4507"/>
              <a:gd name="T51" fmla="*/ 697 h 1954"/>
              <a:gd name="T52" fmla="*/ 1767 w 4507"/>
              <a:gd name="T53" fmla="*/ 1273 h 1954"/>
              <a:gd name="T54" fmla="*/ 2197 w 4507"/>
              <a:gd name="T55" fmla="*/ 1926 h 1954"/>
              <a:gd name="T56" fmla="*/ 2114 w 4507"/>
              <a:gd name="T57" fmla="*/ 1551 h 1954"/>
              <a:gd name="T58" fmla="*/ 2226 w 4507"/>
              <a:gd name="T59" fmla="*/ 1156 h 1954"/>
              <a:gd name="T60" fmla="*/ 2385 w 4507"/>
              <a:gd name="T61" fmla="*/ 1313 h 1954"/>
              <a:gd name="T62" fmla="*/ 2373 w 4507"/>
              <a:gd name="T63" fmla="*/ 1834 h 1954"/>
              <a:gd name="T64" fmla="*/ 2227 w 4507"/>
              <a:gd name="T65" fmla="*/ 1271 h 1954"/>
              <a:gd name="T66" fmla="*/ 2192 w 4507"/>
              <a:gd name="T67" fmla="*/ 1738 h 1954"/>
              <a:gd name="T68" fmla="*/ 2323 w 4507"/>
              <a:gd name="T69" fmla="*/ 1760 h 1954"/>
              <a:gd name="T70" fmla="*/ 2273 w 4507"/>
              <a:gd name="T71" fmla="*/ 1259 h 1954"/>
              <a:gd name="T72" fmla="*/ 3321 w 4507"/>
              <a:gd name="T73" fmla="*/ 1954 h 1954"/>
              <a:gd name="T74" fmla="*/ 3265 w 4507"/>
              <a:gd name="T75" fmla="*/ 1693 h 1954"/>
              <a:gd name="T76" fmla="*/ 3380 w 4507"/>
              <a:gd name="T77" fmla="*/ 1832 h 1954"/>
              <a:gd name="T78" fmla="*/ 3369 w 4507"/>
              <a:gd name="T79" fmla="*/ 1625 h 1954"/>
              <a:gd name="T80" fmla="*/ 3218 w 4507"/>
              <a:gd name="T81" fmla="*/ 1279 h 1954"/>
              <a:gd name="T82" fmla="*/ 3426 w 4507"/>
              <a:gd name="T83" fmla="*/ 1198 h 1954"/>
              <a:gd name="T84" fmla="*/ 3370 w 4507"/>
              <a:gd name="T85" fmla="*/ 1265 h 1954"/>
              <a:gd name="T86" fmla="*/ 3279 w 4507"/>
              <a:gd name="T87" fmla="*/ 1379 h 1954"/>
              <a:gd name="T88" fmla="*/ 3471 w 4507"/>
              <a:gd name="T89" fmla="*/ 1675 h 1954"/>
              <a:gd name="T90" fmla="*/ 3381 w 4507"/>
              <a:gd name="T91" fmla="*/ 1946 h 1954"/>
              <a:gd name="T92" fmla="*/ 3620 w 4507"/>
              <a:gd name="T93" fmla="*/ 1772 h 1954"/>
              <a:gd name="T94" fmla="*/ 3736 w 4507"/>
              <a:gd name="T95" fmla="*/ 1772 h 1954"/>
              <a:gd name="T96" fmla="*/ 3756 w 4507"/>
              <a:gd name="T97" fmla="*/ 1914 h 1954"/>
              <a:gd name="T98" fmla="*/ 3915 w 4507"/>
              <a:gd name="T99" fmla="*/ 1828 h 1954"/>
              <a:gd name="T100" fmla="*/ 4005 w 4507"/>
              <a:gd name="T101" fmla="*/ 1838 h 1954"/>
              <a:gd name="T102" fmla="*/ 4160 w 4507"/>
              <a:gd name="T103" fmla="*/ 1697 h 1954"/>
              <a:gd name="T104" fmla="*/ 4039 w 4507"/>
              <a:gd name="T105" fmla="*/ 1954 h 1954"/>
              <a:gd name="T106" fmla="*/ 4268 w 4507"/>
              <a:gd name="T107" fmla="*/ 1888 h 1954"/>
              <a:gd name="T108" fmla="*/ 4324 w 4507"/>
              <a:gd name="T109" fmla="*/ 1824 h 1954"/>
              <a:gd name="T110" fmla="*/ 4442 w 4507"/>
              <a:gd name="T111" fmla="*/ 1752 h 1954"/>
              <a:gd name="T112" fmla="*/ 4255 w 4507"/>
              <a:gd name="T113" fmla="*/ 1447 h 1954"/>
              <a:gd name="T114" fmla="*/ 4311 w 4507"/>
              <a:gd name="T115" fmla="*/ 1166 h 1954"/>
              <a:gd name="T116" fmla="*/ 4497 w 4507"/>
              <a:gd name="T117" fmla="*/ 1331 h 1954"/>
              <a:gd name="T118" fmla="*/ 4336 w 4507"/>
              <a:gd name="T119" fmla="*/ 1267 h 1954"/>
              <a:gd name="T120" fmla="*/ 4359 w 4507"/>
              <a:gd name="T121" fmla="*/ 1457 h 1954"/>
              <a:gd name="T122" fmla="*/ 4499 w 4507"/>
              <a:gd name="T123" fmla="*/ 1814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507" h="1954">
                <a:moveTo>
                  <a:pt x="4307" y="327"/>
                </a:moveTo>
                <a:lnTo>
                  <a:pt x="4377" y="327"/>
                </a:lnTo>
                <a:lnTo>
                  <a:pt x="4377" y="463"/>
                </a:lnTo>
                <a:lnTo>
                  <a:pt x="4307" y="463"/>
                </a:lnTo>
                <a:lnTo>
                  <a:pt x="4307" y="327"/>
                </a:lnTo>
                <a:close/>
                <a:moveTo>
                  <a:pt x="1248" y="18"/>
                </a:moveTo>
                <a:lnTo>
                  <a:pt x="1248" y="473"/>
                </a:lnTo>
                <a:lnTo>
                  <a:pt x="1051" y="473"/>
                </a:lnTo>
                <a:lnTo>
                  <a:pt x="1051" y="1936"/>
                </a:lnTo>
                <a:lnTo>
                  <a:pt x="821" y="1936"/>
                </a:lnTo>
                <a:lnTo>
                  <a:pt x="821" y="473"/>
                </a:lnTo>
                <a:lnTo>
                  <a:pt x="655" y="18"/>
                </a:lnTo>
                <a:lnTo>
                  <a:pt x="1248" y="18"/>
                </a:lnTo>
                <a:close/>
                <a:moveTo>
                  <a:pt x="0" y="1481"/>
                </a:moveTo>
                <a:lnTo>
                  <a:pt x="230" y="1481"/>
                </a:lnTo>
                <a:lnTo>
                  <a:pt x="230" y="1936"/>
                </a:lnTo>
                <a:lnTo>
                  <a:pt x="0" y="1936"/>
                </a:lnTo>
                <a:lnTo>
                  <a:pt x="0" y="1481"/>
                </a:lnTo>
                <a:close/>
                <a:moveTo>
                  <a:pt x="487" y="1186"/>
                </a:moveTo>
                <a:lnTo>
                  <a:pt x="752" y="1936"/>
                </a:lnTo>
                <a:lnTo>
                  <a:pt x="495" y="1936"/>
                </a:lnTo>
                <a:lnTo>
                  <a:pt x="11" y="559"/>
                </a:lnTo>
                <a:lnTo>
                  <a:pt x="11" y="18"/>
                </a:lnTo>
                <a:lnTo>
                  <a:pt x="309" y="18"/>
                </a:lnTo>
                <a:lnTo>
                  <a:pt x="335" y="18"/>
                </a:lnTo>
                <a:lnTo>
                  <a:pt x="359" y="20"/>
                </a:lnTo>
                <a:lnTo>
                  <a:pt x="382" y="24"/>
                </a:lnTo>
                <a:lnTo>
                  <a:pt x="404" y="30"/>
                </a:lnTo>
                <a:lnTo>
                  <a:pt x="426" y="36"/>
                </a:lnTo>
                <a:lnTo>
                  <a:pt x="447" y="44"/>
                </a:lnTo>
                <a:lnTo>
                  <a:pt x="467" y="52"/>
                </a:lnTo>
                <a:lnTo>
                  <a:pt x="476" y="58"/>
                </a:lnTo>
                <a:lnTo>
                  <a:pt x="486" y="62"/>
                </a:lnTo>
                <a:lnTo>
                  <a:pt x="504" y="74"/>
                </a:lnTo>
                <a:lnTo>
                  <a:pt x="521" y="88"/>
                </a:lnTo>
                <a:lnTo>
                  <a:pt x="538" y="102"/>
                </a:lnTo>
                <a:lnTo>
                  <a:pt x="553" y="116"/>
                </a:lnTo>
                <a:lnTo>
                  <a:pt x="569" y="132"/>
                </a:lnTo>
                <a:lnTo>
                  <a:pt x="583" y="150"/>
                </a:lnTo>
                <a:lnTo>
                  <a:pt x="596" y="168"/>
                </a:lnTo>
                <a:lnTo>
                  <a:pt x="609" y="188"/>
                </a:lnTo>
                <a:lnTo>
                  <a:pt x="620" y="208"/>
                </a:lnTo>
                <a:lnTo>
                  <a:pt x="631" y="230"/>
                </a:lnTo>
                <a:lnTo>
                  <a:pt x="641" y="251"/>
                </a:lnTo>
                <a:lnTo>
                  <a:pt x="650" y="273"/>
                </a:lnTo>
                <a:lnTo>
                  <a:pt x="659" y="297"/>
                </a:lnTo>
                <a:lnTo>
                  <a:pt x="666" y="323"/>
                </a:lnTo>
                <a:lnTo>
                  <a:pt x="673" y="349"/>
                </a:lnTo>
                <a:lnTo>
                  <a:pt x="680" y="375"/>
                </a:lnTo>
                <a:lnTo>
                  <a:pt x="685" y="401"/>
                </a:lnTo>
                <a:lnTo>
                  <a:pt x="690" y="429"/>
                </a:lnTo>
                <a:lnTo>
                  <a:pt x="694" y="459"/>
                </a:lnTo>
                <a:lnTo>
                  <a:pt x="697" y="487"/>
                </a:lnTo>
                <a:lnTo>
                  <a:pt x="699" y="517"/>
                </a:lnTo>
                <a:lnTo>
                  <a:pt x="701" y="547"/>
                </a:lnTo>
                <a:lnTo>
                  <a:pt x="702" y="579"/>
                </a:lnTo>
                <a:lnTo>
                  <a:pt x="703" y="611"/>
                </a:lnTo>
                <a:lnTo>
                  <a:pt x="702" y="661"/>
                </a:lnTo>
                <a:lnTo>
                  <a:pt x="701" y="687"/>
                </a:lnTo>
                <a:lnTo>
                  <a:pt x="699" y="711"/>
                </a:lnTo>
                <a:lnTo>
                  <a:pt x="697" y="735"/>
                </a:lnTo>
                <a:lnTo>
                  <a:pt x="695" y="758"/>
                </a:lnTo>
                <a:lnTo>
                  <a:pt x="692" y="782"/>
                </a:lnTo>
                <a:lnTo>
                  <a:pt x="689" y="806"/>
                </a:lnTo>
                <a:lnTo>
                  <a:pt x="685" y="830"/>
                </a:lnTo>
                <a:lnTo>
                  <a:pt x="681" y="852"/>
                </a:lnTo>
                <a:lnTo>
                  <a:pt x="677" y="874"/>
                </a:lnTo>
                <a:lnTo>
                  <a:pt x="672" y="896"/>
                </a:lnTo>
                <a:lnTo>
                  <a:pt x="666" y="916"/>
                </a:lnTo>
                <a:lnTo>
                  <a:pt x="661" y="938"/>
                </a:lnTo>
                <a:lnTo>
                  <a:pt x="655" y="958"/>
                </a:lnTo>
                <a:lnTo>
                  <a:pt x="648" y="976"/>
                </a:lnTo>
                <a:lnTo>
                  <a:pt x="641" y="996"/>
                </a:lnTo>
                <a:lnTo>
                  <a:pt x="634" y="1014"/>
                </a:lnTo>
                <a:lnTo>
                  <a:pt x="626" y="1030"/>
                </a:lnTo>
                <a:lnTo>
                  <a:pt x="618" y="1048"/>
                </a:lnTo>
                <a:lnTo>
                  <a:pt x="609" y="1064"/>
                </a:lnTo>
                <a:lnTo>
                  <a:pt x="600" y="1080"/>
                </a:lnTo>
                <a:lnTo>
                  <a:pt x="591" y="1094"/>
                </a:lnTo>
                <a:lnTo>
                  <a:pt x="581" y="1108"/>
                </a:lnTo>
                <a:lnTo>
                  <a:pt x="571" y="1120"/>
                </a:lnTo>
                <a:lnTo>
                  <a:pt x="559" y="1132"/>
                </a:lnTo>
                <a:lnTo>
                  <a:pt x="548" y="1144"/>
                </a:lnTo>
                <a:lnTo>
                  <a:pt x="537" y="1154"/>
                </a:lnTo>
                <a:lnTo>
                  <a:pt x="525" y="1164"/>
                </a:lnTo>
                <a:lnTo>
                  <a:pt x="513" y="1172"/>
                </a:lnTo>
                <a:lnTo>
                  <a:pt x="500" y="1180"/>
                </a:lnTo>
                <a:lnTo>
                  <a:pt x="487" y="1186"/>
                </a:lnTo>
                <a:close/>
                <a:moveTo>
                  <a:pt x="239" y="391"/>
                </a:moveTo>
                <a:lnTo>
                  <a:pt x="239" y="880"/>
                </a:lnTo>
                <a:lnTo>
                  <a:pt x="337" y="880"/>
                </a:lnTo>
                <a:lnTo>
                  <a:pt x="347" y="880"/>
                </a:lnTo>
                <a:lnTo>
                  <a:pt x="357" y="880"/>
                </a:lnTo>
                <a:lnTo>
                  <a:pt x="367" y="878"/>
                </a:lnTo>
                <a:lnTo>
                  <a:pt x="376" y="874"/>
                </a:lnTo>
                <a:lnTo>
                  <a:pt x="384" y="872"/>
                </a:lnTo>
                <a:lnTo>
                  <a:pt x="392" y="868"/>
                </a:lnTo>
                <a:lnTo>
                  <a:pt x="400" y="862"/>
                </a:lnTo>
                <a:lnTo>
                  <a:pt x="407" y="858"/>
                </a:lnTo>
                <a:lnTo>
                  <a:pt x="413" y="852"/>
                </a:lnTo>
                <a:lnTo>
                  <a:pt x="419" y="844"/>
                </a:lnTo>
                <a:lnTo>
                  <a:pt x="425" y="838"/>
                </a:lnTo>
                <a:lnTo>
                  <a:pt x="430" y="830"/>
                </a:lnTo>
                <a:lnTo>
                  <a:pt x="435" y="822"/>
                </a:lnTo>
                <a:lnTo>
                  <a:pt x="440" y="814"/>
                </a:lnTo>
                <a:lnTo>
                  <a:pt x="444" y="806"/>
                </a:lnTo>
                <a:lnTo>
                  <a:pt x="448" y="796"/>
                </a:lnTo>
                <a:lnTo>
                  <a:pt x="451" y="788"/>
                </a:lnTo>
                <a:lnTo>
                  <a:pt x="454" y="778"/>
                </a:lnTo>
                <a:lnTo>
                  <a:pt x="457" y="768"/>
                </a:lnTo>
                <a:lnTo>
                  <a:pt x="460" y="758"/>
                </a:lnTo>
                <a:lnTo>
                  <a:pt x="464" y="738"/>
                </a:lnTo>
                <a:lnTo>
                  <a:pt x="467" y="717"/>
                </a:lnTo>
                <a:lnTo>
                  <a:pt x="470" y="697"/>
                </a:lnTo>
                <a:lnTo>
                  <a:pt x="471" y="675"/>
                </a:lnTo>
                <a:lnTo>
                  <a:pt x="472" y="655"/>
                </a:lnTo>
                <a:lnTo>
                  <a:pt x="472" y="635"/>
                </a:lnTo>
                <a:lnTo>
                  <a:pt x="472" y="615"/>
                </a:lnTo>
                <a:lnTo>
                  <a:pt x="470" y="593"/>
                </a:lnTo>
                <a:lnTo>
                  <a:pt x="468" y="573"/>
                </a:lnTo>
                <a:lnTo>
                  <a:pt x="464" y="551"/>
                </a:lnTo>
                <a:lnTo>
                  <a:pt x="462" y="541"/>
                </a:lnTo>
                <a:lnTo>
                  <a:pt x="459" y="531"/>
                </a:lnTo>
                <a:lnTo>
                  <a:pt x="457" y="521"/>
                </a:lnTo>
                <a:lnTo>
                  <a:pt x="454" y="511"/>
                </a:lnTo>
                <a:lnTo>
                  <a:pt x="447" y="491"/>
                </a:lnTo>
                <a:lnTo>
                  <a:pt x="443" y="483"/>
                </a:lnTo>
                <a:lnTo>
                  <a:pt x="439" y="473"/>
                </a:lnTo>
                <a:lnTo>
                  <a:pt x="435" y="465"/>
                </a:lnTo>
                <a:lnTo>
                  <a:pt x="430" y="457"/>
                </a:lnTo>
                <a:lnTo>
                  <a:pt x="420" y="441"/>
                </a:lnTo>
                <a:lnTo>
                  <a:pt x="414" y="433"/>
                </a:lnTo>
                <a:lnTo>
                  <a:pt x="408" y="427"/>
                </a:lnTo>
                <a:lnTo>
                  <a:pt x="402" y="421"/>
                </a:lnTo>
                <a:lnTo>
                  <a:pt x="396" y="415"/>
                </a:lnTo>
                <a:lnTo>
                  <a:pt x="389" y="409"/>
                </a:lnTo>
                <a:lnTo>
                  <a:pt x="382" y="405"/>
                </a:lnTo>
                <a:lnTo>
                  <a:pt x="375" y="401"/>
                </a:lnTo>
                <a:lnTo>
                  <a:pt x="367" y="397"/>
                </a:lnTo>
                <a:lnTo>
                  <a:pt x="359" y="395"/>
                </a:lnTo>
                <a:lnTo>
                  <a:pt x="351" y="393"/>
                </a:lnTo>
                <a:lnTo>
                  <a:pt x="333" y="391"/>
                </a:lnTo>
                <a:lnTo>
                  <a:pt x="239" y="391"/>
                </a:lnTo>
                <a:close/>
                <a:moveTo>
                  <a:pt x="1780" y="395"/>
                </a:moveTo>
                <a:lnTo>
                  <a:pt x="1776" y="403"/>
                </a:lnTo>
                <a:lnTo>
                  <a:pt x="1772" y="411"/>
                </a:lnTo>
                <a:lnTo>
                  <a:pt x="1763" y="423"/>
                </a:lnTo>
                <a:lnTo>
                  <a:pt x="1754" y="433"/>
                </a:lnTo>
                <a:lnTo>
                  <a:pt x="1743" y="443"/>
                </a:lnTo>
                <a:lnTo>
                  <a:pt x="1814" y="788"/>
                </a:lnTo>
                <a:lnTo>
                  <a:pt x="1742" y="788"/>
                </a:lnTo>
                <a:lnTo>
                  <a:pt x="1683" y="465"/>
                </a:lnTo>
                <a:lnTo>
                  <a:pt x="1607" y="465"/>
                </a:lnTo>
                <a:lnTo>
                  <a:pt x="1607" y="788"/>
                </a:lnTo>
                <a:lnTo>
                  <a:pt x="1543" y="788"/>
                </a:lnTo>
                <a:lnTo>
                  <a:pt x="1543" y="18"/>
                </a:lnTo>
                <a:lnTo>
                  <a:pt x="1681" y="18"/>
                </a:lnTo>
                <a:lnTo>
                  <a:pt x="1696" y="18"/>
                </a:lnTo>
                <a:lnTo>
                  <a:pt x="1703" y="20"/>
                </a:lnTo>
                <a:lnTo>
                  <a:pt x="1710" y="22"/>
                </a:lnTo>
                <a:lnTo>
                  <a:pt x="1722" y="26"/>
                </a:lnTo>
                <a:lnTo>
                  <a:pt x="1734" y="32"/>
                </a:lnTo>
                <a:lnTo>
                  <a:pt x="1745" y="40"/>
                </a:lnTo>
                <a:lnTo>
                  <a:pt x="1755" y="50"/>
                </a:lnTo>
                <a:lnTo>
                  <a:pt x="1765" y="62"/>
                </a:lnTo>
                <a:lnTo>
                  <a:pt x="1769" y="68"/>
                </a:lnTo>
                <a:lnTo>
                  <a:pt x="1773" y="76"/>
                </a:lnTo>
                <a:lnTo>
                  <a:pt x="1781" y="92"/>
                </a:lnTo>
                <a:lnTo>
                  <a:pt x="1788" y="108"/>
                </a:lnTo>
                <a:lnTo>
                  <a:pt x="1791" y="118"/>
                </a:lnTo>
                <a:lnTo>
                  <a:pt x="1794" y="126"/>
                </a:lnTo>
                <a:lnTo>
                  <a:pt x="1799" y="146"/>
                </a:lnTo>
                <a:lnTo>
                  <a:pt x="1803" y="168"/>
                </a:lnTo>
                <a:lnTo>
                  <a:pt x="1805" y="178"/>
                </a:lnTo>
                <a:lnTo>
                  <a:pt x="1806" y="190"/>
                </a:lnTo>
                <a:lnTo>
                  <a:pt x="1807" y="200"/>
                </a:lnTo>
                <a:lnTo>
                  <a:pt x="1808" y="212"/>
                </a:lnTo>
                <a:lnTo>
                  <a:pt x="1808" y="224"/>
                </a:lnTo>
                <a:lnTo>
                  <a:pt x="1808" y="236"/>
                </a:lnTo>
                <a:lnTo>
                  <a:pt x="1808" y="263"/>
                </a:lnTo>
                <a:lnTo>
                  <a:pt x="1807" y="275"/>
                </a:lnTo>
                <a:lnTo>
                  <a:pt x="1806" y="287"/>
                </a:lnTo>
                <a:lnTo>
                  <a:pt x="1805" y="299"/>
                </a:lnTo>
                <a:lnTo>
                  <a:pt x="1804" y="309"/>
                </a:lnTo>
                <a:lnTo>
                  <a:pt x="1801" y="331"/>
                </a:lnTo>
                <a:lnTo>
                  <a:pt x="1797" y="349"/>
                </a:lnTo>
                <a:lnTo>
                  <a:pt x="1792" y="367"/>
                </a:lnTo>
                <a:lnTo>
                  <a:pt x="1786" y="381"/>
                </a:lnTo>
                <a:lnTo>
                  <a:pt x="1780" y="395"/>
                </a:lnTo>
                <a:close/>
                <a:moveTo>
                  <a:pt x="1678" y="122"/>
                </a:moveTo>
                <a:lnTo>
                  <a:pt x="1607" y="122"/>
                </a:lnTo>
                <a:lnTo>
                  <a:pt x="1607" y="365"/>
                </a:lnTo>
                <a:lnTo>
                  <a:pt x="1678" y="365"/>
                </a:lnTo>
                <a:lnTo>
                  <a:pt x="1686" y="363"/>
                </a:lnTo>
                <a:lnTo>
                  <a:pt x="1694" y="361"/>
                </a:lnTo>
                <a:lnTo>
                  <a:pt x="1700" y="359"/>
                </a:lnTo>
                <a:lnTo>
                  <a:pt x="1707" y="355"/>
                </a:lnTo>
                <a:lnTo>
                  <a:pt x="1712" y="351"/>
                </a:lnTo>
                <a:lnTo>
                  <a:pt x="1717" y="345"/>
                </a:lnTo>
                <a:lnTo>
                  <a:pt x="1722" y="339"/>
                </a:lnTo>
                <a:lnTo>
                  <a:pt x="1726" y="331"/>
                </a:lnTo>
                <a:lnTo>
                  <a:pt x="1730" y="323"/>
                </a:lnTo>
                <a:lnTo>
                  <a:pt x="1733" y="313"/>
                </a:lnTo>
                <a:lnTo>
                  <a:pt x="1736" y="303"/>
                </a:lnTo>
                <a:lnTo>
                  <a:pt x="1738" y="293"/>
                </a:lnTo>
                <a:lnTo>
                  <a:pt x="1740" y="281"/>
                </a:lnTo>
                <a:lnTo>
                  <a:pt x="1741" y="269"/>
                </a:lnTo>
                <a:lnTo>
                  <a:pt x="1742" y="257"/>
                </a:lnTo>
                <a:lnTo>
                  <a:pt x="1742" y="244"/>
                </a:lnTo>
                <a:lnTo>
                  <a:pt x="1742" y="230"/>
                </a:lnTo>
                <a:lnTo>
                  <a:pt x="1742" y="218"/>
                </a:lnTo>
                <a:lnTo>
                  <a:pt x="1740" y="206"/>
                </a:lnTo>
                <a:lnTo>
                  <a:pt x="1739" y="194"/>
                </a:lnTo>
                <a:lnTo>
                  <a:pt x="1737" y="184"/>
                </a:lnTo>
                <a:lnTo>
                  <a:pt x="1734" y="174"/>
                </a:lnTo>
                <a:lnTo>
                  <a:pt x="1731" y="164"/>
                </a:lnTo>
                <a:lnTo>
                  <a:pt x="1728" y="156"/>
                </a:lnTo>
                <a:lnTo>
                  <a:pt x="1723" y="148"/>
                </a:lnTo>
                <a:lnTo>
                  <a:pt x="1719" y="142"/>
                </a:lnTo>
                <a:lnTo>
                  <a:pt x="1713" y="136"/>
                </a:lnTo>
                <a:lnTo>
                  <a:pt x="1708" y="132"/>
                </a:lnTo>
                <a:lnTo>
                  <a:pt x="1701" y="128"/>
                </a:lnTo>
                <a:lnTo>
                  <a:pt x="1694" y="124"/>
                </a:lnTo>
                <a:lnTo>
                  <a:pt x="1686" y="122"/>
                </a:lnTo>
                <a:lnTo>
                  <a:pt x="1678" y="122"/>
                </a:lnTo>
                <a:close/>
                <a:moveTo>
                  <a:pt x="2090" y="788"/>
                </a:moveTo>
                <a:lnTo>
                  <a:pt x="2069" y="635"/>
                </a:lnTo>
                <a:lnTo>
                  <a:pt x="1942" y="635"/>
                </a:lnTo>
                <a:lnTo>
                  <a:pt x="1921" y="788"/>
                </a:lnTo>
                <a:lnTo>
                  <a:pt x="1854" y="788"/>
                </a:lnTo>
                <a:lnTo>
                  <a:pt x="1975" y="18"/>
                </a:lnTo>
                <a:lnTo>
                  <a:pt x="2037" y="18"/>
                </a:lnTo>
                <a:lnTo>
                  <a:pt x="2160" y="788"/>
                </a:lnTo>
                <a:lnTo>
                  <a:pt x="2090" y="788"/>
                </a:lnTo>
                <a:close/>
                <a:moveTo>
                  <a:pt x="2026" y="323"/>
                </a:moveTo>
                <a:lnTo>
                  <a:pt x="2015" y="250"/>
                </a:lnTo>
                <a:lnTo>
                  <a:pt x="2010" y="210"/>
                </a:lnTo>
                <a:lnTo>
                  <a:pt x="2006" y="170"/>
                </a:lnTo>
                <a:lnTo>
                  <a:pt x="2001" y="210"/>
                </a:lnTo>
                <a:lnTo>
                  <a:pt x="1996" y="250"/>
                </a:lnTo>
                <a:lnTo>
                  <a:pt x="1986" y="325"/>
                </a:lnTo>
                <a:lnTo>
                  <a:pt x="1957" y="529"/>
                </a:lnTo>
                <a:lnTo>
                  <a:pt x="2053" y="529"/>
                </a:lnTo>
                <a:lnTo>
                  <a:pt x="2026" y="323"/>
                </a:lnTo>
                <a:close/>
                <a:moveTo>
                  <a:pt x="2419" y="788"/>
                </a:moveTo>
                <a:lnTo>
                  <a:pt x="2323" y="431"/>
                </a:lnTo>
                <a:lnTo>
                  <a:pt x="2285" y="527"/>
                </a:lnTo>
                <a:lnTo>
                  <a:pt x="2285" y="788"/>
                </a:lnTo>
                <a:lnTo>
                  <a:pt x="2220" y="788"/>
                </a:lnTo>
                <a:lnTo>
                  <a:pt x="2220" y="18"/>
                </a:lnTo>
                <a:lnTo>
                  <a:pt x="2285" y="18"/>
                </a:lnTo>
                <a:lnTo>
                  <a:pt x="2285" y="347"/>
                </a:lnTo>
                <a:lnTo>
                  <a:pt x="2410" y="18"/>
                </a:lnTo>
                <a:lnTo>
                  <a:pt x="2492" y="18"/>
                </a:lnTo>
                <a:lnTo>
                  <a:pt x="2363" y="333"/>
                </a:lnTo>
                <a:lnTo>
                  <a:pt x="2498" y="788"/>
                </a:lnTo>
                <a:lnTo>
                  <a:pt x="2419" y="788"/>
                </a:lnTo>
                <a:close/>
                <a:moveTo>
                  <a:pt x="2558" y="788"/>
                </a:moveTo>
                <a:lnTo>
                  <a:pt x="2558" y="18"/>
                </a:lnTo>
                <a:lnTo>
                  <a:pt x="2786" y="18"/>
                </a:lnTo>
                <a:lnTo>
                  <a:pt x="2786" y="126"/>
                </a:lnTo>
                <a:lnTo>
                  <a:pt x="2623" y="126"/>
                </a:lnTo>
                <a:lnTo>
                  <a:pt x="2623" y="341"/>
                </a:lnTo>
                <a:lnTo>
                  <a:pt x="2756" y="341"/>
                </a:lnTo>
                <a:lnTo>
                  <a:pt x="2756" y="445"/>
                </a:lnTo>
                <a:lnTo>
                  <a:pt x="2623" y="445"/>
                </a:lnTo>
                <a:lnTo>
                  <a:pt x="2623" y="683"/>
                </a:lnTo>
                <a:lnTo>
                  <a:pt x="2786" y="683"/>
                </a:lnTo>
                <a:lnTo>
                  <a:pt x="2786" y="788"/>
                </a:lnTo>
                <a:lnTo>
                  <a:pt x="2558" y="788"/>
                </a:lnTo>
                <a:close/>
                <a:moveTo>
                  <a:pt x="2939" y="18"/>
                </a:moveTo>
                <a:lnTo>
                  <a:pt x="3030" y="439"/>
                </a:lnTo>
                <a:lnTo>
                  <a:pt x="3038" y="477"/>
                </a:lnTo>
                <a:lnTo>
                  <a:pt x="3042" y="495"/>
                </a:lnTo>
                <a:lnTo>
                  <a:pt x="3046" y="515"/>
                </a:lnTo>
                <a:lnTo>
                  <a:pt x="3053" y="553"/>
                </a:lnTo>
                <a:lnTo>
                  <a:pt x="3060" y="595"/>
                </a:lnTo>
                <a:lnTo>
                  <a:pt x="3060" y="509"/>
                </a:lnTo>
                <a:lnTo>
                  <a:pt x="3059" y="421"/>
                </a:lnTo>
                <a:lnTo>
                  <a:pt x="3059" y="18"/>
                </a:lnTo>
                <a:lnTo>
                  <a:pt x="3124" y="18"/>
                </a:lnTo>
                <a:lnTo>
                  <a:pt x="3124" y="788"/>
                </a:lnTo>
                <a:lnTo>
                  <a:pt x="3046" y="788"/>
                </a:lnTo>
                <a:lnTo>
                  <a:pt x="2954" y="369"/>
                </a:lnTo>
                <a:lnTo>
                  <a:pt x="2946" y="331"/>
                </a:lnTo>
                <a:lnTo>
                  <a:pt x="2938" y="293"/>
                </a:lnTo>
                <a:lnTo>
                  <a:pt x="2931" y="255"/>
                </a:lnTo>
                <a:lnTo>
                  <a:pt x="2923" y="214"/>
                </a:lnTo>
                <a:lnTo>
                  <a:pt x="2924" y="389"/>
                </a:lnTo>
                <a:lnTo>
                  <a:pt x="2924" y="790"/>
                </a:lnTo>
                <a:lnTo>
                  <a:pt x="2859" y="790"/>
                </a:lnTo>
                <a:lnTo>
                  <a:pt x="2859" y="18"/>
                </a:lnTo>
                <a:lnTo>
                  <a:pt x="2939" y="18"/>
                </a:lnTo>
                <a:close/>
                <a:moveTo>
                  <a:pt x="3306" y="18"/>
                </a:moveTo>
                <a:lnTo>
                  <a:pt x="3396" y="425"/>
                </a:lnTo>
                <a:lnTo>
                  <a:pt x="3404" y="463"/>
                </a:lnTo>
                <a:lnTo>
                  <a:pt x="3408" y="481"/>
                </a:lnTo>
                <a:lnTo>
                  <a:pt x="3412" y="501"/>
                </a:lnTo>
                <a:lnTo>
                  <a:pt x="3419" y="539"/>
                </a:lnTo>
                <a:lnTo>
                  <a:pt x="3426" y="581"/>
                </a:lnTo>
                <a:lnTo>
                  <a:pt x="3426" y="495"/>
                </a:lnTo>
                <a:lnTo>
                  <a:pt x="3426" y="407"/>
                </a:lnTo>
                <a:lnTo>
                  <a:pt x="3426" y="18"/>
                </a:lnTo>
                <a:lnTo>
                  <a:pt x="3491" y="18"/>
                </a:lnTo>
                <a:lnTo>
                  <a:pt x="3491" y="788"/>
                </a:lnTo>
                <a:lnTo>
                  <a:pt x="3412" y="788"/>
                </a:lnTo>
                <a:lnTo>
                  <a:pt x="3320" y="383"/>
                </a:lnTo>
                <a:lnTo>
                  <a:pt x="3312" y="345"/>
                </a:lnTo>
                <a:lnTo>
                  <a:pt x="3305" y="307"/>
                </a:lnTo>
                <a:lnTo>
                  <a:pt x="3297" y="269"/>
                </a:lnTo>
                <a:lnTo>
                  <a:pt x="3290" y="228"/>
                </a:lnTo>
                <a:lnTo>
                  <a:pt x="3290" y="403"/>
                </a:lnTo>
                <a:lnTo>
                  <a:pt x="3290" y="788"/>
                </a:lnTo>
                <a:lnTo>
                  <a:pt x="3226" y="788"/>
                </a:lnTo>
                <a:lnTo>
                  <a:pt x="3226" y="18"/>
                </a:lnTo>
                <a:lnTo>
                  <a:pt x="3306" y="18"/>
                </a:lnTo>
                <a:close/>
                <a:moveTo>
                  <a:pt x="3618" y="735"/>
                </a:moveTo>
                <a:lnTo>
                  <a:pt x="3611" y="719"/>
                </a:lnTo>
                <a:lnTo>
                  <a:pt x="3605" y="701"/>
                </a:lnTo>
                <a:lnTo>
                  <a:pt x="3599" y="681"/>
                </a:lnTo>
                <a:lnTo>
                  <a:pt x="3597" y="669"/>
                </a:lnTo>
                <a:lnTo>
                  <a:pt x="3595" y="659"/>
                </a:lnTo>
                <a:lnTo>
                  <a:pt x="3591" y="635"/>
                </a:lnTo>
                <a:lnTo>
                  <a:pt x="3589" y="609"/>
                </a:lnTo>
                <a:lnTo>
                  <a:pt x="3588" y="595"/>
                </a:lnTo>
                <a:lnTo>
                  <a:pt x="3587" y="581"/>
                </a:lnTo>
                <a:lnTo>
                  <a:pt x="3587" y="549"/>
                </a:lnTo>
                <a:lnTo>
                  <a:pt x="3587" y="18"/>
                </a:lnTo>
                <a:lnTo>
                  <a:pt x="3652" y="18"/>
                </a:lnTo>
                <a:lnTo>
                  <a:pt x="3652" y="543"/>
                </a:lnTo>
                <a:lnTo>
                  <a:pt x="3652" y="563"/>
                </a:lnTo>
                <a:lnTo>
                  <a:pt x="3652" y="581"/>
                </a:lnTo>
                <a:lnTo>
                  <a:pt x="3653" y="597"/>
                </a:lnTo>
                <a:lnTo>
                  <a:pt x="3655" y="611"/>
                </a:lnTo>
                <a:lnTo>
                  <a:pt x="3657" y="625"/>
                </a:lnTo>
                <a:lnTo>
                  <a:pt x="3659" y="637"/>
                </a:lnTo>
                <a:lnTo>
                  <a:pt x="3662" y="649"/>
                </a:lnTo>
                <a:lnTo>
                  <a:pt x="3665" y="659"/>
                </a:lnTo>
                <a:lnTo>
                  <a:pt x="3669" y="667"/>
                </a:lnTo>
                <a:lnTo>
                  <a:pt x="3674" y="675"/>
                </a:lnTo>
                <a:lnTo>
                  <a:pt x="3679" y="683"/>
                </a:lnTo>
                <a:lnTo>
                  <a:pt x="3685" y="689"/>
                </a:lnTo>
                <a:lnTo>
                  <a:pt x="3688" y="691"/>
                </a:lnTo>
                <a:lnTo>
                  <a:pt x="3692" y="693"/>
                </a:lnTo>
                <a:lnTo>
                  <a:pt x="3699" y="697"/>
                </a:lnTo>
                <a:lnTo>
                  <a:pt x="3706" y="699"/>
                </a:lnTo>
                <a:lnTo>
                  <a:pt x="3715" y="699"/>
                </a:lnTo>
                <a:lnTo>
                  <a:pt x="3723" y="699"/>
                </a:lnTo>
                <a:lnTo>
                  <a:pt x="3731" y="697"/>
                </a:lnTo>
                <a:lnTo>
                  <a:pt x="3738" y="693"/>
                </a:lnTo>
                <a:lnTo>
                  <a:pt x="3744" y="689"/>
                </a:lnTo>
                <a:lnTo>
                  <a:pt x="3750" y="683"/>
                </a:lnTo>
                <a:lnTo>
                  <a:pt x="3755" y="675"/>
                </a:lnTo>
                <a:lnTo>
                  <a:pt x="3760" y="667"/>
                </a:lnTo>
                <a:lnTo>
                  <a:pt x="3764" y="659"/>
                </a:lnTo>
                <a:lnTo>
                  <a:pt x="3768" y="649"/>
                </a:lnTo>
                <a:lnTo>
                  <a:pt x="3770" y="637"/>
                </a:lnTo>
                <a:lnTo>
                  <a:pt x="3773" y="625"/>
                </a:lnTo>
                <a:lnTo>
                  <a:pt x="3775" y="613"/>
                </a:lnTo>
                <a:lnTo>
                  <a:pt x="3776" y="597"/>
                </a:lnTo>
                <a:lnTo>
                  <a:pt x="3777" y="581"/>
                </a:lnTo>
                <a:lnTo>
                  <a:pt x="3778" y="563"/>
                </a:lnTo>
                <a:lnTo>
                  <a:pt x="3778" y="543"/>
                </a:lnTo>
                <a:lnTo>
                  <a:pt x="3778" y="18"/>
                </a:lnTo>
                <a:lnTo>
                  <a:pt x="3843" y="18"/>
                </a:lnTo>
                <a:lnTo>
                  <a:pt x="3843" y="549"/>
                </a:lnTo>
                <a:lnTo>
                  <a:pt x="3843" y="581"/>
                </a:lnTo>
                <a:lnTo>
                  <a:pt x="3842" y="595"/>
                </a:lnTo>
                <a:lnTo>
                  <a:pt x="3841" y="609"/>
                </a:lnTo>
                <a:lnTo>
                  <a:pt x="3838" y="635"/>
                </a:lnTo>
                <a:lnTo>
                  <a:pt x="3835" y="659"/>
                </a:lnTo>
                <a:lnTo>
                  <a:pt x="3833" y="669"/>
                </a:lnTo>
                <a:lnTo>
                  <a:pt x="3830" y="681"/>
                </a:lnTo>
                <a:lnTo>
                  <a:pt x="3825" y="701"/>
                </a:lnTo>
                <a:lnTo>
                  <a:pt x="3822" y="709"/>
                </a:lnTo>
                <a:lnTo>
                  <a:pt x="3819" y="719"/>
                </a:lnTo>
                <a:lnTo>
                  <a:pt x="3815" y="727"/>
                </a:lnTo>
                <a:lnTo>
                  <a:pt x="3812" y="735"/>
                </a:lnTo>
                <a:lnTo>
                  <a:pt x="3807" y="744"/>
                </a:lnTo>
                <a:lnTo>
                  <a:pt x="3802" y="752"/>
                </a:lnTo>
                <a:lnTo>
                  <a:pt x="3792" y="766"/>
                </a:lnTo>
                <a:lnTo>
                  <a:pt x="3781" y="778"/>
                </a:lnTo>
                <a:lnTo>
                  <a:pt x="3775" y="784"/>
                </a:lnTo>
                <a:lnTo>
                  <a:pt x="3769" y="788"/>
                </a:lnTo>
                <a:lnTo>
                  <a:pt x="3757" y="796"/>
                </a:lnTo>
                <a:lnTo>
                  <a:pt x="3750" y="800"/>
                </a:lnTo>
                <a:lnTo>
                  <a:pt x="3743" y="802"/>
                </a:lnTo>
                <a:lnTo>
                  <a:pt x="3729" y="806"/>
                </a:lnTo>
                <a:lnTo>
                  <a:pt x="3722" y="806"/>
                </a:lnTo>
                <a:lnTo>
                  <a:pt x="3715" y="806"/>
                </a:lnTo>
                <a:lnTo>
                  <a:pt x="3700" y="806"/>
                </a:lnTo>
                <a:lnTo>
                  <a:pt x="3686" y="802"/>
                </a:lnTo>
                <a:lnTo>
                  <a:pt x="3679" y="800"/>
                </a:lnTo>
                <a:lnTo>
                  <a:pt x="3673" y="796"/>
                </a:lnTo>
                <a:lnTo>
                  <a:pt x="3660" y="788"/>
                </a:lnTo>
                <a:lnTo>
                  <a:pt x="3648" y="778"/>
                </a:lnTo>
                <a:lnTo>
                  <a:pt x="3637" y="766"/>
                </a:lnTo>
                <a:lnTo>
                  <a:pt x="3627" y="750"/>
                </a:lnTo>
                <a:lnTo>
                  <a:pt x="3623" y="742"/>
                </a:lnTo>
                <a:lnTo>
                  <a:pt x="3618" y="735"/>
                </a:lnTo>
                <a:close/>
                <a:moveTo>
                  <a:pt x="4052" y="806"/>
                </a:moveTo>
                <a:lnTo>
                  <a:pt x="4036" y="806"/>
                </a:lnTo>
                <a:lnTo>
                  <a:pt x="4020" y="802"/>
                </a:lnTo>
                <a:lnTo>
                  <a:pt x="4006" y="796"/>
                </a:lnTo>
                <a:lnTo>
                  <a:pt x="4000" y="792"/>
                </a:lnTo>
                <a:lnTo>
                  <a:pt x="3993" y="788"/>
                </a:lnTo>
                <a:lnTo>
                  <a:pt x="3981" y="780"/>
                </a:lnTo>
                <a:lnTo>
                  <a:pt x="3975" y="774"/>
                </a:lnTo>
                <a:lnTo>
                  <a:pt x="3970" y="768"/>
                </a:lnTo>
                <a:lnTo>
                  <a:pt x="3960" y="756"/>
                </a:lnTo>
                <a:lnTo>
                  <a:pt x="3956" y="748"/>
                </a:lnTo>
                <a:lnTo>
                  <a:pt x="3951" y="740"/>
                </a:lnTo>
                <a:lnTo>
                  <a:pt x="3947" y="733"/>
                </a:lnTo>
                <a:lnTo>
                  <a:pt x="3943" y="725"/>
                </a:lnTo>
                <a:lnTo>
                  <a:pt x="3939" y="717"/>
                </a:lnTo>
                <a:lnTo>
                  <a:pt x="3936" y="707"/>
                </a:lnTo>
                <a:lnTo>
                  <a:pt x="3930" y="687"/>
                </a:lnTo>
                <a:lnTo>
                  <a:pt x="3926" y="667"/>
                </a:lnTo>
                <a:lnTo>
                  <a:pt x="3924" y="657"/>
                </a:lnTo>
                <a:lnTo>
                  <a:pt x="3922" y="645"/>
                </a:lnTo>
                <a:lnTo>
                  <a:pt x="3919" y="623"/>
                </a:lnTo>
                <a:lnTo>
                  <a:pt x="3918" y="599"/>
                </a:lnTo>
                <a:lnTo>
                  <a:pt x="3917" y="585"/>
                </a:lnTo>
                <a:lnTo>
                  <a:pt x="3917" y="573"/>
                </a:lnTo>
                <a:lnTo>
                  <a:pt x="3980" y="545"/>
                </a:lnTo>
                <a:lnTo>
                  <a:pt x="3981" y="567"/>
                </a:lnTo>
                <a:lnTo>
                  <a:pt x="3982" y="587"/>
                </a:lnTo>
                <a:lnTo>
                  <a:pt x="3984" y="603"/>
                </a:lnTo>
                <a:lnTo>
                  <a:pt x="3986" y="619"/>
                </a:lnTo>
                <a:lnTo>
                  <a:pt x="3988" y="627"/>
                </a:lnTo>
                <a:lnTo>
                  <a:pt x="3989" y="635"/>
                </a:lnTo>
                <a:lnTo>
                  <a:pt x="3993" y="647"/>
                </a:lnTo>
                <a:lnTo>
                  <a:pt x="3997" y="659"/>
                </a:lnTo>
                <a:lnTo>
                  <a:pt x="4001" y="667"/>
                </a:lnTo>
                <a:lnTo>
                  <a:pt x="4006" y="677"/>
                </a:lnTo>
                <a:lnTo>
                  <a:pt x="4012" y="683"/>
                </a:lnTo>
                <a:lnTo>
                  <a:pt x="4018" y="689"/>
                </a:lnTo>
                <a:lnTo>
                  <a:pt x="4025" y="693"/>
                </a:lnTo>
                <a:lnTo>
                  <a:pt x="4032" y="697"/>
                </a:lnTo>
                <a:lnTo>
                  <a:pt x="4039" y="699"/>
                </a:lnTo>
                <a:lnTo>
                  <a:pt x="4047" y="701"/>
                </a:lnTo>
                <a:lnTo>
                  <a:pt x="4056" y="701"/>
                </a:lnTo>
                <a:lnTo>
                  <a:pt x="4063" y="701"/>
                </a:lnTo>
                <a:lnTo>
                  <a:pt x="4070" y="699"/>
                </a:lnTo>
                <a:lnTo>
                  <a:pt x="4077" y="697"/>
                </a:lnTo>
                <a:lnTo>
                  <a:pt x="4083" y="695"/>
                </a:lnTo>
                <a:lnTo>
                  <a:pt x="4089" y="691"/>
                </a:lnTo>
                <a:lnTo>
                  <a:pt x="4095" y="685"/>
                </a:lnTo>
                <a:lnTo>
                  <a:pt x="4100" y="679"/>
                </a:lnTo>
                <a:lnTo>
                  <a:pt x="4105" y="673"/>
                </a:lnTo>
                <a:lnTo>
                  <a:pt x="4109" y="665"/>
                </a:lnTo>
                <a:lnTo>
                  <a:pt x="4113" y="657"/>
                </a:lnTo>
                <a:lnTo>
                  <a:pt x="4116" y="649"/>
                </a:lnTo>
                <a:lnTo>
                  <a:pt x="4119" y="639"/>
                </a:lnTo>
                <a:lnTo>
                  <a:pt x="4121" y="627"/>
                </a:lnTo>
                <a:lnTo>
                  <a:pt x="4122" y="623"/>
                </a:lnTo>
                <a:lnTo>
                  <a:pt x="4123" y="617"/>
                </a:lnTo>
                <a:lnTo>
                  <a:pt x="4124" y="605"/>
                </a:lnTo>
                <a:lnTo>
                  <a:pt x="4124" y="591"/>
                </a:lnTo>
                <a:lnTo>
                  <a:pt x="4124" y="581"/>
                </a:lnTo>
                <a:lnTo>
                  <a:pt x="4123" y="571"/>
                </a:lnTo>
                <a:lnTo>
                  <a:pt x="4122" y="563"/>
                </a:lnTo>
                <a:lnTo>
                  <a:pt x="4121" y="553"/>
                </a:lnTo>
                <a:lnTo>
                  <a:pt x="4119" y="545"/>
                </a:lnTo>
                <a:lnTo>
                  <a:pt x="4117" y="537"/>
                </a:lnTo>
                <a:lnTo>
                  <a:pt x="4115" y="529"/>
                </a:lnTo>
                <a:lnTo>
                  <a:pt x="4112" y="521"/>
                </a:lnTo>
                <a:lnTo>
                  <a:pt x="4104" y="505"/>
                </a:lnTo>
                <a:lnTo>
                  <a:pt x="4100" y="497"/>
                </a:lnTo>
                <a:lnTo>
                  <a:pt x="4095" y="491"/>
                </a:lnTo>
                <a:lnTo>
                  <a:pt x="4084" y="477"/>
                </a:lnTo>
                <a:lnTo>
                  <a:pt x="4071" y="465"/>
                </a:lnTo>
                <a:lnTo>
                  <a:pt x="4007" y="407"/>
                </a:lnTo>
                <a:lnTo>
                  <a:pt x="3998" y="399"/>
                </a:lnTo>
                <a:lnTo>
                  <a:pt x="3988" y="389"/>
                </a:lnTo>
                <a:lnTo>
                  <a:pt x="3972" y="369"/>
                </a:lnTo>
                <a:lnTo>
                  <a:pt x="3958" y="349"/>
                </a:lnTo>
                <a:lnTo>
                  <a:pt x="3953" y="337"/>
                </a:lnTo>
                <a:lnTo>
                  <a:pt x="3947" y="325"/>
                </a:lnTo>
                <a:lnTo>
                  <a:pt x="3942" y="313"/>
                </a:lnTo>
                <a:lnTo>
                  <a:pt x="3937" y="299"/>
                </a:lnTo>
                <a:lnTo>
                  <a:pt x="3934" y="285"/>
                </a:lnTo>
                <a:lnTo>
                  <a:pt x="3931" y="269"/>
                </a:lnTo>
                <a:lnTo>
                  <a:pt x="3929" y="253"/>
                </a:lnTo>
                <a:lnTo>
                  <a:pt x="3928" y="246"/>
                </a:lnTo>
                <a:lnTo>
                  <a:pt x="3927" y="238"/>
                </a:lnTo>
                <a:lnTo>
                  <a:pt x="3927" y="220"/>
                </a:lnTo>
                <a:lnTo>
                  <a:pt x="3926" y="200"/>
                </a:lnTo>
                <a:lnTo>
                  <a:pt x="3926" y="188"/>
                </a:lnTo>
                <a:lnTo>
                  <a:pt x="3927" y="176"/>
                </a:lnTo>
                <a:lnTo>
                  <a:pt x="3928" y="164"/>
                </a:lnTo>
                <a:lnTo>
                  <a:pt x="3929" y="152"/>
                </a:lnTo>
                <a:lnTo>
                  <a:pt x="3930" y="142"/>
                </a:lnTo>
                <a:lnTo>
                  <a:pt x="3932" y="132"/>
                </a:lnTo>
                <a:lnTo>
                  <a:pt x="3936" y="112"/>
                </a:lnTo>
                <a:lnTo>
                  <a:pt x="3939" y="102"/>
                </a:lnTo>
                <a:lnTo>
                  <a:pt x="3942" y="94"/>
                </a:lnTo>
                <a:lnTo>
                  <a:pt x="3949" y="78"/>
                </a:lnTo>
                <a:lnTo>
                  <a:pt x="3957" y="62"/>
                </a:lnTo>
                <a:lnTo>
                  <a:pt x="3961" y="56"/>
                </a:lnTo>
                <a:lnTo>
                  <a:pt x="3965" y="50"/>
                </a:lnTo>
                <a:lnTo>
                  <a:pt x="3974" y="38"/>
                </a:lnTo>
                <a:lnTo>
                  <a:pt x="3984" y="28"/>
                </a:lnTo>
                <a:lnTo>
                  <a:pt x="3994" y="20"/>
                </a:lnTo>
                <a:lnTo>
                  <a:pt x="4005" y="12"/>
                </a:lnTo>
                <a:lnTo>
                  <a:pt x="4017" y="6"/>
                </a:lnTo>
                <a:lnTo>
                  <a:pt x="4029" y="4"/>
                </a:lnTo>
                <a:lnTo>
                  <a:pt x="4042" y="0"/>
                </a:lnTo>
                <a:lnTo>
                  <a:pt x="4055" y="0"/>
                </a:lnTo>
                <a:lnTo>
                  <a:pt x="4070" y="2"/>
                </a:lnTo>
                <a:lnTo>
                  <a:pt x="4085" y="4"/>
                </a:lnTo>
                <a:lnTo>
                  <a:pt x="4098" y="10"/>
                </a:lnTo>
                <a:lnTo>
                  <a:pt x="4104" y="14"/>
                </a:lnTo>
                <a:lnTo>
                  <a:pt x="4110" y="18"/>
                </a:lnTo>
                <a:lnTo>
                  <a:pt x="4122" y="26"/>
                </a:lnTo>
                <a:lnTo>
                  <a:pt x="4132" y="38"/>
                </a:lnTo>
                <a:lnTo>
                  <a:pt x="4141" y="50"/>
                </a:lnTo>
                <a:lnTo>
                  <a:pt x="4149" y="64"/>
                </a:lnTo>
                <a:lnTo>
                  <a:pt x="4153" y="72"/>
                </a:lnTo>
                <a:lnTo>
                  <a:pt x="4156" y="78"/>
                </a:lnTo>
                <a:lnTo>
                  <a:pt x="4159" y="86"/>
                </a:lnTo>
                <a:lnTo>
                  <a:pt x="4162" y="94"/>
                </a:lnTo>
                <a:lnTo>
                  <a:pt x="4167" y="112"/>
                </a:lnTo>
                <a:lnTo>
                  <a:pt x="4172" y="128"/>
                </a:lnTo>
                <a:lnTo>
                  <a:pt x="4175" y="146"/>
                </a:lnTo>
                <a:lnTo>
                  <a:pt x="4177" y="166"/>
                </a:lnTo>
                <a:lnTo>
                  <a:pt x="4179" y="184"/>
                </a:lnTo>
                <a:lnTo>
                  <a:pt x="4179" y="202"/>
                </a:lnTo>
                <a:lnTo>
                  <a:pt x="4117" y="228"/>
                </a:lnTo>
                <a:lnTo>
                  <a:pt x="4117" y="212"/>
                </a:lnTo>
                <a:lnTo>
                  <a:pt x="4115" y="198"/>
                </a:lnTo>
                <a:lnTo>
                  <a:pt x="4114" y="186"/>
                </a:lnTo>
                <a:lnTo>
                  <a:pt x="4112" y="172"/>
                </a:lnTo>
                <a:lnTo>
                  <a:pt x="4109" y="162"/>
                </a:lnTo>
                <a:lnTo>
                  <a:pt x="4106" y="152"/>
                </a:lnTo>
                <a:lnTo>
                  <a:pt x="4103" y="142"/>
                </a:lnTo>
                <a:lnTo>
                  <a:pt x="4099" y="136"/>
                </a:lnTo>
                <a:lnTo>
                  <a:pt x="4095" y="128"/>
                </a:lnTo>
                <a:lnTo>
                  <a:pt x="4090" y="122"/>
                </a:lnTo>
                <a:lnTo>
                  <a:pt x="4085" y="118"/>
                </a:lnTo>
                <a:lnTo>
                  <a:pt x="4079" y="114"/>
                </a:lnTo>
                <a:lnTo>
                  <a:pt x="4073" y="110"/>
                </a:lnTo>
                <a:lnTo>
                  <a:pt x="4067" y="108"/>
                </a:lnTo>
                <a:lnTo>
                  <a:pt x="4060" y="108"/>
                </a:lnTo>
                <a:lnTo>
                  <a:pt x="4052" y="106"/>
                </a:lnTo>
                <a:lnTo>
                  <a:pt x="4040" y="108"/>
                </a:lnTo>
                <a:lnTo>
                  <a:pt x="4028" y="112"/>
                </a:lnTo>
                <a:lnTo>
                  <a:pt x="4023" y="116"/>
                </a:lnTo>
                <a:lnTo>
                  <a:pt x="4018" y="120"/>
                </a:lnTo>
                <a:lnTo>
                  <a:pt x="4013" y="124"/>
                </a:lnTo>
                <a:lnTo>
                  <a:pt x="4009" y="128"/>
                </a:lnTo>
                <a:lnTo>
                  <a:pt x="4005" y="134"/>
                </a:lnTo>
                <a:lnTo>
                  <a:pt x="4002" y="140"/>
                </a:lnTo>
                <a:lnTo>
                  <a:pt x="3999" y="148"/>
                </a:lnTo>
                <a:lnTo>
                  <a:pt x="3996" y="156"/>
                </a:lnTo>
                <a:lnTo>
                  <a:pt x="3994" y="164"/>
                </a:lnTo>
                <a:lnTo>
                  <a:pt x="3993" y="174"/>
                </a:lnTo>
                <a:lnTo>
                  <a:pt x="3992" y="184"/>
                </a:lnTo>
                <a:lnTo>
                  <a:pt x="3992" y="194"/>
                </a:lnTo>
                <a:lnTo>
                  <a:pt x="3992" y="204"/>
                </a:lnTo>
                <a:lnTo>
                  <a:pt x="3992" y="214"/>
                </a:lnTo>
                <a:lnTo>
                  <a:pt x="3993" y="224"/>
                </a:lnTo>
                <a:lnTo>
                  <a:pt x="3994" y="232"/>
                </a:lnTo>
                <a:lnTo>
                  <a:pt x="3996" y="240"/>
                </a:lnTo>
                <a:lnTo>
                  <a:pt x="3998" y="248"/>
                </a:lnTo>
                <a:lnTo>
                  <a:pt x="4001" y="255"/>
                </a:lnTo>
                <a:lnTo>
                  <a:pt x="4003" y="261"/>
                </a:lnTo>
                <a:lnTo>
                  <a:pt x="4007" y="267"/>
                </a:lnTo>
                <a:lnTo>
                  <a:pt x="4010" y="273"/>
                </a:lnTo>
                <a:lnTo>
                  <a:pt x="4019" y="285"/>
                </a:lnTo>
                <a:lnTo>
                  <a:pt x="4029" y="297"/>
                </a:lnTo>
                <a:lnTo>
                  <a:pt x="4041" y="309"/>
                </a:lnTo>
                <a:lnTo>
                  <a:pt x="4103" y="363"/>
                </a:lnTo>
                <a:lnTo>
                  <a:pt x="4113" y="373"/>
                </a:lnTo>
                <a:lnTo>
                  <a:pt x="4123" y="383"/>
                </a:lnTo>
                <a:lnTo>
                  <a:pt x="4133" y="393"/>
                </a:lnTo>
                <a:lnTo>
                  <a:pt x="4141" y="405"/>
                </a:lnTo>
                <a:lnTo>
                  <a:pt x="4149" y="417"/>
                </a:lnTo>
                <a:lnTo>
                  <a:pt x="4156" y="427"/>
                </a:lnTo>
                <a:lnTo>
                  <a:pt x="4162" y="441"/>
                </a:lnTo>
                <a:lnTo>
                  <a:pt x="4168" y="453"/>
                </a:lnTo>
                <a:lnTo>
                  <a:pt x="4173" y="467"/>
                </a:lnTo>
                <a:lnTo>
                  <a:pt x="4177" y="481"/>
                </a:lnTo>
                <a:lnTo>
                  <a:pt x="4181" y="495"/>
                </a:lnTo>
                <a:lnTo>
                  <a:pt x="4184" y="511"/>
                </a:lnTo>
                <a:lnTo>
                  <a:pt x="4186" y="527"/>
                </a:lnTo>
                <a:lnTo>
                  <a:pt x="4187" y="537"/>
                </a:lnTo>
                <a:lnTo>
                  <a:pt x="4187" y="545"/>
                </a:lnTo>
                <a:lnTo>
                  <a:pt x="4188" y="563"/>
                </a:lnTo>
                <a:lnTo>
                  <a:pt x="4189" y="583"/>
                </a:lnTo>
                <a:lnTo>
                  <a:pt x="4188" y="609"/>
                </a:lnTo>
                <a:lnTo>
                  <a:pt x="4186" y="633"/>
                </a:lnTo>
                <a:lnTo>
                  <a:pt x="4185" y="645"/>
                </a:lnTo>
                <a:lnTo>
                  <a:pt x="4183" y="655"/>
                </a:lnTo>
                <a:lnTo>
                  <a:pt x="4181" y="667"/>
                </a:lnTo>
                <a:lnTo>
                  <a:pt x="4179" y="677"/>
                </a:lnTo>
                <a:lnTo>
                  <a:pt x="4177" y="687"/>
                </a:lnTo>
                <a:lnTo>
                  <a:pt x="4174" y="697"/>
                </a:lnTo>
                <a:lnTo>
                  <a:pt x="4167" y="715"/>
                </a:lnTo>
                <a:lnTo>
                  <a:pt x="4164" y="723"/>
                </a:lnTo>
                <a:lnTo>
                  <a:pt x="4160" y="733"/>
                </a:lnTo>
                <a:lnTo>
                  <a:pt x="4152" y="746"/>
                </a:lnTo>
                <a:lnTo>
                  <a:pt x="4147" y="754"/>
                </a:lnTo>
                <a:lnTo>
                  <a:pt x="4142" y="760"/>
                </a:lnTo>
                <a:lnTo>
                  <a:pt x="4137" y="766"/>
                </a:lnTo>
                <a:lnTo>
                  <a:pt x="4132" y="772"/>
                </a:lnTo>
                <a:lnTo>
                  <a:pt x="4121" y="782"/>
                </a:lnTo>
                <a:lnTo>
                  <a:pt x="4109" y="790"/>
                </a:lnTo>
                <a:lnTo>
                  <a:pt x="4096" y="798"/>
                </a:lnTo>
                <a:lnTo>
                  <a:pt x="4082" y="802"/>
                </a:lnTo>
                <a:lnTo>
                  <a:pt x="4075" y="804"/>
                </a:lnTo>
                <a:lnTo>
                  <a:pt x="4068" y="804"/>
                </a:lnTo>
                <a:lnTo>
                  <a:pt x="4052" y="806"/>
                </a:lnTo>
                <a:close/>
                <a:moveTo>
                  <a:pt x="1669" y="1273"/>
                </a:moveTo>
                <a:lnTo>
                  <a:pt x="1669" y="1936"/>
                </a:lnTo>
                <a:lnTo>
                  <a:pt x="1604" y="1936"/>
                </a:lnTo>
                <a:lnTo>
                  <a:pt x="1604" y="1273"/>
                </a:lnTo>
                <a:lnTo>
                  <a:pt x="1506" y="1273"/>
                </a:lnTo>
                <a:lnTo>
                  <a:pt x="1506" y="1166"/>
                </a:lnTo>
                <a:lnTo>
                  <a:pt x="1767" y="1166"/>
                </a:lnTo>
                <a:lnTo>
                  <a:pt x="1767" y="1273"/>
                </a:lnTo>
                <a:lnTo>
                  <a:pt x="1669" y="1273"/>
                </a:lnTo>
                <a:close/>
                <a:moveTo>
                  <a:pt x="1832" y="1936"/>
                </a:moveTo>
                <a:lnTo>
                  <a:pt x="1832" y="1166"/>
                </a:lnTo>
                <a:lnTo>
                  <a:pt x="2060" y="1166"/>
                </a:lnTo>
                <a:lnTo>
                  <a:pt x="2060" y="1273"/>
                </a:lnTo>
                <a:lnTo>
                  <a:pt x="1897" y="1273"/>
                </a:lnTo>
                <a:lnTo>
                  <a:pt x="1897" y="1489"/>
                </a:lnTo>
                <a:lnTo>
                  <a:pt x="2030" y="1489"/>
                </a:lnTo>
                <a:lnTo>
                  <a:pt x="2030" y="1593"/>
                </a:lnTo>
                <a:lnTo>
                  <a:pt x="1897" y="1593"/>
                </a:lnTo>
                <a:lnTo>
                  <a:pt x="1897" y="1828"/>
                </a:lnTo>
                <a:lnTo>
                  <a:pt x="2060" y="1828"/>
                </a:lnTo>
                <a:lnTo>
                  <a:pt x="2060" y="1936"/>
                </a:lnTo>
                <a:lnTo>
                  <a:pt x="1832" y="1936"/>
                </a:lnTo>
                <a:close/>
                <a:moveTo>
                  <a:pt x="2260" y="1954"/>
                </a:moveTo>
                <a:lnTo>
                  <a:pt x="2251" y="1954"/>
                </a:lnTo>
                <a:lnTo>
                  <a:pt x="2242" y="1952"/>
                </a:lnTo>
                <a:lnTo>
                  <a:pt x="2234" y="1950"/>
                </a:lnTo>
                <a:lnTo>
                  <a:pt x="2226" y="1948"/>
                </a:lnTo>
                <a:lnTo>
                  <a:pt x="2218" y="1944"/>
                </a:lnTo>
                <a:lnTo>
                  <a:pt x="2211" y="1938"/>
                </a:lnTo>
                <a:lnTo>
                  <a:pt x="2204" y="1932"/>
                </a:lnTo>
                <a:lnTo>
                  <a:pt x="2197" y="1926"/>
                </a:lnTo>
                <a:lnTo>
                  <a:pt x="2190" y="1920"/>
                </a:lnTo>
                <a:lnTo>
                  <a:pt x="2184" y="1912"/>
                </a:lnTo>
                <a:lnTo>
                  <a:pt x="2178" y="1902"/>
                </a:lnTo>
                <a:lnTo>
                  <a:pt x="2172" y="1892"/>
                </a:lnTo>
                <a:lnTo>
                  <a:pt x="2166" y="1882"/>
                </a:lnTo>
                <a:lnTo>
                  <a:pt x="2161" y="1872"/>
                </a:lnTo>
                <a:lnTo>
                  <a:pt x="2156" y="1860"/>
                </a:lnTo>
                <a:lnTo>
                  <a:pt x="2151" y="1846"/>
                </a:lnTo>
                <a:lnTo>
                  <a:pt x="2147" y="1834"/>
                </a:lnTo>
                <a:lnTo>
                  <a:pt x="2143" y="1820"/>
                </a:lnTo>
                <a:lnTo>
                  <a:pt x="2139" y="1804"/>
                </a:lnTo>
                <a:lnTo>
                  <a:pt x="2135" y="1788"/>
                </a:lnTo>
                <a:lnTo>
                  <a:pt x="2132" y="1772"/>
                </a:lnTo>
                <a:lnTo>
                  <a:pt x="2129" y="1756"/>
                </a:lnTo>
                <a:lnTo>
                  <a:pt x="2126" y="1738"/>
                </a:lnTo>
                <a:lnTo>
                  <a:pt x="2124" y="1720"/>
                </a:lnTo>
                <a:lnTo>
                  <a:pt x="2121" y="1701"/>
                </a:lnTo>
                <a:lnTo>
                  <a:pt x="2120" y="1681"/>
                </a:lnTo>
                <a:lnTo>
                  <a:pt x="2118" y="1661"/>
                </a:lnTo>
                <a:lnTo>
                  <a:pt x="2117" y="1641"/>
                </a:lnTo>
                <a:lnTo>
                  <a:pt x="2115" y="1597"/>
                </a:lnTo>
                <a:lnTo>
                  <a:pt x="2114" y="1575"/>
                </a:lnTo>
                <a:lnTo>
                  <a:pt x="2114" y="1551"/>
                </a:lnTo>
                <a:lnTo>
                  <a:pt x="2115" y="1505"/>
                </a:lnTo>
                <a:lnTo>
                  <a:pt x="2117" y="1461"/>
                </a:lnTo>
                <a:lnTo>
                  <a:pt x="2118" y="1441"/>
                </a:lnTo>
                <a:lnTo>
                  <a:pt x="2120" y="1421"/>
                </a:lnTo>
                <a:lnTo>
                  <a:pt x="2124" y="1383"/>
                </a:lnTo>
                <a:lnTo>
                  <a:pt x="2126" y="1363"/>
                </a:lnTo>
                <a:lnTo>
                  <a:pt x="2129" y="1347"/>
                </a:lnTo>
                <a:lnTo>
                  <a:pt x="2135" y="1313"/>
                </a:lnTo>
                <a:lnTo>
                  <a:pt x="2139" y="1297"/>
                </a:lnTo>
                <a:lnTo>
                  <a:pt x="2143" y="1283"/>
                </a:lnTo>
                <a:lnTo>
                  <a:pt x="2147" y="1269"/>
                </a:lnTo>
                <a:lnTo>
                  <a:pt x="2151" y="1255"/>
                </a:lnTo>
                <a:lnTo>
                  <a:pt x="2156" y="1243"/>
                </a:lnTo>
                <a:lnTo>
                  <a:pt x="2161" y="1231"/>
                </a:lnTo>
                <a:lnTo>
                  <a:pt x="2166" y="1220"/>
                </a:lnTo>
                <a:lnTo>
                  <a:pt x="2172" y="1210"/>
                </a:lnTo>
                <a:lnTo>
                  <a:pt x="2178" y="1200"/>
                </a:lnTo>
                <a:lnTo>
                  <a:pt x="2184" y="1192"/>
                </a:lnTo>
                <a:lnTo>
                  <a:pt x="2197" y="1176"/>
                </a:lnTo>
                <a:lnTo>
                  <a:pt x="2204" y="1170"/>
                </a:lnTo>
                <a:lnTo>
                  <a:pt x="2211" y="1164"/>
                </a:lnTo>
                <a:lnTo>
                  <a:pt x="2218" y="1160"/>
                </a:lnTo>
                <a:lnTo>
                  <a:pt x="2226" y="1156"/>
                </a:lnTo>
                <a:lnTo>
                  <a:pt x="2234" y="1152"/>
                </a:lnTo>
                <a:lnTo>
                  <a:pt x="2242" y="1150"/>
                </a:lnTo>
                <a:lnTo>
                  <a:pt x="2251" y="1148"/>
                </a:lnTo>
                <a:lnTo>
                  <a:pt x="2260" y="1148"/>
                </a:lnTo>
                <a:lnTo>
                  <a:pt x="2268" y="1148"/>
                </a:lnTo>
                <a:lnTo>
                  <a:pt x="2277" y="1150"/>
                </a:lnTo>
                <a:lnTo>
                  <a:pt x="2285" y="1152"/>
                </a:lnTo>
                <a:lnTo>
                  <a:pt x="2293" y="1156"/>
                </a:lnTo>
                <a:lnTo>
                  <a:pt x="2301" y="1160"/>
                </a:lnTo>
                <a:lnTo>
                  <a:pt x="2308" y="1164"/>
                </a:lnTo>
                <a:lnTo>
                  <a:pt x="2316" y="1170"/>
                </a:lnTo>
                <a:lnTo>
                  <a:pt x="2323" y="1176"/>
                </a:lnTo>
                <a:lnTo>
                  <a:pt x="2329" y="1184"/>
                </a:lnTo>
                <a:lnTo>
                  <a:pt x="2336" y="1192"/>
                </a:lnTo>
                <a:lnTo>
                  <a:pt x="2342" y="1200"/>
                </a:lnTo>
                <a:lnTo>
                  <a:pt x="2348" y="1210"/>
                </a:lnTo>
                <a:lnTo>
                  <a:pt x="2353" y="1220"/>
                </a:lnTo>
                <a:lnTo>
                  <a:pt x="2359" y="1229"/>
                </a:lnTo>
                <a:lnTo>
                  <a:pt x="2364" y="1241"/>
                </a:lnTo>
                <a:lnTo>
                  <a:pt x="2368" y="1255"/>
                </a:lnTo>
                <a:lnTo>
                  <a:pt x="2377" y="1283"/>
                </a:lnTo>
                <a:lnTo>
                  <a:pt x="2381" y="1297"/>
                </a:lnTo>
                <a:lnTo>
                  <a:pt x="2385" y="1313"/>
                </a:lnTo>
                <a:lnTo>
                  <a:pt x="2391" y="1345"/>
                </a:lnTo>
                <a:lnTo>
                  <a:pt x="2394" y="1363"/>
                </a:lnTo>
                <a:lnTo>
                  <a:pt x="2396" y="1381"/>
                </a:lnTo>
                <a:lnTo>
                  <a:pt x="2398" y="1401"/>
                </a:lnTo>
                <a:lnTo>
                  <a:pt x="2400" y="1421"/>
                </a:lnTo>
                <a:lnTo>
                  <a:pt x="2402" y="1441"/>
                </a:lnTo>
                <a:lnTo>
                  <a:pt x="2403" y="1461"/>
                </a:lnTo>
                <a:lnTo>
                  <a:pt x="2404" y="1483"/>
                </a:lnTo>
                <a:lnTo>
                  <a:pt x="2405" y="1505"/>
                </a:lnTo>
                <a:lnTo>
                  <a:pt x="2405" y="1527"/>
                </a:lnTo>
                <a:lnTo>
                  <a:pt x="2406" y="1551"/>
                </a:lnTo>
                <a:lnTo>
                  <a:pt x="2405" y="1597"/>
                </a:lnTo>
                <a:lnTo>
                  <a:pt x="2403" y="1641"/>
                </a:lnTo>
                <a:lnTo>
                  <a:pt x="2402" y="1663"/>
                </a:lnTo>
                <a:lnTo>
                  <a:pt x="2400" y="1683"/>
                </a:lnTo>
                <a:lnTo>
                  <a:pt x="2396" y="1720"/>
                </a:lnTo>
                <a:lnTo>
                  <a:pt x="2394" y="1738"/>
                </a:lnTo>
                <a:lnTo>
                  <a:pt x="2391" y="1756"/>
                </a:lnTo>
                <a:lnTo>
                  <a:pt x="2388" y="1772"/>
                </a:lnTo>
                <a:lnTo>
                  <a:pt x="2385" y="1790"/>
                </a:lnTo>
                <a:lnTo>
                  <a:pt x="2381" y="1804"/>
                </a:lnTo>
                <a:lnTo>
                  <a:pt x="2377" y="1820"/>
                </a:lnTo>
                <a:lnTo>
                  <a:pt x="2373" y="1834"/>
                </a:lnTo>
                <a:lnTo>
                  <a:pt x="2368" y="1846"/>
                </a:lnTo>
                <a:lnTo>
                  <a:pt x="2364" y="1860"/>
                </a:lnTo>
                <a:lnTo>
                  <a:pt x="2359" y="1872"/>
                </a:lnTo>
                <a:lnTo>
                  <a:pt x="2353" y="1882"/>
                </a:lnTo>
                <a:lnTo>
                  <a:pt x="2348" y="1894"/>
                </a:lnTo>
                <a:lnTo>
                  <a:pt x="2342" y="1902"/>
                </a:lnTo>
                <a:lnTo>
                  <a:pt x="2336" y="1912"/>
                </a:lnTo>
                <a:lnTo>
                  <a:pt x="2329" y="1920"/>
                </a:lnTo>
                <a:lnTo>
                  <a:pt x="2323" y="1926"/>
                </a:lnTo>
                <a:lnTo>
                  <a:pt x="2316" y="1934"/>
                </a:lnTo>
                <a:lnTo>
                  <a:pt x="2308" y="1938"/>
                </a:lnTo>
                <a:lnTo>
                  <a:pt x="2301" y="1944"/>
                </a:lnTo>
                <a:lnTo>
                  <a:pt x="2293" y="1948"/>
                </a:lnTo>
                <a:lnTo>
                  <a:pt x="2285" y="1950"/>
                </a:lnTo>
                <a:lnTo>
                  <a:pt x="2277" y="1952"/>
                </a:lnTo>
                <a:lnTo>
                  <a:pt x="2268" y="1954"/>
                </a:lnTo>
                <a:lnTo>
                  <a:pt x="2260" y="1954"/>
                </a:lnTo>
                <a:close/>
                <a:moveTo>
                  <a:pt x="2260" y="1257"/>
                </a:moveTo>
                <a:lnTo>
                  <a:pt x="2251" y="1257"/>
                </a:lnTo>
                <a:lnTo>
                  <a:pt x="2246" y="1259"/>
                </a:lnTo>
                <a:lnTo>
                  <a:pt x="2242" y="1259"/>
                </a:lnTo>
                <a:lnTo>
                  <a:pt x="2234" y="1265"/>
                </a:lnTo>
                <a:lnTo>
                  <a:pt x="2227" y="1271"/>
                </a:lnTo>
                <a:lnTo>
                  <a:pt x="2223" y="1275"/>
                </a:lnTo>
                <a:lnTo>
                  <a:pt x="2220" y="1281"/>
                </a:lnTo>
                <a:lnTo>
                  <a:pt x="2216" y="1287"/>
                </a:lnTo>
                <a:lnTo>
                  <a:pt x="2213" y="1293"/>
                </a:lnTo>
                <a:lnTo>
                  <a:pt x="2210" y="1299"/>
                </a:lnTo>
                <a:lnTo>
                  <a:pt x="2207" y="1307"/>
                </a:lnTo>
                <a:lnTo>
                  <a:pt x="2201" y="1323"/>
                </a:lnTo>
                <a:lnTo>
                  <a:pt x="2199" y="1331"/>
                </a:lnTo>
                <a:lnTo>
                  <a:pt x="2196" y="1341"/>
                </a:lnTo>
                <a:lnTo>
                  <a:pt x="2192" y="1363"/>
                </a:lnTo>
                <a:lnTo>
                  <a:pt x="2188" y="1387"/>
                </a:lnTo>
                <a:lnTo>
                  <a:pt x="2187" y="1399"/>
                </a:lnTo>
                <a:lnTo>
                  <a:pt x="2185" y="1413"/>
                </a:lnTo>
                <a:lnTo>
                  <a:pt x="2183" y="1443"/>
                </a:lnTo>
                <a:lnTo>
                  <a:pt x="2181" y="1477"/>
                </a:lnTo>
                <a:lnTo>
                  <a:pt x="2180" y="1513"/>
                </a:lnTo>
                <a:lnTo>
                  <a:pt x="2180" y="1551"/>
                </a:lnTo>
                <a:lnTo>
                  <a:pt x="2180" y="1591"/>
                </a:lnTo>
                <a:lnTo>
                  <a:pt x="2181" y="1627"/>
                </a:lnTo>
                <a:lnTo>
                  <a:pt x="2183" y="1659"/>
                </a:lnTo>
                <a:lnTo>
                  <a:pt x="2185" y="1689"/>
                </a:lnTo>
                <a:lnTo>
                  <a:pt x="2188" y="1714"/>
                </a:lnTo>
                <a:lnTo>
                  <a:pt x="2192" y="1738"/>
                </a:lnTo>
                <a:lnTo>
                  <a:pt x="2196" y="1760"/>
                </a:lnTo>
                <a:lnTo>
                  <a:pt x="2201" y="1780"/>
                </a:lnTo>
                <a:lnTo>
                  <a:pt x="2207" y="1796"/>
                </a:lnTo>
                <a:lnTo>
                  <a:pt x="2213" y="1810"/>
                </a:lnTo>
                <a:lnTo>
                  <a:pt x="2220" y="1820"/>
                </a:lnTo>
                <a:lnTo>
                  <a:pt x="2227" y="1830"/>
                </a:lnTo>
                <a:lnTo>
                  <a:pt x="2234" y="1836"/>
                </a:lnTo>
                <a:lnTo>
                  <a:pt x="2242" y="1842"/>
                </a:lnTo>
                <a:lnTo>
                  <a:pt x="2251" y="1844"/>
                </a:lnTo>
                <a:lnTo>
                  <a:pt x="2260" y="1846"/>
                </a:lnTo>
                <a:lnTo>
                  <a:pt x="2269" y="1844"/>
                </a:lnTo>
                <a:lnTo>
                  <a:pt x="2273" y="1844"/>
                </a:lnTo>
                <a:lnTo>
                  <a:pt x="2277" y="1842"/>
                </a:lnTo>
                <a:lnTo>
                  <a:pt x="2285" y="1836"/>
                </a:lnTo>
                <a:lnTo>
                  <a:pt x="2293" y="1830"/>
                </a:lnTo>
                <a:lnTo>
                  <a:pt x="2296" y="1826"/>
                </a:lnTo>
                <a:lnTo>
                  <a:pt x="2300" y="1820"/>
                </a:lnTo>
                <a:lnTo>
                  <a:pt x="2306" y="1808"/>
                </a:lnTo>
                <a:lnTo>
                  <a:pt x="2309" y="1802"/>
                </a:lnTo>
                <a:lnTo>
                  <a:pt x="2312" y="1796"/>
                </a:lnTo>
                <a:lnTo>
                  <a:pt x="2318" y="1778"/>
                </a:lnTo>
                <a:lnTo>
                  <a:pt x="2320" y="1770"/>
                </a:lnTo>
                <a:lnTo>
                  <a:pt x="2323" y="1760"/>
                </a:lnTo>
                <a:lnTo>
                  <a:pt x="2327" y="1738"/>
                </a:lnTo>
                <a:lnTo>
                  <a:pt x="2331" y="1714"/>
                </a:lnTo>
                <a:lnTo>
                  <a:pt x="2332" y="1703"/>
                </a:lnTo>
                <a:lnTo>
                  <a:pt x="2334" y="1689"/>
                </a:lnTo>
                <a:lnTo>
                  <a:pt x="2336" y="1659"/>
                </a:lnTo>
                <a:lnTo>
                  <a:pt x="2338" y="1625"/>
                </a:lnTo>
                <a:lnTo>
                  <a:pt x="2339" y="1591"/>
                </a:lnTo>
                <a:lnTo>
                  <a:pt x="2340" y="1551"/>
                </a:lnTo>
                <a:lnTo>
                  <a:pt x="2339" y="1513"/>
                </a:lnTo>
                <a:lnTo>
                  <a:pt x="2338" y="1477"/>
                </a:lnTo>
                <a:lnTo>
                  <a:pt x="2336" y="1443"/>
                </a:lnTo>
                <a:lnTo>
                  <a:pt x="2334" y="1415"/>
                </a:lnTo>
                <a:lnTo>
                  <a:pt x="2331" y="1387"/>
                </a:lnTo>
                <a:lnTo>
                  <a:pt x="2327" y="1363"/>
                </a:lnTo>
                <a:lnTo>
                  <a:pt x="2323" y="1341"/>
                </a:lnTo>
                <a:lnTo>
                  <a:pt x="2318" y="1323"/>
                </a:lnTo>
                <a:lnTo>
                  <a:pt x="2312" y="1307"/>
                </a:lnTo>
                <a:lnTo>
                  <a:pt x="2306" y="1293"/>
                </a:lnTo>
                <a:lnTo>
                  <a:pt x="2300" y="1281"/>
                </a:lnTo>
                <a:lnTo>
                  <a:pt x="2293" y="1271"/>
                </a:lnTo>
                <a:lnTo>
                  <a:pt x="2285" y="1265"/>
                </a:lnTo>
                <a:lnTo>
                  <a:pt x="2277" y="1259"/>
                </a:lnTo>
                <a:lnTo>
                  <a:pt x="2273" y="1259"/>
                </a:lnTo>
                <a:lnTo>
                  <a:pt x="2269" y="1257"/>
                </a:lnTo>
                <a:lnTo>
                  <a:pt x="2260" y="1257"/>
                </a:lnTo>
                <a:close/>
                <a:moveTo>
                  <a:pt x="2485" y="1936"/>
                </a:moveTo>
                <a:lnTo>
                  <a:pt x="2485" y="1166"/>
                </a:lnTo>
                <a:lnTo>
                  <a:pt x="2549" y="1166"/>
                </a:lnTo>
                <a:lnTo>
                  <a:pt x="2549" y="1828"/>
                </a:lnTo>
                <a:lnTo>
                  <a:pt x="2709" y="1828"/>
                </a:lnTo>
                <a:lnTo>
                  <a:pt x="2709" y="1936"/>
                </a:lnTo>
                <a:lnTo>
                  <a:pt x="2485" y="1936"/>
                </a:lnTo>
                <a:close/>
                <a:moveTo>
                  <a:pt x="2769" y="1936"/>
                </a:moveTo>
                <a:lnTo>
                  <a:pt x="2769" y="1166"/>
                </a:lnTo>
                <a:lnTo>
                  <a:pt x="2835" y="1166"/>
                </a:lnTo>
                <a:lnTo>
                  <a:pt x="2835" y="1828"/>
                </a:lnTo>
                <a:lnTo>
                  <a:pt x="2994" y="1828"/>
                </a:lnTo>
                <a:lnTo>
                  <a:pt x="2994" y="1936"/>
                </a:lnTo>
                <a:lnTo>
                  <a:pt x="2769" y="1936"/>
                </a:lnTo>
                <a:close/>
                <a:moveTo>
                  <a:pt x="3055" y="1166"/>
                </a:moveTo>
                <a:lnTo>
                  <a:pt x="3120" y="1166"/>
                </a:lnTo>
                <a:lnTo>
                  <a:pt x="3120" y="1936"/>
                </a:lnTo>
                <a:lnTo>
                  <a:pt x="3055" y="1936"/>
                </a:lnTo>
                <a:lnTo>
                  <a:pt x="3055" y="1166"/>
                </a:lnTo>
                <a:close/>
                <a:moveTo>
                  <a:pt x="3337" y="1954"/>
                </a:moveTo>
                <a:lnTo>
                  <a:pt x="3321" y="1954"/>
                </a:lnTo>
                <a:lnTo>
                  <a:pt x="3305" y="1950"/>
                </a:lnTo>
                <a:lnTo>
                  <a:pt x="3291" y="1944"/>
                </a:lnTo>
                <a:lnTo>
                  <a:pt x="3284" y="1940"/>
                </a:lnTo>
                <a:lnTo>
                  <a:pt x="3278" y="1936"/>
                </a:lnTo>
                <a:lnTo>
                  <a:pt x="3266" y="1928"/>
                </a:lnTo>
                <a:lnTo>
                  <a:pt x="3260" y="1922"/>
                </a:lnTo>
                <a:lnTo>
                  <a:pt x="3255" y="1916"/>
                </a:lnTo>
                <a:lnTo>
                  <a:pt x="3245" y="1902"/>
                </a:lnTo>
                <a:lnTo>
                  <a:pt x="3241" y="1896"/>
                </a:lnTo>
                <a:lnTo>
                  <a:pt x="3236" y="1888"/>
                </a:lnTo>
                <a:lnTo>
                  <a:pt x="3232" y="1880"/>
                </a:lnTo>
                <a:lnTo>
                  <a:pt x="3229" y="1872"/>
                </a:lnTo>
                <a:lnTo>
                  <a:pt x="3225" y="1864"/>
                </a:lnTo>
                <a:lnTo>
                  <a:pt x="3222" y="1854"/>
                </a:lnTo>
                <a:lnTo>
                  <a:pt x="3216" y="1834"/>
                </a:lnTo>
                <a:lnTo>
                  <a:pt x="3211" y="1814"/>
                </a:lnTo>
                <a:lnTo>
                  <a:pt x="3210" y="1804"/>
                </a:lnTo>
                <a:lnTo>
                  <a:pt x="3208" y="1792"/>
                </a:lnTo>
                <a:lnTo>
                  <a:pt x="3205" y="1770"/>
                </a:lnTo>
                <a:lnTo>
                  <a:pt x="3203" y="1746"/>
                </a:lnTo>
                <a:lnTo>
                  <a:pt x="3203" y="1732"/>
                </a:lnTo>
                <a:lnTo>
                  <a:pt x="3203" y="1720"/>
                </a:lnTo>
                <a:lnTo>
                  <a:pt x="3265" y="1693"/>
                </a:lnTo>
                <a:lnTo>
                  <a:pt x="3266" y="1714"/>
                </a:lnTo>
                <a:lnTo>
                  <a:pt x="3267" y="1734"/>
                </a:lnTo>
                <a:lnTo>
                  <a:pt x="3269" y="1750"/>
                </a:lnTo>
                <a:lnTo>
                  <a:pt x="3271" y="1766"/>
                </a:lnTo>
                <a:lnTo>
                  <a:pt x="3273" y="1774"/>
                </a:lnTo>
                <a:lnTo>
                  <a:pt x="3274" y="1782"/>
                </a:lnTo>
                <a:lnTo>
                  <a:pt x="3278" y="1794"/>
                </a:lnTo>
                <a:lnTo>
                  <a:pt x="3282" y="1804"/>
                </a:lnTo>
                <a:lnTo>
                  <a:pt x="3286" y="1814"/>
                </a:lnTo>
                <a:lnTo>
                  <a:pt x="3291" y="1824"/>
                </a:lnTo>
                <a:lnTo>
                  <a:pt x="3297" y="1830"/>
                </a:lnTo>
                <a:lnTo>
                  <a:pt x="3303" y="1836"/>
                </a:lnTo>
                <a:lnTo>
                  <a:pt x="3310" y="1840"/>
                </a:lnTo>
                <a:lnTo>
                  <a:pt x="3317" y="1844"/>
                </a:lnTo>
                <a:lnTo>
                  <a:pt x="3324" y="1846"/>
                </a:lnTo>
                <a:lnTo>
                  <a:pt x="3332" y="1848"/>
                </a:lnTo>
                <a:lnTo>
                  <a:pt x="3341" y="1848"/>
                </a:lnTo>
                <a:lnTo>
                  <a:pt x="3348" y="1848"/>
                </a:lnTo>
                <a:lnTo>
                  <a:pt x="3355" y="1846"/>
                </a:lnTo>
                <a:lnTo>
                  <a:pt x="3362" y="1844"/>
                </a:lnTo>
                <a:lnTo>
                  <a:pt x="3368" y="1842"/>
                </a:lnTo>
                <a:lnTo>
                  <a:pt x="3374" y="1838"/>
                </a:lnTo>
                <a:lnTo>
                  <a:pt x="3380" y="1832"/>
                </a:lnTo>
                <a:lnTo>
                  <a:pt x="3385" y="1826"/>
                </a:lnTo>
                <a:lnTo>
                  <a:pt x="3390" y="1820"/>
                </a:lnTo>
                <a:lnTo>
                  <a:pt x="3394" y="1812"/>
                </a:lnTo>
                <a:lnTo>
                  <a:pt x="3398" y="1804"/>
                </a:lnTo>
                <a:lnTo>
                  <a:pt x="3401" y="1796"/>
                </a:lnTo>
                <a:lnTo>
                  <a:pt x="3404" y="1786"/>
                </a:lnTo>
                <a:lnTo>
                  <a:pt x="3406" y="1774"/>
                </a:lnTo>
                <a:lnTo>
                  <a:pt x="3407" y="1770"/>
                </a:lnTo>
                <a:lnTo>
                  <a:pt x="3408" y="1764"/>
                </a:lnTo>
                <a:lnTo>
                  <a:pt x="3409" y="1752"/>
                </a:lnTo>
                <a:lnTo>
                  <a:pt x="3409" y="1738"/>
                </a:lnTo>
                <a:lnTo>
                  <a:pt x="3409" y="1728"/>
                </a:lnTo>
                <a:lnTo>
                  <a:pt x="3408" y="1718"/>
                </a:lnTo>
                <a:lnTo>
                  <a:pt x="3407" y="1711"/>
                </a:lnTo>
                <a:lnTo>
                  <a:pt x="3406" y="1701"/>
                </a:lnTo>
                <a:lnTo>
                  <a:pt x="3404" y="1693"/>
                </a:lnTo>
                <a:lnTo>
                  <a:pt x="3402" y="1685"/>
                </a:lnTo>
                <a:lnTo>
                  <a:pt x="3400" y="1677"/>
                </a:lnTo>
                <a:lnTo>
                  <a:pt x="3396" y="1669"/>
                </a:lnTo>
                <a:lnTo>
                  <a:pt x="3389" y="1653"/>
                </a:lnTo>
                <a:lnTo>
                  <a:pt x="3385" y="1645"/>
                </a:lnTo>
                <a:lnTo>
                  <a:pt x="3380" y="1639"/>
                </a:lnTo>
                <a:lnTo>
                  <a:pt x="3369" y="1625"/>
                </a:lnTo>
                <a:lnTo>
                  <a:pt x="3356" y="1613"/>
                </a:lnTo>
                <a:lnTo>
                  <a:pt x="3292" y="1555"/>
                </a:lnTo>
                <a:lnTo>
                  <a:pt x="3282" y="1547"/>
                </a:lnTo>
                <a:lnTo>
                  <a:pt x="3273" y="1537"/>
                </a:lnTo>
                <a:lnTo>
                  <a:pt x="3257" y="1517"/>
                </a:lnTo>
                <a:lnTo>
                  <a:pt x="3243" y="1497"/>
                </a:lnTo>
                <a:lnTo>
                  <a:pt x="3237" y="1485"/>
                </a:lnTo>
                <a:lnTo>
                  <a:pt x="3232" y="1473"/>
                </a:lnTo>
                <a:lnTo>
                  <a:pt x="3227" y="1461"/>
                </a:lnTo>
                <a:lnTo>
                  <a:pt x="3223" y="1447"/>
                </a:lnTo>
                <a:lnTo>
                  <a:pt x="3220" y="1433"/>
                </a:lnTo>
                <a:lnTo>
                  <a:pt x="3217" y="1417"/>
                </a:lnTo>
                <a:lnTo>
                  <a:pt x="3215" y="1401"/>
                </a:lnTo>
                <a:lnTo>
                  <a:pt x="3214" y="1393"/>
                </a:lnTo>
                <a:lnTo>
                  <a:pt x="3213" y="1385"/>
                </a:lnTo>
                <a:lnTo>
                  <a:pt x="3212" y="1367"/>
                </a:lnTo>
                <a:lnTo>
                  <a:pt x="3212" y="1347"/>
                </a:lnTo>
                <a:lnTo>
                  <a:pt x="3212" y="1335"/>
                </a:lnTo>
                <a:lnTo>
                  <a:pt x="3213" y="1323"/>
                </a:lnTo>
                <a:lnTo>
                  <a:pt x="3214" y="1311"/>
                </a:lnTo>
                <a:lnTo>
                  <a:pt x="3215" y="1299"/>
                </a:lnTo>
                <a:lnTo>
                  <a:pt x="3216" y="1289"/>
                </a:lnTo>
                <a:lnTo>
                  <a:pt x="3218" y="1279"/>
                </a:lnTo>
                <a:lnTo>
                  <a:pt x="3222" y="1259"/>
                </a:lnTo>
                <a:lnTo>
                  <a:pt x="3225" y="1249"/>
                </a:lnTo>
                <a:lnTo>
                  <a:pt x="3228" y="1241"/>
                </a:lnTo>
                <a:lnTo>
                  <a:pt x="3234" y="1225"/>
                </a:lnTo>
                <a:lnTo>
                  <a:pt x="3241" y="1210"/>
                </a:lnTo>
                <a:lnTo>
                  <a:pt x="3245" y="1204"/>
                </a:lnTo>
                <a:lnTo>
                  <a:pt x="3250" y="1198"/>
                </a:lnTo>
                <a:lnTo>
                  <a:pt x="3259" y="1186"/>
                </a:lnTo>
                <a:lnTo>
                  <a:pt x="3269" y="1176"/>
                </a:lnTo>
                <a:lnTo>
                  <a:pt x="3279" y="1166"/>
                </a:lnTo>
                <a:lnTo>
                  <a:pt x="3290" y="1160"/>
                </a:lnTo>
                <a:lnTo>
                  <a:pt x="3302" y="1154"/>
                </a:lnTo>
                <a:lnTo>
                  <a:pt x="3314" y="1150"/>
                </a:lnTo>
                <a:lnTo>
                  <a:pt x="3327" y="1148"/>
                </a:lnTo>
                <a:lnTo>
                  <a:pt x="3340" y="1148"/>
                </a:lnTo>
                <a:lnTo>
                  <a:pt x="3355" y="1150"/>
                </a:lnTo>
                <a:lnTo>
                  <a:pt x="3370" y="1152"/>
                </a:lnTo>
                <a:lnTo>
                  <a:pt x="3383" y="1158"/>
                </a:lnTo>
                <a:lnTo>
                  <a:pt x="3389" y="1162"/>
                </a:lnTo>
                <a:lnTo>
                  <a:pt x="3395" y="1166"/>
                </a:lnTo>
                <a:lnTo>
                  <a:pt x="3407" y="1174"/>
                </a:lnTo>
                <a:lnTo>
                  <a:pt x="3417" y="1186"/>
                </a:lnTo>
                <a:lnTo>
                  <a:pt x="3426" y="1198"/>
                </a:lnTo>
                <a:lnTo>
                  <a:pt x="3434" y="1212"/>
                </a:lnTo>
                <a:lnTo>
                  <a:pt x="3438" y="1218"/>
                </a:lnTo>
                <a:lnTo>
                  <a:pt x="3441" y="1225"/>
                </a:lnTo>
                <a:lnTo>
                  <a:pt x="3444" y="1233"/>
                </a:lnTo>
                <a:lnTo>
                  <a:pt x="3447" y="1241"/>
                </a:lnTo>
                <a:lnTo>
                  <a:pt x="3452" y="1259"/>
                </a:lnTo>
                <a:lnTo>
                  <a:pt x="3457" y="1275"/>
                </a:lnTo>
                <a:lnTo>
                  <a:pt x="3460" y="1293"/>
                </a:lnTo>
                <a:lnTo>
                  <a:pt x="3462" y="1313"/>
                </a:lnTo>
                <a:lnTo>
                  <a:pt x="3464" y="1331"/>
                </a:lnTo>
                <a:lnTo>
                  <a:pt x="3464" y="1349"/>
                </a:lnTo>
                <a:lnTo>
                  <a:pt x="3402" y="1375"/>
                </a:lnTo>
                <a:lnTo>
                  <a:pt x="3402" y="1359"/>
                </a:lnTo>
                <a:lnTo>
                  <a:pt x="3400" y="1345"/>
                </a:lnTo>
                <a:lnTo>
                  <a:pt x="3399" y="1331"/>
                </a:lnTo>
                <a:lnTo>
                  <a:pt x="3397" y="1319"/>
                </a:lnTo>
                <a:lnTo>
                  <a:pt x="3394" y="1309"/>
                </a:lnTo>
                <a:lnTo>
                  <a:pt x="3391" y="1299"/>
                </a:lnTo>
                <a:lnTo>
                  <a:pt x="3388" y="1289"/>
                </a:lnTo>
                <a:lnTo>
                  <a:pt x="3384" y="1281"/>
                </a:lnTo>
                <a:lnTo>
                  <a:pt x="3380" y="1275"/>
                </a:lnTo>
                <a:lnTo>
                  <a:pt x="3375" y="1269"/>
                </a:lnTo>
                <a:lnTo>
                  <a:pt x="3370" y="1265"/>
                </a:lnTo>
                <a:lnTo>
                  <a:pt x="3364" y="1261"/>
                </a:lnTo>
                <a:lnTo>
                  <a:pt x="3358" y="1257"/>
                </a:lnTo>
                <a:lnTo>
                  <a:pt x="3352" y="1255"/>
                </a:lnTo>
                <a:lnTo>
                  <a:pt x="3345" y="1255"/>
                </a:lnTo>
                <a:lnTo>
                  <a:pt x="3337" y="1253"/>
                </a:lnTo>
                <a:lnTo>
                  <a:pt x="3325" y="1255"/>
                </a:lnTo>
                <a:lnTo>
                  <a:pt x="3313" y="1259"/>
                </a:lnTo>
                <a:lnTo>
                  <a:pt x="3308" y="1263"/>
                </a:lnTo>
                <a:lnTo>
                  <a:pt x="3303" y="1267"/>
                </a:lnTo>
                <a:lnTo>
                  <a:pt x="3298" y="1271"/>
                </a:lnTo>
                <a:lnTo>
                  <a:pt x="3294" y="1275"/>
                </a:lnTo>
                <a:lnTo>
                  <a:pt x="3290" y="1281"/>
                </a:lnTo>
                <a:lnTo>
                  <a:pt x="3287" y="1287"/>
                </a:lnTo>
                <a:lnTo>
                  <a:pt x="3284" y="1295"/>
                </a:lnTo>
                <a:lnTo>
                  <a:pt x="3281" y="1303"/>
                </a:lnTo>
                <a:lnTo>
                  <a:pt x="3279" y="1311"/>
                </a:lnTo>
                <a:lnTo>
                  <a:pt x="3278" y="1321"/>
                </a:lnTo>
                <a:lnTo>
                  <a:pt x="3277" y="1331"/>
                </a:lnTo>
                <a:lnTo>
                  <a:pt x="3276" y="1341"/>
                </a:lnTo>
                <a:lnTo>
                  <a:pt x="3277" y="1351"/>
                </a:lnTo>
                <a:lnTo>
                  <a:pt x="3277" y="1361"/>
                </a:lnTo>
                <a:lnTo>
                  <a:pt x="3278" y="1371"/>
                </a:lnTo>
                <a:lnTo>
                  <a:pt x="3279" y="1379"/>
                </a:lnTo>
                <a:lnTo>
                  <a:pt x="3281" y="1387"/>
                </a:lnTo>
                <a:lnTo>
                  <a:pt x="3283" y="1395"/>
                </a:lnTo>
                <a:lnTo>
                  <a:pt x="3286" y="1403"/>
                </a:lnTo>
                <a:lnTo>
                  <a:pt x="3288" y="1409"/>
                </a:lnTo>
                <a:lnTo>
                  <a:pt x="3292" y="1415"/>
                </a:lnTo>
                <a:lnTo>
                  <a:pt x="3295" y="1421"/>
                </a:lnTo>
                <a:lnTo>
                  <a:pt x="3304" y="1433"/>
                </a:lnTo>
                <a:lnTo>
                  <a:pt x="3314" y="1445"/>
                </a:lnTo>
                <a:lnTo>
                  <a:pt x="3326" y="1457"/>
                </a:lnTo>
                <a:lnTo>
                  <a:pt x="3388" y="1511"/>
                </a:lnTo>
                <a:lnTo>
                  <a:pt x="3398" y="1521"/>
                </a:lnTo>
                <a:lnTo>
                  <a:pt x="3408" y="1531"/>
                </a:lnTo>
                <a:lnTo>
                  <a:pt x="3418" y="1541"/>
                </a:lnTo>
                <a:lnTo>
                  <a:pt x="3426" y="1553"/>
                </a:lnTo>
                <a:lnTo>
                  <a:pt x="3434" y="1565"/>
                </a:lnTo>
                <a:lnTo>
                  <a:pt x="3441" y="1575"/>
                </a:lnTo>
                <a:lnTo>
                  <a:pt x="3447" y="1589"/>
                </a:lnTo>
                <a:lnTo>
                  <a:pt x="3453" y="1601"/>
                </a:lnTo>
                <a:lnTo>
                  <a:pt x="3458" y="1615"/>
                </a:lnTo>
                <a:lnTo>
                  <a:pt x="3462" y="1629"/>
                </a:lnTo>
                <a:lnTo>
                  <a:pt x="3466" y="1643"/>
                </a:lnTo>
                <a:lnTo>
                  <a:pt x="3469" y="1659"/>
                </a:lnTo>
                <a:lnTo>
                  <a:pt x="3471" y="1675"/>
                </a:lnTo>
                <a:lnTo>
                  <a:pt x="3472" y="1685"/>
                </a:lnTo>
                <a:lnTo>
                  <a:pt x="3472" y="1693"/>
                </a:lnTo>
                <a:lnTo>
                  <a:pt x="3473" y="1711"/>
                </a:lnTo>
                <a:lnTo>
                  <a:pt x="3474" y="1730"/>
                </a:lnTo>
                <a:lnTo>
                  <a:pt x="3473" y="1756"/>
                </a:lnTo>
                <a:lnTo>
                  <a:pt x="3471" y="1780"/>
                </a:lnTo>
                <a:lnTo>
                  <a:pt x="3470" y="1792"/>
                </a:lnTo>
                <a:lnTo>
                  <a:pt x="3468" y="1802"/>
                </a:lnTo>
                <a:lnTo>
                  <a:pt x="3466" y="1814"/>
                </a:lnTo>
                <a:lnTo>
                  <a:pt x="3464" y="1824"/>
                </a:lnTo>
                <a:lnTo>
                  <a:pt x="3461" y="1834"/>
                </a:lnTo>
                <a:lnTo>
                  <a:pt x="3459" y="1844"/>
                </a:lnTo>
                <a:lnTo>
                  <a:pt x="3452" y="1862"/>
                </a:lnTo>
                <a:lnTo>
                  <a:pt x="3449" y="1870"/>
                </a:lnTo>
                <a:lnTo>
                  <a:pt x="3445" y="1880"/>
                </a:lnTo>
                <a:lnTo>
                  <a:pt x="3437" y="1894"/>
                </a:lnTo>
                <a:lnTo>
                  <a:pt x="3432" y="1902"/>
                </a:lnTo>
                <a:lnTo>
                  <a:pt x="3427" y="1908"/>
                </a:lnTo>
                <a:lnTo>
                  <a:pt x="3422" y="1914"/>
                </a:lnTo>
                <a:lnTo>
                  <a:pt x="3417" y="1920"/>
                </a:lnTo>
                <a:lnTo>
                  <a:pt x="3406" y="1930"/>
                </a:lnTo>
                <a:lnTo>
                  <a:pt x="3394" y="1938"/>
                </a:lnTo>
                <a:lnTo>
                  <a:pt x="3381" y="1946"/>
                </a:lnTo>
                <a:lnTo>
                  <a:pt x="3367" y="1950"/>
                </a:lnTo>
                <a:lnTo>
                  <a:pt x="3360" y="1952"/>
                </a:lnTo>
                <a:lnTo>
                  <a:pt x="3353" y="1952"/>
                </a:lnTo>
                <a:lnTo>
                  <a:pt x="3337" y="1954"/>
                </a:lnTo>
                <a:close/>
                <a:moveTo>
                  <a:pt x="3582" y="1882"/>
                </a:moveTo>
                <a:lnTo>
                  <a:pt x="3574" y="1866"/>
                </a:lnTo>
                <a:lnTo>
                  <a:pt x="3567" y="1848"/>
                </a:lnTo>
                <a:lnTo>
                  <a:pt x="3562" y="1828"/>
                </a:lnTo>
                <a:lnTo>
                  <a:pt x="3559" y="1816"/>
                </a:lnTo>
                <a:lnTo>
                  <a:pt x="3557" y="1806"/>
                </a:lnTo>
                <a:lnTo>
                  <a:pt x="3554" y="1782"/>
                </a:lnTo>
                <a:lnTo>
                  <a:pt x="3551" y="1756"/>
                </a:lnTo>
                <a:lnTo>
                  <a:pt x="3550" y="1742"/>
                </a:lnTo>
                <a:lnTo>
                  <a:pt x="3550" y="1726"/>
                </a:lnTo>
                <a:lnTo>
                  <a:pt x="3549" y="1697"/>
                </a:lnTo>
                <a:lnTo>
                  <a:pt x="3549" y="1166"/>
                </a:lnTo>
                <a:lnTo>
                  <a:pt x="3615" y="1166"/>
                </a:lnTo>
                <a:lnTo>
                  <a:pt x="3615" y="1691"/>
                </a:lnTo>
                <a:lnTo>
                  <a:pt x="3615" y="1711"/>
                </a:lnTo>
                <a:lnTo>
                  <a:pt x="3616" y="1728"/>
                </a:lnTo>
                <a:lnTo>
                  <a:pt x="3617" y="1744"/>
                </a:lnTo>
                <a:lnTo>
                  <a:pt x="3618" y="1758"/>
                </a:lnTo>
                <a:lnTo>
                  <a:pt x="3620" y="1772"/>
                </a:lnTo>
                <a:lnTo>
                  <a:pt x="3623" y="1784"/>
                </a:lnTo>
                <a:lnTo>
                  <a:pt x="3625" y="1796"/>
                </a:lnTo>
                <a:lnTo>
                  <a:pt x="3629" y="1804"/>
                </a:lnTo>
                <a:lnTo>
                  <a:pt x="3633" y="1814"/>
                </a:lnTo>
                <a:lnTo>
                  <a:pt x="3637" y="1822"/>
                </a:lnTo>
                <a:lnTo>
                  <a:pt x="3643" y="1830"/>
                </a:lnTo>
                <a:lnTo>
                  <a:pt x="3649" y="1836"/>
                </a:lnTo>
                <a:lnTo>
                  <a:pt x="3652" y="1838"/>
                </a:lnTo>
                <a:lnTo>
                  <a:pt x="3655" y="1840"/>
                </a:lnTo>
                <a:lnTo>
                  <a:pt x="3662" y="1844"/>
                </a:lnTo>
                <a:lnTo>
                  <a:pt x="3670" y="1846"/>
                </a:lnTo>
                <a:lnTo>
                  <a:pt x="3678" y="1846"/>
                </a:lnTo>
                <a:lnTo>
                  <a:pt x="3686" y="1846"/>
                </a:lnTo>
                <a:lnTo>
                  <a:pt x="3694" y="1844"/>
                </a:lnTo>
                <a:lnTo>
                  <a:pt x="3701" y="1840"/>
                </a:lnTo>
                <a:lnTo>
                  <a:pt x="3708" y="1836"/>
                </a:lnTo>
                <a:lnTo>
                  <a:pt x="3713" y="1830"/>
                </a:lnTo>
                <a:lnTo>
                  <a:pt x="3719" y="1822"/>
                </a:lnTo>
                <a:lnTo>
                  <a:pt x="3723" y="1814"/>
                </a:lnTo>
                <a:lnTo>
                  <a:pt x="3728" y="1804"/>
                </a:lnTo>
                <a:lnTo>
                  <a:pt x="3731" y="1796"/>
                </a:lnTo>
                <a:lnTo>
                  <a:pt x="3734" y="1784"/>
                </a:lnTo>
                <a:lnTo>
                  <a:pt x="3736" y="1772"/>
                </a:lnTo>
                <a:lnTo>
                  <a:pt x="3738" y="1758"/>
                </a:lnTo>
                <a:lnTo>
                  <a:pt x="3740" y="1744"/>
                </a:lnTo>
                <a:lnTo>
                  <a:pt x="3741" y="1728"/>
                </a:lnTo>
                <a:lnTo>
                  <a:pt x="3741" y="1711"/>
                </a:lnTo>
                <a:lnTo>
                  <a:pt x="3741" y="1691"/>
                </a:lnTo>
                <a:lnTo>
                  <a:pt x="3741" y="1166"/>
                </a:lnTo>
                <a:lnTo>
                  <a:pt x="3807" y="1166"/>
                </a:lnTo>
                <a:lnTo>
                  <a:pt x="3807" y="1697"/>
                </a:lnTo>
                <a:lnTo>
                  <a:pt x="3806" y="1726"/>
                </a:lnTo>
                <a:lnTo>
                  <a:pt x="3805" y="1742"/>
                </a:lnTo>
                <a:lnTo>
                  <a:pt x="3805" y="1756"/>
                </a:lnTo>
                <a:lnTo>
                  <a:pt x="3802" y="1782"/>
                </a:lnTo>
                <a:lnTo>
                  <a:pt x="3798" y="1806"/>
                </a:lnTo>
                <a:lnTo>
                  <a:pt x="3796" y="1816"/>
                </a:lnTo>
                <a:lnTo>
                  <a:pt x="3794" y="1828"/>
                </a:lnTo>
                <a:lnTo>
                  <a:pt x="3788" y="1848"/>
                </a:lnTo>
                <a:lnTo>
                  <a:pt x="3785" y="1856"/>
                </a:lnTo>
                <a:lnTo>
                  <a:pt x="3782" y="1866"/>
                </a:lnTo>
                <a:lnTo>
                  <a:pt x="3779" y="1874"/>
                </a:lnTo>
                <a:lnTo>
                  <a:pt x="3775" y="1882"/>
                </a:lnTo>
                <a:lnTo>
                  <a:pt x="3771" y="1890"/>
                </a:lnTo>
                <a:lnTo>
                  <a:pt x="3766" y="1898"/>
                </a:lnTo>
                <a:lnTo>
                  <a:pt x="3756" y="1914"/>
                </a:lnTo>
                <a:lnTo>
                  <a:pt x="3745" y="1926"/>
                </a:lnTo>
                <a:lnTo>
                  <a:pt x="3739" y="1930"/>
                </a:lnTo>
                <a:lnTo>
                  <a:pt x="3733" y="1936"/>
                </a:lnTo>
                <a:lnTo>
                  <a:pt x="3720" y="1944"/>
                </a:lnTo>
                <a:lnTo>
                  <a:pt x="3714" y="1946"/>
                </a:lnTo>
                <a:lnTo>
                  <a:pt x="3707" y="1950"/>
                </a:lnTo>
                <a:lnTo>
                  <a:pt x="3693" y="1952"/>
                </a:lnTo>
                <a:lnTo>
                  <a:pt x="3685" y="1954"/>
                </a:lnTo>
                <a:lnTo>
                  <a:pt x="3678" y="1954"/>
                </a:lnTo>
                <a:lnTo>
                  <a:pt x="3663" y="1952"/>
                </a:lnTo>
                <a:lnTo>
                  <a:pt x="3649" y="1950"/>
                </a:lnTo>
                <a:lnTo>
                  <a:pt x="3643" y="1946"/>
                </a:lnTo>
                <a:lnTo>
                  <a:pt x="3636" y="1944"/>
                </a:lnTo>
                <a:lnTo>
                  <a:pt x="3624" y="1936"/>
                </a:lnTo>
                <a:lnTo>
                  <a:pt x="3612" y="1926"/>
                </a:lnTo>
                <a:lnTo>
                  <a:pt x="3601" y="1914"/>
                </a:lnTo>
                <a:lnTo>
                  <a:pt x="3591" y="1898"/>
                </a:lnTo>
                <a:lnTo>
                  <a:pt x="3586" y="1890"/>
                </a:lnTo>
                <a:lnTo>
                  <a:pt x="3582" y="1882"/>
                </a:lnTo>
                <a:close/>
                <a:moveTo>
                  <a:pt x="3934" y="1882"/>
                </a:moveTo>
                <a:lnTo>
                  <a:pt x="3927" y="1866"/>
                </a:lnTo>
                <a:lnTo>
                  <a:pt x="3920" y="1848"/>
                </a:lnTo>
                <a:lnTo>
                  <a:pt x="3915" y="1828"/>
                </a:lnTo>
                <a:lnTo>
                  <a:pt x="3912" y="1816"/>
                </a:lnTo>
                <a:lnTo>
                  <a:pt x="3910" y="1806"/>
                </a:lnTo>
                <a:lnTo>
                  <a:pt x="3907" y="1782"/>
                </a:lnTo>
                <a:lnTo>
                  <a:pt x="3904" y="1756"/>
                </a:lnTo>
                <a:lnTo>
                  <a:pt x="3903" y="1742"/>
                </a:lnTo>
                <a:lnTo>
                  <a:pt x="3903" y="1726"/>
                </a:lnTo>
                <a:lnTo>
                  <a:pt x="3902" y="1697"/>
                </a:lnTo>
                <a:lnTo>
                  <a:pt x="3902" y="1166"/>
                </a:lnTo>
                <a:lnTo>
                  <a:pt x="3968" y="1166"/>
                </a:lnTo>
                <a:lnTo>
                  <a:pt x="3968" y="1691"/>
                </a:lnTo>
                <a:lnTo>
                  <a:pt x="3968" y="1711"/>
                </a:lnTo>
                <a:lnTo>
                  <a:pt x="3969" y="1728"/>
                </a:lnTo>
                <a:lnTo>
                  <a:pt x="3970" y="1744"/>
                </a:lnTo>
                <a:lnTo>
                  <a:pt x="3972" y="1758"/>
                </a:lnTo>
                <a:lnTo>
                  <a:pt x="3973" y="1772"/>
                </a:lnTo>
                <a:lnTo>
                  <a:pt x="3976" y="1784"/>
                </a:lnTo>
                <a:lnTo>
                  <a:pt x="3979" y="1796"/>
                </a:lnTo>
                <a:lnTo>
                  <a:pt x="3982" y="1804"/>
                </a:lnTo>
                <a:lnTo>
                  <a:pt x="3986" y="1814"/>
                </a:lnTo>
                <a:lnTo>
                  <a:pt x="3991" y="1822"/>
                </a:lnTo>
                <a:lnTo>
                  <a:pt x="3996" y="1830"/>
                </a:lnTo>
                <a:lnTo>
                  <a:pt x="4002" y="1836"/>
                </a:lnTo>
                <a:lnTo>
                  <a:pt x="4005" y="1838"/>
                </a:lnTo>
                <a:lnTo>
                  <a:pt x="4008" y="1840"/>
                </a:lnTo>
                <a:lnTo>
                  <a:pt x="4015" y="1844"/>
                </a:lnTo>
                <a:lnTo>
                  <a:pt x="4023" y="1846"/>
                </a:lnTo>
                <a:lnTo>
                  <a:pt x="4031" y="1846"/>
                </a:lnTo>
                <a:lnTo>
                  <a:pt x="4040" y="1846"/>
                </a:lnTo>
                <a:lnTo>
                  <a:pt x="4047" y="1844"/>
                </a:lnTo>
                <a:lnTo>
                  <a:pt x="4054" y="1840"/>
                </a:lnTo>
                <a:lnTo>
                  <a:pt x="4061" y="1836"/>
                </a:lnTo>
                <a:lnTo>
                  <a:pt x="4067" y="1830"/>
                </a:lnTo>
                <a:lnTo>
                  <a:pt x="4072" y="1822"/>
                </a:lnTo>
                <a:lnTo>
                  <a:pt x="4077" y="1814"/>
                </a:lnTo>
                <a:lnTo>
                  <a:pt x="4081" y="1804"/>
                </a:lnTo>
                <a:lnTo>
                  <a:pt x="4084" y="1796"/>
                </a:lnTo>
                <a:lnTo>
                  <a:pt x="4087" y="1784"/>
                </a:lnTo>
                <a:lnTo>
                  <a:pt x="4090" y="1772"/>
                </a:lnTo>
                <a:lnTo>
                  <a:pt x="4091" y="1758"/>
                </a:lnTo>
                <a:lnTo>
                  <a:pt x="4093" y="1744"/>
                </a:lnTo>
                <a:lnTo>
                  <a:pt x="4094" y="1728"/>
                </a:lnTo>
                <a:lnTo>
                  <a:pt x="4094" y="1711"/>
                </a:lnTo>
                <a:lnTo>
                  <a:pt x="4094" y="1691"/>
                </a:lnTo>
                <a:lnTo>
                  <a:pt x="4094" y="1166"/>
                </a:lnTo>
                <a:lnTo>
                  <a:pt x="4160" y="1166"/>
                </a:lnTo>
                <a:lnTo>
                  <a:pt x="4160" y="1697"/>
                </a:lnTo>
                <a:lnTo>
                  <a:pt x="4159" y="1726"/>
                </a:lnTo>
                <a:lnTo>
                  <a:pt x="4159" y="1742"/>
                </a:lnTo>
                <a:lnTo>
                  <a:pt x="4158" y="1756"/>
                </a:lnTo>
                <a:lnTo>
                  <a:pt x="4155" y="1782"/>
                </a:lnTo>
                <a:lnTo>
                  <a:pt x="4152" y="1806"/>
                </a:lnTo>
                <a:lnTo>
                  <a:pt x="4149" y="1816"/>
                </a:lnTo>
                <a:lnTo>
                  <a:pt x="4147" y="1828"/>
                </a:lnTo>
                <a:lnTo>
                  <a:pt x="4142" y="1848"/>
                </a:lnTo>
                <a:lnTo>
                  <a:pt x="4139" y="1856"/>
                </a:lnTo>
                <a:lnTo>
                  <a:pt x="4135" y="1866"/>
                </a:lnTo>
                <a:lnTo>
                  <a:pt x="4132" y="1874"/>
                </a:lnTo>
                <a:lnTo>
                  <a:pt x="4128" y="1882"/>
                </a:lnTo>
                <a:lnTo>
                  <a:pt x="4124" y="1890"/>
                </a:lnTo>
                <a:lnTo>
                  <a:pt x="4119" y="1898"/>
                </a:lnTo>
                <a:lnTo>
                  <a:pt x="4109" y="1914"/>
                </a:lnTo>
                <a:lnTo>
                  <a:pt x="4098" y="1926"/>
                </a:lnTo>
                <a:lnTo>
                  <a:pt x="4092" y="1930"/>
                </a:lnTo>
                <a:lnTo>
                  <a:pt x="4086" y="1936"/>
                </a:lnTo>
                <a:lnTo>
                  <a:pt x="4073" y="1944"/>
                </a:lnTo>
                <a:lnTo>
                  <a:pt x="4067" y="1946"/>
                </a:lnTo>
                <a:lnTo>
                  <a:pt x="4060" y="1950"/>
                </a:lnTo>
                <a:lnTo>
                  <a:pt x="4046" y="1952"/>
                </a:lnTo>
                <a:lnTo>
                  <a:pt x="4039" y="1954"/>
                </a:lnTo>
                <a:lnTo>
                  <a:pt x="4031" y="1954"/>
                </a:lnTo>
                <a:lnTo>
                  <a:pt x="4017" y="1952"/>
                </a:lnTo>
                <a:lnTo>
                  <a:pt x="4003" y="1950"/>
                </a:lnTo>
                <a:lnTo>
                  <a:pt x="3996" y="1946"/>
                </a:lnTo>
                <a:lnTo>
                  <a:pt x="3989" y="1944"/>
                </a:lnTo>
                <a:lnTo>
                  <a:pt x="3977" y="1936"/>
                </a:lnTo>
                <a:lnTo>
                  <a:pt x="3965" y="1926"/>
                </a:lnTo>
                <a:lnTo>
                  <a:pt x="3954" y="1914"/>
                </a:lnTo>
                <a:lnTo>
                  <a:pt x="3943" y="1898"/>
                </a:lnTo>
                <a:lnTo>
                  <a:pt x="3938" y="1890"/>
                </a:lnTo>
                <a:lnTo>
                  <a:pt x="3934" y="1882"/>
                </a:lnTo>
                <a:close/>
                <a:moveTo>
                  <a:pt x="4370" y="1954"/>
                </a:moveTo>
                <a:lnTo>
                  <a:pt x="4354" y="1954"/>
                </a:lnTo>
                <a:lnTo>
                  <a:pt x="4339" y="1950"/>
                </a:lnTo>
                <a:lnTo>
                  <a:pt x="4324" y="1944"/>
                </a:lnTo>
                <a:lnTo>
                  <a:pt x="4317" y="1940"/>
                </a:lnTo>
                <a:lnTo>
                  <a:pt x="4310" y="1936"/>
                </a:lnTo>
                <a:lnTo>
                  <a:pt x="4298" y="1928"/>
                </a:lnTo>
                <a:lnTo>
                  <a:pt x="4292" y="1922"/>
                </a:lnTo>
                <a:lnTo>
                  <a:pt x="4287" y="1916"/>
                </a:lnTo>
                <a:lnTo>
                  <a:pt x="4277" y="1902"/>
                </a:lnTo>
                <a:lnTo>
                  <a:pt x="4273" y="1896"/>
                </a:lnTo>
                <a:lnTo>
                  <a:pt x="4268" y="1888"/>
                </a:lnTo>
                <a:lnTo>
                  <a:pt x="4264" y="1880"/>
                </a:lnTo>
                <a:lnTo>
                  <a:pt x="4261" y="1872"/>
                </a:lnTo>
                <a:lnTo>
                  <a:pt x="4257" y="1864"/>
                </a:lnTo>
                <a:lnTo>
                  <a:pt x="4254" y="1854"/>
                </a:lnTo>
                <a:lnTo>
                  <a:pt x="4248" y="1834"/>
                </a:lnTo>
                <a:lnTo>
                  <a:pt x="4244" y="1814"/>
                </a:lnTo>
                <a:lnTo>
                  <a:pt x="4242" y="1804"/>
                </a:lnTo>
                <a:lnTo>
                  <a:pt x="4240" y="1792"/>
                </a:lnTo>
                <a:lnTo>
                  <a:pt x="4237" y="1770"/>
                </a:lnTo>
                <a:lnTo>
                  <a:pt x="4236" y="1746"/>
                </a:lnTo>
                <a:lnTo>
                  <a:pt x="4235" y="1732"/>
                </a:lnTo>
                <a:lnTo>
                  <a:pt x="4235" y="1720"/>
                </a:lnTo>
                <a:lnTo>
                  <a:pt x="4298" y="1693"/>
                </a:lnTo>
                <a:lnTo>
                  <a:pt x="4298" y="1714"/>
                </a:lnTo>
                <a:lnTo>
                  <a:pt x="4299" y="1734"/>
                </a:lnTo>
                <a:lnTo>
                  <a:pt x="4301" y="1750"/>
                </a:lnTo>
                <a:lnTo>
                  <a:pt x="4303" y="1766"/>
                </a:lnTo>
                <a:lnTo>
                  <a:pt x="4305" y="1774"/>
                </a:lnTo>
                <a:lnTo>
                  <a:pt x="4306" y="1782"/>
                </a:lnTo>
                <a:lnTo>
                  <a:pt x="4310" y="1794"/>
                </a:lnTo>
                <a:lnTo>
                  <a:pt x="4314" y="1804"/>
                </a:lnTo>
                <a:lnTo>
                  <a:pt x="4318" y="1814"/>
                </a:lnTo>
                <a:lnTo>
                  <a:pt x="4324" y="1824"/>
                </a:lnTo>
                <a:lnTo>
                  <a:pt x="4330" y="1830"/>
                </a:lnTo>
                <a:lnTo>
                  <a:pt x="4336" y="1836"/>
                </a:lnTo>
                <a:lnTo>
                  <a:pt x="4343" y="1840"/>
                </a:lnTo>
                <a:lnTo>
                  <a:pt x="4350" y="1844"/>
                </a:lnTo>
                <a:lnTo>
                  <a:pt x="4357" y="1846"/>
                </a:lnTo>
                <a:lnTo>
                  <a:pt x="4365" y="1848"/>
                </a:lnTo>
                <a:lnTo>
                  <a:pt x="4374" y="1848"/>
                </a:lnTo>
                <a:lnTo>
                  <a:pt x="4381" y="1848"/>
                </a:lnTo>
                <a:lnTo>
                  <a:pt x="4388" y="1846"/>
                </a:lnTo>
                <a:lnTo>
                  <a:pt x="4395" y="1844"/>
                </a:lnTo>
                <a:lnTo>
                  <a:pt x="4401" y="1842"/>
                </a:lnTo>
                <a:lnTo>
                  <a:pt x="4407" y="1838"/>
                </a:lnTo>
                <a:lnTo>
                  <a:pt x="4413" y="1832"/>
                </a:lnTo>
                <a:lnTo>
                  <a:pt x="4418" y="1826"/>
                </a:lnTo>
                <a:lnTo>
                  <a:pt x="4423" y="1820"/>
                </a:lnTo>
                <a:lnTo>
                  <a:pt x="4427" y="1812"/>
                </a:lnTo>
                <a:lnTo>
                  <a:pt x="4431" y="1804"/>
                </a:lnTo>
                <a:lnTo>
                  <a:pt x="4434" y="1796"/>
                </a:lnTo>
                <a:lnTo>
                  <a:pt x="4437" y="1786"/>
                </a:lnTo>
                <a:lnTo>
                  <a:pt x="4439" y="1774"/>
                </a:lnTo>
                <a:lnTo>
                  <a:pt x="4440" y="1770"/>
                </a:lnTo>
                <a:lnTo>
                  <a:pt x="4441" y="1764"/>
                </a:lnTo>
                <a:lnTo>
                  <a:pt x="4442" y="1752"/>
                </a:lnTo>
                <a:lnTo>
                  <a:pt x="4442" y="1738"/>
                </a:lnTo>
                <a:lnTo>
                  <a:pt x="4442" y="1728"/>
                </a:lnTo>
                <a:lnTo>
                  <a:pt x="4442" y="1718"/>
                </a:lnTo>
                <a:lnTo>
                  <a:pt x="4441" y="1711"/>
                </a:lnTo>
                <a:lnTo>
                  <a:pt x="4439" y="1701"/>
                </a:lnTo>
                <a:lnTo>
                  <a:pt x="4437" y="1693"/>
                </a:lnTo>
                <a:lnTo>
                  <a:pt x="4435" y="1685"/>
                </a:lnTo>
                <a:lnTo>
                  <a:pt x="4433" y="1677"/>
                </a:lnTo>
                <a:lnTo>
                  <a:pt x="4430" y="1669"/>
                </a:lnTo>
                <a:lnTo>
                  <a:pt x="4422" y="1653"/>
                </a:lnTo>
                <a:lnTo>
                  <a:pt x="4418" y="1645"/>
                </a:lnTo>
                <a:lnTo>
                  <a:pt x="4413" y="1639"/>
                </a:lnTo>
                <a:lnTo>
                  <a:pt x="4402" y="1625"/>
                </a:lnTo>
                <a:lnTo>
                  <a:pt x="4389" y="1613"/>
                </a:lnTo>
                <a:lnTo>
                  <a:pt x="4325" y="1555"/>
                </a:lnTo>
                <a:lnTo>
                  <a:pt x="4315" y="1547"/>
                </a:lnTo>
                <a:lnTo>
                  <a:pt x="4305" y="1537"/>
                </a:lnTo>
                <a:lnTo>
                  <a:pt x="4289" y="1517"/>
                </a:lnTo>
                <a:lnTo>
                  <a:pt x="4275" y="1497"/>
                </a:lnTo>
                <a:lnTo>
                  <a:pt x="4270" y="1485"/>
                </a:lnTo>
                <a:lnTo>
                  <a:pt x="4264" y="1473"/>
                </a:lnTo>
                <a:lnTo>
                  <a:pt x="4260" y="1461"/>
                </a:lnTo>
                <a:lnTo>
                  <a:pt x="4255" y="1447"/>
                </a:lnTo>
                <a:lnTo>
                  <a:pt x="4252" y="1433"/>
                </a:lnTo>
                <a:lnTo>
                  <a:pt x="4249" y="1417"/>
                </a:lnTo>
                <a:lnTo>
                  <a:pt x="4247" y="1401"/>
                </a:lnTo>
                <a:lnTo>
                  <a:pt x="4246" y="1393"/>
                </a:lnTo>
                <a:lnTo>
                  <a:pt x="4245" y="1385"/>
                </a:lnTo>
                <a:lnTo>
                  <a:pt x="4244" y="1367"/>
                </a:lnTo>
                <a:lnTo>
                  <a:pt x="4244" y="1347"/>
                </a:lnTo>
                <a:lnTo>
                  <a:pt x="4244" y="1335"/>
                </a:lnTo>
                <a:lnTo>
                  <a:pt x="4245" y="1323"/>
                </a:lnTo>
                <a:lnTo>
                  <a:pt x="4246" y="1311"/>
                </a:lnTo>
                <a:lnTo>
                  <a:pt x="4247" y="1299"/>
                </a:lnTo>
                <a:lnTo>
                  <a:pt x="4248" y="1289"/>
                </a:lnTo>
                <a:lnTo>
                  <a:pt x="4250" y="1279"/>
                </a:lnTo>
                <a:lnTo>
                  <a:pt x="4254" y="1259"/>
                </a:lnTo>
                <a:lnTo>
                  <a:pt x="4257" y="1249"/>
                </a:lnTo>
                <a:lnTo>
                  <a:pt x="4260" y="1241"/>
                </a:lnTo>
                <a:lnTo>
                  <a:pt x="4266" y="1225"/>
                </a:lnTo>
                <a:lnTo>
                  <a:pt x="4273" y="1210"/>
                </a:lnTo>
                <a:lnTo>
                  <a:pt x="4277" y="1204"/>
                </a:lnTo>
                <a:lnTo>
                  <a:pt x="4282" y="1198"/>
                </a:lnTo>
                <a:lnTo>
                  <a:pt x="4291" y="1186"/>
                </a:lnTo>
                <a:lnTo>
                  <a:pt x="4301" y="1176"/>
                </a:lnTo>
                <a:lnTo>
                  <a:pt x="4311" y="1166"/>
                </a:lnTo>
                <a:lnTo>
                  <a:pt x="4323" y="1160"/>
                </a:lnTo>
                <a:lnTo>
                  <a:pt x="4335" y="1154"/>
                </a:lnTo>
                <a:lnTo>
                  <a:pt x="4347" y="1150"/>
                </a:lnTo>
                <a:lnTo>
                  <a:pt x="4360" y="1148"/>
                </a:lnTo>
                <a:lnTo>
                  <a:pt x="4373" y="1148"/>
                </a:lnTo>
                <a:lnTo>
                  <a:pt x="4388" y="1150"/>
                </a:lnTo>
                <a:lnTo>
                  <a:pt x="4403" y="1152"/>
                </a:lnTo>
                <a:lnTo>
                  <a:pt x="4416" y="1158"/>
                </a:lnTo>
                <a:lnTo>
                  <a:pt x="4422" y="1162"/>
                </a:lnTo>
                <a:lnTo>
                  <a:pt x="4428" y="1166"/>
                </a:lnTo>
                <a:lnTo>
                  <a:pt x="4440" y="1174"/>
                </a:lnTo>
                <a:lnTo>
                  <a:pt x="4450" y="1186"/>
                </a:lnTo>
                <a:lnTo>
                  <a:pt x="4459" y="1198"/>
                </a:lnTo>
                <a:lnTo>
                  <a:pt x="4467" y="1212"/>
                </a:lnTo>
                <a:lnTo>
                  <a:pt x="4471" y="1218"/>
                </a:lnTo>
                <a:lnTo>
                  <a:pt x="4474" y="1225"/>
                </a:lnTo>
                <a:lnTo>
                  <a:pt x="4477" y="1233"/>
                </a:lnTo>
                <a:lnTo>
                  <a:pt x="4480" y="1241"/>
                </a:lnTo>
                <a:lnTo>
                  <a:pt x="4485" y="1259"/>
                </a:lnTo>
                <a:lnTo>
                  <a:pt x="4490" y="1275"/>
                </a:lnTo>
                <a:lnTo>
                  <a:pt x="4493" y="1293"/>
                </a:lnTo>
                <a:lnTo>
                  <a:pt x="4495" y="1313"/>
                </a:lnTo>
                <a:lnTo>
                  <a:pt x="4497" y="1331"/>
                </a:lnTo>
                <a:lnTo>
                  <a:pt x="4497" y="1349"/>
                </a:lnTo>
                <a:lnTo>
                  <a:pt x="4435" y="1375"/>
                </a:lnTo>
                <a:lnTo>
                  <a:pt x="4435" y="1359"/>
                </a:lnTo>
                <a:lnTo>
                  <a:pt x="4433" y="1345"/>
                </a:lnTo>
                <a:lnTo>
                  <a:pt x="4432" y="1331"/>
                </a:lnTo>
                <a:lnTo>
                  <a:pt x="4430" y="1319"/>
                </a:lnTo>
                <a:lnTo>
                  <a:pt x="4427" y="1309"/>
                </a:lnTo>
                <a:lnTo>
                  <a:pt x="4426" y="1303"/>
                </a:lnTo>
                <a:lnTo>
                  <a:pt x="4424" y="1299"/>
                </a:lnTo>
                <a:lnTo>
                  <a:pt x="4421" y="1289"/>
                </a:lnTo>
                <a:lnTo>
                  <a:pt x="4417" y="1281"/>
                </a:lnTo>
                <a:lnTo>
                  <a:pt x="4413" y="1275"/>
                </a:lnTo>
                <a:lnTo>
                  <a:pt x="4408" y="1269"/>
                </a:lnTo>
                <a:lnTo>
                  <a:pt x="4403" y="1265"/>
                </a:lnTo>
                <a:lnTo>
                  <a:pt x="4397" y="1261"/>
                </a:lnTo>
                <a:lnTo>
                  <a:pt x="4391" y="1257"/>
                </a:lnTo>
                <a:lnTo>
                  <a:pt x="4385" y="1255"/>
                </a:lnTo>
                <a:lnTo>
                  <a:pt x="4378" y="1255"/>
                </a:lnTo>
                <a:lnTo>
                  <a:pt x="4370" y="1253"/>
                </a:lnTo>
                <a:lnTo>
                  <a:pt x="4358" y="1255"/>
                </a:lnTo>
                <a:lnTo>
                  <a:pt x="4346" y="1259"/>
                </a:lnTo>
                <a:lnTo>
                  <a:pt x="4341" y="1263"/>
                </a:lnTo>
                <a:lnTo>
                  <a:pt x="4336" y="1267"/>
                </a:lnTo>
                <a:lnTo>
                  <a:pt x="4331" y="1271"/>
                </a:lnTo>
                <a:lnTo>
                  <a:pt x="4327" y="1275"/>
                </a:lnTo>
                <a:lnTo>
                  <a:pt x="4323" y="1281"/>
                </a:lnTo>
                <a:lnTo>
                  <a:pt x="4319" y="1287"/>
                </a:lnTo>
                <a:lnTo>
                  <a:pt x="4316" y="1295"/>
                </a:lnTo>
                <a:lnTo>
                  <a:pt x="4313" y="1303"/>
                </a:lnTo>
                <a:lnTo>
                  <a:pt x="4311" y="1311"/>
                </a:lnTo>
                <a:lnTo>
                  <a:pt x="4310" y="1321"/>
                </a:lnTo>
                <a:lnTo>
                  <a:pt x="4309" y="1331"/>
                </a:lnTo>
                <a:lnTo>
                  <a:pt x="4308" y="1341"/>
                </a:lnTo>
                <a:lnTo>
                  <a:pt x="4309" y="1351"/>
                </a:lnTo>
                <a:lnTo>
                  <a:pt x="4309" y="1361"/>
                </a:lnTo>
                <a:lnTo>
                  <a:pt x="4310" y="1371"/>
                </a:lnTo>
                <a:lnTo>
                  <a:pt x="4311" y="1379"/>
                </a:lnTo>
                <a:lnTo>
                  <a:pt x="4313" y="1387"/>
                </a:lnTo>
                <a:lnTo>
                  <a:pt x="4315" y="1395"/>
                </a:lnTo>
                <a:lnTo>
                  <a:pt x="4318" y="1403"/>
                </a:lnTo>
                <a:lnTo>
                  <a:pt x="4321" y="1409"/>
                </a:lnTo>
                <a:lnTo>
                  <a:pt x="4325" y="1415"/>
                </a:lnTo>
                <a:lnTo>
                  <a:pt x="4328" y="1421"/>
                </a:lnTo>
                <a:lnTo>
                  <a:pt x="4337" y="1433"/>
                </a:lnTo>
                <a:lnTo>
                  <a:pt x="4347" y="1445"/>
                </a:lnTo>
                <a:lnTo>
                  <a:pt x="4359" y="1457"/>
                </a:lnTo>
                <a:lnTo>
                  <a:pt x="4421" y="1511"/>
                </a:lnTo>
                <a:lnTo>
                  <a:pt x="4431" y="1521"/>
                </a:lnTo>
                <a:lnTo>
                  <a:pt x="4442" y="1531"/>
                </a:lnTo>
                <a:lnTo>
                  <a:pt x="4451" y="1541"/>
                </a:lnTo>
                <a:lnTo>
                  <a:pt x="4459" y="1553"/>
                </a:lnTo>
                <a:lnTo>
                  <a:pt x="4467" y="1565"/>
                </a:lnTo>
                <a:lnTo>
                  <a:pt x="4474" y="1575"/>
                </a:lnTo>
                <a:lnTo>
                  <a:pt x="4480" y="1589"/>
                </a:lnTo>
                <a:lnTo>
                  <a:pt x="4486" y="1601"/>
                </a:lnTo>
                <a:lnTo>
                  <a:pt x="4491" y="1615"/>
                </a:lnTo>
                <a:lnTo>
                  <a:pt x="4495" y="1629"/>
                </a:lnTo>
                <a:lnTo>
                  <a:pt x="4499" y="1643"/>
                </a:lnTo>
                <a:lnTo>
                  <a:pt x="4502" y="1659"/>
                </a:lnTo>
                <a:lnTo>
                  <a:pt x="4504" y="1675"/>
                </a:lnTo>
                <a:lnTo>
                  <a:pt x="4505" y="1685"/>
                </a:lnTo>
                <a:lnTo>
                  <a:pt x="4505" y="1693"/>
                </a:lnTo>
                <a:lnTo>
                  <a:pt x="4506" y="1711"/>
                </a:lnTo>
                <a:lnTo>
                  <a:pt x="4507" y="1730"/>
                </a:lnTo>
                <a:lnTo>
                  <a:pt x="4506" y="1756"/>
                </a:lnTo>
                <a:lnTo>
                  <a:pt x="4504" y="1780"/>
                </a:lnTo>
                <a:lnTo>
                  <a:pt x="4503" y="1792"/>
                </a:lnTo>
                <a:lnTo>
                  <a:pt x="4501" y="1802"/>
                </a:lnTo>
                <a:lnTo>
                  <a:pt x="4499" y="1814"/>
                </a:lnTo>
                <a:lnTo>
                  <a:pt x="4497" y="1824"/>
                </a:lnTo>
                <a:lnTo>
                  <a:pt x="4494" y="1834"/>
                </a:lnTo>
                <a:lnTo>
                  <a:pt x="4492" y="1844"/>
                </a:lnTo>
                <a:lnTo>
                  <a:pt x="4485" y="1862"/>
                </a:lnTo>
                <a:lnTo>
                  <a:pt x="4482" y="1870"/>
                </a:lnTo>
                <a:lnTo>
                  <a:pt x="4478" y="1880"/>
                </a:lnTo>
                <a:lnTo>
                  <a:pt x="4470" y="1894"/>
                </a:lnTo>
                <a:lnTo>
                  <a:pt x="4465" y="1902"/>
                </a:lnTo>
                <a:lnTo>
                  <a:pt x="4460" y="1908"/>
                </a:lnTo>
                <a:lnTo>
                  <a:pt x="4455" y="1914"/>
                </a:lnTo>
                <a:lnTo>
                  <a:pt x="4450" y="1920"/>
                </a:lnTo>
                <a:lnTo>
                  <a:pt x="4439" y="1930"/>
                </a:lnTo>
                <a:lnTo>
                  <a:pt x="4427" y="1938"/>
                </a:lnTo>
                <a:lnTo>
                  <a:pt x="4414" y="1946"/>
                </a:lnTo>
                <a:lnTo>
                  <a:pt x="4400" y="1950"/>
                </a:lnTo>
                <a:lnTo>
                  <a:pt x="4393" y="1952"/>
                </a:lnTo>
                <a:lnTo>
                  <a:pt x="4386" y="1952"/>
                </a:lnTo>
                <a:lnTo>
                  <a:pt x="4370" y="19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12875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6924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3B40E70-4C86-41E3-A684-DEE2CE2814F8}" type="datetime1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27.10.2023</a:t>
            </a:fld>
            <a:endParaRPr kumimoji="0" lang="fi-FI" sz="900" b="0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© Rakennusteollisuus R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81002B-9E36-49F2-803E-4F1D6FC85B63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fi-FI" sz="900" b="0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23888" y="404815"/>
            <a:ext cx="9001126" cy="215901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200" b="0" cap="all" spc="100" baseline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0" indent="0">
              <a:lnSpc>
                <a:spcPct val="100000"/>
              </a:lnSpc>
              <a:spcBef>
                <a:spcPts val="200"/>
              </a:spcBef>
              <a:buFontTx/>
              <a:buNone/>
              <a:defRPr sz="1100"/>
            </a:lvl2pPr>
            <a:lvl3pPr marL="0" indent="0">
              <a:lnSpc>
                <a:spcPct val="100000"/>
              </a:lnSpc>
              <a:spcBef>
                <a:spcPts val="200"/>
              </a:spcBef>
              <a:buFontTx/>
              <a:buNone/>
              <a:defRPr sz="1100"/>
            </a:lvl3pPr>
            <a:lvl4pPr marL="0" indent="0">
              <a:lnSpc>
                <a:spcPct val="100000"/>
              </a:lnSpc>
              <a:spcBef>
                <a:spcPts val="200"/>
              </a:spcBef>
              <a:buFontTx/>
              <a:buNone/>
              <a:defRPr sz="1100"/>
            </a:lvl4pPr>
            <a:lvl5pPr marL="0" indent="0">
              <a:lnSpc>
                <a:spcPct val="100000"/>
              </a:lnSpc>
              <a:spcBef>
                <a:spcPts val="200"/>
              </a:spcBef>
              <a:buFontTx/>
              <a:buNone/>
              <a:defRPr sz="1100"/>
            </a:lvl5pPr>
          </a:lstStyle>
          <a:p>
            <a:pPr lvl="0"/>
            <a:r>
              <a:rPr lang="en-US" dirty="0"/>
              <a:t>Theme heading</a:t>
            </a:r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23890" y="6093296"/>
            <a:ext cx="10944224" cy="288032"/>
          </a:xfrm>
        </p:spPr>
        <p:txBody>
          <a:bodyPr wrap="square" anchor="t" anchorCtr="0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buFontTx/>
              <a:buNone/>
              <a:defRPr sz="800" baseline="0">
                <a:solidFill>
                  <a:srgbClr val="404040"/>
                </a:solidFill>
              </a:defRPr>
            </a:lvl1pPr>
            <a:lvl2pPr>
              <a:spcBef>
                <a:spcPts val="200"/>
              </a:spcBef>
              <a:defRPr sz="1000"/>
            </a:lvl2pPr>
            <a:lvl3pPr>
              <a:spcBef>
                <a:spcPts val="200"/>
              </a:spcBef>
              <a:defRPr sz="1000"/>
            </a:lvl3pPr>
            <a:lvl4pPr>
              <a:spcBef>
                <a:spcPts val="200"/>
              </a:spcBef>
              <a:defRPr sz="1050"/>
            </a:lvl4pPr>
            <a:lvl5pPr>
              <a:spcBef>
                <a:spcPts val="200"/>
              </a:spcBef>
              <a:defRPr sz="1000"/>
            </a:lvl5pPr>
          </a:lstStyle>
          <a:p>
            <a:pPr lvl="0"/>
            <a:r>
              <a:rPr lang="en-US" dirty="0"/>
              <a:t>Add source or additional info</a:t>
            </a:r>
          </a:p>
        </p:txBody>
      </p:sp>
    </p:spTree>
    <p:extLst>
      <p:ext uri="{BB962C8B-B14F-4D97-AF65-F5344CB8AC3E}">
        <p14:creationId xmlns:p14="http://schemas.microsoft.com/office/powerpoint/2010/main" val="506455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3755CC-1185-51FC-E3B8-4147606A50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5"/>
            <a:ext cx="10008494" cy="1008063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E6B893-6B04-6927-CE94-9A66F78D61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28775"/>
            <a:ext cx="10008493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D925BA-5B20-3CBA-B94B-28B753A84A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F8F910-B81E-4EAD-8484-EA7B327BB329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7193C2-3638-0637-9E42-4D47B9D9F3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FAE3C4-91D4-D1BC-C03D-1496593FA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26019464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ja kuvio 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3755CC-1185-51FC-E3B8-4147606A50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5"/>
            <a:ext cx="10008494" cy="1008063"/>
          </a:xfrm>
        </p:spPr>
        <p:txBody>
          <a:bodyPr/>
          <a:lstStyle/>
          <a:p>
            <a:r>
              <a:rPr lang="fi-FI" noProof="0"/>
              <a:t>Muokkaa ots. perustyyl. napsautt.</a:t>
            </a:r>
            <a:endParaRPr lang="fi-FI" noProof="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E6B893-6B04-6927-CE94-9A66F78D61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28775"/>
            <a:ext cx="4823917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  <a:endParaRPr lang="fi-FI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D925BA-5B20-3CBA-B94B-28B753A84A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8222AB-A402-48BC-AFFC-43E1738DEAF3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7193C2-3638-0637-9E42-4D47B9D9F3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FAE3C4-91D4-D1BC-C03D-1496593FA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6ED8460-F9B2-1E6C-652D-AA997ED935B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591944" y="1625600"/>
            <a:ext cx="4824536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37013575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ja kuvio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3755CC-1185-51FC-E3B8-4147606A50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5"/>
            <a:ext cx="10008494" cy="1008063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D925BA-5B20-3CBA-B94B-28B753A84A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9628CE-8243-4DDE-9508-513E17D53851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7193C2-3638-0637-9E42-4D47B9D9F3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FAE3C4-91D4-D1BC-C03D-1496593FA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94252B3-EC17-3576-06D2-135934271A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28775"/>
            <a:ext cx="4823917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  <a:endParaRPr lang="fi-FI" noProof="0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9616082-FCF3-0B4C-CCD3-8B4500C23EE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591944" y="1625600"/>
            <a:ext cx="4824536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16546657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ja kuvio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3755CC-1185-51FC-E3B8-4147606A50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5"/>
            <a:ext cx="10008494" cy="1008063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D925BA-5B20-3CBA-B94B-28B753A84A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5D18D7-87DE-4638-96A8-0783E614A673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7193C2-3638-0637-9E42-4D47B9D9F3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FAE3C4-91D4-D1BC-C03D-1496593FA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5D5B7C8-05AF-1853-86CF-BEC542D912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28775"/>
            <a:ext cx="4823917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  <a:endParaRPr lang="fi-FI" noProof="0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C27518B-3CD7-DBFA-4079-53C0210547B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591944" y="1625600"/>
            <a:ext cx="4824536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23146892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8A324F2-77BE-45A5-AFAB-58F5D6EB13FF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2394" cy="1656457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3861048"/>
            <a:ext cx="9791700" cy="1512168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2" name="Freeform 9">
            <a:extLst>
              <a:ext uri="{FF2B5EF4-FFF2-40B4-BE49-F238E27FC236}">
                <a16:creationId xmlns:a16="http://schemas.microsoft.com/office/drawing/2014/main" id="{2C197826-9F8E-5472-A8FC-FBC0D76CA5C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51572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4E24BC4-B6A8-412D-9EE1-6C7465CE6087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2394" cy="1656457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3861048"/>
            <a:ext cx="9791700" cy="1512168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2" name="Freeform 9">
            <a:extLst>
              <a:ext uri="{FF2B5EF4-FFF2-40B4-BE49-F238E27FC236}">
                <a16:creationId xmlns:a16="http://schemas.microsoft.com/office/drawing/2014/main" id="{2C197826-9F8E-5472-A8FC-FBC0D76CA5C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324423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5AE1D86-6293-432A-9CD2-BD5A88B8E339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2394" cy="1656457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3861048"/>
            <a:ext cx="9791700" cy="1512168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2" name="Freeform 9">
            <a:extLst>
              <a:ext uri="{FF2B5EF4-FFF2-40B4-BE49-F238E27FC236}">
                <a16:creationId xmlns:a16="http://schemas.microsoft.com/office/drawing/2014/main" id="{2C197826-9F8E-5472-A8FC-FBC0D76CA5C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03869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9A86E6A-701A-4015-AE23-E8BF41802A6A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2394" cy="1656457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3861048"/>
            <a:ext cx="9791700" cy="1512168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2" name="Freeform 9">
            <a:extLst>
              <a:ext uri="{FF2B5EF4-FFF2-40B4-BE49-F238E27FC236}">
                <a16:creationId xmlns:a16="http://schemas.microsoft.com/office/drawing/2014/main" id="{2C197826-9F8E-5472-A8FC-FBC0D76CA5C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fi-FI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67718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Kuvall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>
            <a:extLst>
              <a:ext uri="{FF2B5EF4-FFF2-40B4-BE49-F238E27FC236}">
                <a16:creationId xmlns:a16="http://schemas.microsoft.com/office/drawing/2014/main" id="{B2B6860F-B462-3395-0D42-1D6C858E9F4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12192000" cy="6858000"/>
          </a:xfrm>
          <a:solidFill>
            <a:schemeClr val="tx2"/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en-GB" dirty="0" err="1"/>
              <a:t>Lisää</a:t>
            </a:r>
            <a:r>
              <a:rPr lang="en-GB" dirty="0"/>
              <a:t> </a:t>
            </a:r>
            <a:r>
              <a:rPr lang="en-GB" dirty="0" err="1"/>
              <a:t>kuva</a:t>
            </a:r>
            <a:endParaRPr lang="en-GB" dirty="0"/>
          </a:p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62A9E37-06C9-4200-B8AF-B9051A846BFE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2394" cy="738664"/>
          </a:xfrm>
        </p:spPr>
        <p:txBody>
          <a:bodyPr anchor="t" anchorCtr="0">
            <a:sp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3861048"/>
            <a:ext cx="9791700" cy="1512168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920EF67-855D-61E4-6831-B4B8E192566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1503213" y="6308625"/>
            <a:ext cx="280800" cy="21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7038013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oitusdia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89437-0A9F-6907-E834-ECE3DB6251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1700" cy="2304529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BA9B7E5-3139-76AA-C2C3-60620F1D9B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4509120"/>
            <a:ext cx="9791700" cy="864096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98F4D-E89B-8263-EB37-8F8B305D4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AF2ED7A8-2DC8-4520-B649-06C81253F506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B5C31-D7B7-0A4A-9FF1-A8910751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9B765-A518-625F-2D82-59131FF13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CD5646D-347F-0693-85B7-82EEFAEE1F7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07368" y="333375"/>
            <a:ext cx="2325003" cy="504000"/>
          </a:xfrm>
          <a:custGeom>
            <a:avLst/>
            <a:gdLst>
              <a:gd name="T0" fmla="*/ 11 w 4507"/>
              <a:gd name="T1" fmla="*/ 18 h 1954"/>
              <a:gd name="T2" fmla="*/ 659 w 4507"/>
              <a:gd name="T3" fmla="*/ 297 h 1954"/>
              <a:gd name="T4" fmla="*/ 666 w 4507"/>
              <a:gd name="T5" fmla="*/ 916 h 1954"/>
              <a:gd name="T6" fmla="*/ 347 w 4507"/>
              <a:gd name="T7" fmla="*/ 880 h 1954"/>
              <a:gd name="T8" fmla="*/ 471 w 4507"/>
              <a:gd name="T9" fmla="*/ 675 h 1954"/>
              <a:gd name="T10" fmla="*/ 375 w 4507"/>
              <a:gd name="T11" fmla="*/ 401 h 1954"/>
              <a:gd name="T12" fmla="*/ 1722 w 4507"/>
              <a:gd name="T13" fmla="*/ 26 h 1954"/>
              <a:gd name="T14" fmla="*/ 1804 w 4507"/>
              <a:gd name="T15" fmla="*/ 309 h 1954"/>
              <a:gd name="T16" fmla="*/ 1741 w 4507"/>
              <a:gd name="T17" fmla="*/ 269 h 1954"/>
              <a:gd name="T18" fmla="*/ 1854 w 4507"/>
              <a:gd name="T19" fmla="*/ 788 h 1954"/>
              <a:gd name="T20" fmla="*/ 2410 w 4507"/>
              <a:gd name="T21" fmla="*/ 18 h 1954"/>
              <a:gd name="T22" fmla="*/ 3053 w 4507"/>
              <a:gd name="T23" fmla="*/ 553 h 1954"/>
              <a:gd name="T24" fmla="*/ 3419 w 4507"/>
              <a:gd name="T25" fmla="*/ 539 h 1954"/>
              <a:gd name="T26" fmla="*/ 3595 w 4507"/>
              <a:gd name="T27" fmla="*/ 659 h 1954"/>
              <a:gd name="T28" fmla="*/ 3699 w 4507"/>
              <a:gd name="T29" fmla="*/ 697 h 1954"/>
              <a:gd name="T30" fmla="*/ 3842 w 4507"/>
              <a:gd name="T31" fmla="*/ 595 h 1954"/>
              <a:gd name="T32" fmla="*/ 3700 w 4507"/>
              <a:gd name="T33" fmla="*/ 806 h 1954"/>
              <a:gd name="T34" fmla="*/ 3943 w 4507"/>
              <a:gd name="T35" fmla="*/ 725 h 1954"/>
              <a:gd name="T36" fmla="*/ 4018 w 4507"/>
              <a:gd name="T37" fmla="*/ 689 h 1954"/>
              <a:gd name="T38" fmla="*/ 4124 w 4507"/>
              <a:gd name="T39" fmla="*/ 581 h 1954"/>
              <a:gd name="T40" fmla="*/ 3931 w 4507"/>
              <a:gd name="T41" fmla="*/ 269 h 1954"/>
              <a:gd name="T42" fmla="*/ 4017 w 4507"/>
              <a:gd name="T43" fmla="*/ 6 h 1954"/>
              <a:gd name="T44" fmla="*/ 4117 w 4507"/>
              <a:gd name="T45" fmla="*/ 228 h 1954"/>
              <a:gd name="T46" fmla="*/ 4005 w 4507"/>
              <a:gd name="T47" fmla="*/ 134 h 1954"/>
              <a:gd name="T48" fmla="*/ 4123 w 4507"/>
              <a:gd name="T49" fmla="*/ 383 h 1954"/>
              <a:gd name="T50" fmla="*/ 4174 w 4507"/>
              <a:gd name="T51" fmla="*/ 697 h 1954"/>
              <a:gd name="T52" fmla="*/ 1767 w 4507"/>
              <a:gd name="T53" fmla="*/ 1273 h 1954"/>
              <a:gd name="T54" fmla="*/ 2197 w 4507"/>
              <a:gd name="T55" fmla="*/ 1926 h 1954"/>
              <a:gd name="T56" fmla="*/ 2114 w 4507"/>
              <a:gd name="T57" fmla="*/ 1551 h 1954"/>
              <a:gd name="T58" fmla="*/ 2226 w 4507"/>
              <a:gd name="T59" fmla="*/ 1156 h 1954"/>
              <a:gd name="T60" fmla="*/ 2385 w 4507"/>
              <a:gd name="T61" fmla="*/ 1313 h 1954"/>
              <a:gd name="T62" fmla="*/ 2373 w 4507"/>
              <a:gd name="T63" fmla="*/ 1834 h 1954"/>
              <a:gd name="T64" fmla="*/ 2227 w 4507"/>
              <a:gd name="T65" fmla="*/ 1271 h 1954"/>
              <a:gd name="T66" fmla="*/ 2192 w 4507"/>
              <a:gd name="T67" fmla="*/ 1738 h 1954"/>
              <a:gd name="T68" fmla="*/ 2323 w 4507"/>
              <a:gd name="T69" fmla="*/ 1760 h 1954"/>
              <a:gd name="T70" fmla="*/ 2273 w 4507"/>
              <a:gd name="T71" fmla="*/ 1259 h 1954"/>
              <a:gd name="T72" fmla="*/ 3321 w 4507"/>
              <a:gd name="T73" fmla="*/ 1954 h 1954"/>
              <a:gd name="T74" fmla="*/ 3265 w 4507"/>
              <a:gd name="T75" fmla="*/ 1693 h 1954"/>
              <a:gd name="T76" fmla="*/ 3380 w 4507"/>
              <a:gd name="T77" fmla="*/ 1832 h 1954"/>
              <a:gd name="T78" fmla="*/ 3369 w 4507"/>
              <a:gd name="T79" fmla="*/ 1625 h 1954"/>
              <a:gd name="T80" fmla="*/ 3218 w 4507"/>
              <a:gd name="T81" fmla="*/ 1279 h 1954"/>
              <a:gd name="T82" fmla="*/ 3426 w 4507"/>
              <a:gd name="T83" fmla="*/ 1198 h 1954"/>
              <a:gd name="T84" fmla="*/ 3370 w 4507"/>
              <a:gd name="T85" fmla="*/ 1265 h 1954"/>
              <a:gd name="T86" fmla="*/ 3279 w 4507"/>
              <a:gd name="T87" fmla="*/ 1379 h 1954"/>
              <a:gd name="T88" fmla="*/ 3471 w 4507"/>
              <a:gd name="T89" fmla="*/ 1675 h 1954"/>
              <a:gd name="T90" fmla="*/ 3381 w 4507"/>
              <a:gd name="T91" fmla="*/ 1946 h 1954"/>
              <a:gd name="T92" fmla="*/ 3620 w 4507"/>
              <a:gd name="T93" fmla="*/ 1772 h 1954"/>
              <a:gd name="T94" fmla="*/ 3736 w 4507"/>
              <a:gd name="T95" fmla="*/ 1772 h 1954"/>
              <a:gd name="T96" fmla="*/ 3756 w 4507"/>
              <a:gd name="T97" fmla="*/ 1914 h 1954"/>
              <a:gd name="T98" fmla="*/ 3915 w 4507"/>
              <a:gd name="T99" fmla="*/ 1828 h 1954"/>
              <a:gd name="T100" fmla="*/ 4005 w 4507"/>
              <a:gd name="T101" fmla="*/ 1838 h 1954"/>
              <a:gd name="T102" fmla="*/ 4160 w 4507"/>
              <a:gd name="T103" fmla="*/ 1697 h 1954"/>
              <a:gd name="T104" fmla="*/ 4039 w 4507"/>
              <a:gd name="T105" fmla="*/ 1954 h 1954"/>
              <a:gd name="T106" fmla="*/ 4268 w 4507"/>
              <a:gd name="T107" fmla="*/ 1888 h 1954"/>
              <a:gd name="T108" fmla="*/ 4324 w 4507"/>
              <a:gd name="T109" fmla="*/ 1824 h 1954"/>
              <a:gd name="T110" fmla="*/ 4442 w 4507"/>
              <a:gd name="T111" fmla="*/ 1752 h 1954"/>
              <a:gd name="T112" fmla="*/ 4255 w 4507"/>
              <a:gd name="T113" fmla="*/ 1447 h 1954"/>
              <a:gd name="T114" fmla="*/ 4311 w 4507"/>
              <a:gd name="T115" fmla="*/ 1166 h 1954"/>
              <a:gd name="T116" fmla="*/ 4497 w 4507"/>
              <a:gd name="T117" fmla="*/ 1331 h 1954"/>
              <a:gd name="T118" fmla="*/ 4336 w 4507"/>
              <a:gd name="T119" fmla="*/ 1267 h 1954"/>
              <a:gd name="T120" fmla="*/ 4359 w 4507"/>
              <a:gd name="T121" fmla="*/ 1457 h 1954"/>
              <a:gd name="T122" fmla="*/ 4499 w 4507"/>
              <a:gd name="T123" fmla="*/ 1814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507" h="1954">
                <a:moveTo>
                  <a:pt x="4307" y="327"/>
                </a:moveTo>
                <a:lnTo>
                  <a:pt x="4377" y="327"/>
                </a:lnTo>
                <a:lnTo>
                  <a:pt x="4377" y="463"/>
                </a:lnTo>
                <a:lnTo>
                  <a:pt x="4307" y="463"/>
                </a:lnTo>
                <a:lnTo>
                  <a:pt x="4307" y="327"/>
                </a:lnTo>
                <a:close/>
                <a:moveTo>
                  <a:pt x="1248" y="18"/>
                </a:moveTo>
                <a:lnTo>
                  <a:pt x="1248" y="473"/>
                </a:lnTo>
                <a:lnTo>
                  <a:pt x="1051" y="473"/>
                </a:lnTo>
                <a:lnTo>
                  <a:pt x="1051" y="1936"/>
                </a:lnTo>
                <a:lnTo>
                  <a:pt x="821" y="1936"/>
                </a:lnTo>
                <a:lnTo>
                  <a:pt x="821" y="473"/>
                </a:lnTo>
                <a:lnTo>
                  <a:pt x="655" y="18"/>
                </a:lnTo>
                <a:lnTo>
                  <a:pt x="1248" y="18"/>
                </a:lnTo>
                <a:close/>
                <a:moveTo>
                  <a:pt x="0" y="1481"/>
                </a:moveTo>
                <a:lnTo>
                  <a:pt x="230" y="1481"/>
                </a:lnTo>
                <a:lnTo>
                  <a:pt x="230" y="1936"/>
                </a:lnTo>
                <a:lnTo>
                  <a:pt x="0" y="1936"/>
                </a:lnTo>
                <a:lnTo>
                  <a:pt x="0" y="1481"/>
                </a:lnTo>
                <a:close/>
                <a:moveTo>
                  <a:pt x="487" y="1186"/>
                </a:moveTo>
                <a:lnTo>
                  <a:pt x="752" y="1936"/>
                </a:lnTo>
                <a:lnTo>
                  <a:pt x="495" y="1936"/>
                </a:lnTo>
                <a:lnTo>
                  <a:pt x="11" y="559"/>
                </a:lnTo>
                <a:lnTo>
                  <a:pt x="11" y="18"/>
                </a:lnTo>
                <a:lnTo>
                  <a:pt x="309" y="18"/>
                </a:lnTo>
                <a:lnTo>
                  <a:pt x="335" y="18"/>
                </a:lnTo>
                <a:lnTo>
                  <a:pt x="359" y="20"/>
                </a:lnTo>
                <a:lnTo>
                  <a:pt x="382" y="24"/>
                </a:lnTo>
                <a:lnTo>
                  <a:pt x="404" y="30"/>
                </a:lnTo>
                <a:lnTo>
                  <a:pt x="426" y="36"/>
                </a:lnTo>
                <a:lnTo>
                  <a:pt x="447" y="44"/>
                </a:lnTo>
                <a:lnTo>
                  <a:pt x="467" y="52"/>
                </a:lnTo>
                <a:lnTo>
                  <a:pt x="476" y="58"/>
                </a:lnTo>
                <a:lnTo>
                  <a:pt x="486" y="62"/>
                </a:lnTo>
                <a:lnTo>
                  <a:pt x="504" y="74"/>
                </a:lnTo>
                <a:lnTo>
                  <a:pt x="521" y="88"/>
                </a:lnTo>
                <a:lnTo>
                  <a:pt x="538" y="102"/>
                </a:lnTo>
                <a:lnTo>
                  <a:pt x="553" y="116"/>
                </a:lnTo>
                <a:lnTo>
                  <a:pt x="569" y="132"/>
                </a:lnTo>
                <a:lnTo>
                  <a:pt x="583" y="150"/>
                </a:lnTo>
                <a:lnTo>
                  <a:pt x="596" y="168"/>
                </a:lnTo>
                <a:lnTo>
                  <a:pt x="609" y="188"/>
                </a:lnTo>
                <a:lnTo>
                  <a:pt x="620" y="208"/>
                </a:lnTo>
                <a:lnTo>
                  <a:pt x="631" y="230"/>
                </a:lnTo>
                <a:lnTo>
                  <a:pt x="641" y="251"/>
                </a:lnTo>
                <a:lnTo>
                  <a:pt x="650" y="273"/>
                </a:lnTo>
                <a:lnTo>
                  <a:pt x="659" y="297"/>
                </a:lnTo>
                <a:lnTo>
                  <a:pt x="666" y="323"/>
                </a:lnTo>
                <a:lnTo>
                  <a:pt x="673" y="349"/>
                </a:lnTo>
                <a:lnTo>
                  <a:pt x="680" y="375"/>
                </a:lnTo>
                <a:lnTo>
                  <a:pt x="685" y="401"/>
                </a:lnTo>
                <a:lnTo>
                  <a:pt x="690" y="429"/>
                </a:lnTo>
                <a:lnTo>
                  <a:pt x="694" y="459"/>
                </a:lnTo>
                <a:lnTo>
                  <a:pt x="697" y="487"/>
                </a:lnTo>
                <a:lnTo>
                  <a:pt x="699" y="517"/>
                </a:lnTo>
                <a:lnTo>
                  <a:pt x="701" y="547"/>
                </a:lnTo>
                <a:lnTo>
                  <a:pt x="702" y="579"/>
                </a:lnTo>
                <a:lnTo>
                  <a:pt x="703" y="611"/>
                </a:lnTo>
                <a:lnTo>
                  <a:pt x="702" y="661"/>
                </a:lnTo>
                <a:lnTo>
                  <a:pt x="701" y="687"/>
                </a:lnTo>
                <a:lnTo>
                  <a:pt x="699" y="711"/>
                </a:lnTo>
                <a:lnTo>
                  <a:pt x="697" y="735"/>
                </a:lnTo>
                <a:lnTo>
                  <a:pt x="695" y="758"/>
                </a:lnTo>
                <a:lnTo>
                  <a:pt x="692" y="782"/>
                </a:lnTo>
                <a:lnTo>
                  <a:pt x="689" y="806"/>
                </a:lnTo>
                <a:lnTo>
                  <a:pt x="685" y="830"/>
                </a:lnTo>
                <a:lnTo>
                  <a:pt x="681" y="852"/>
                </a:lnTo>
                <a:lnTo>
                  <a:pt x="677" y="874"/>
                </a:lnTo>
                <a:lnTo>
                  <a:pt x="672" y="896"/>
                </a:lnTo>
                <a:lnTo>
                  <a:pt x="666" y="916"/>
                </a:lnTo>
                <a:lnTo>
                  <a:pt x="661" y="938"/>
                </a:lnTo>
                <a:lnTo>
                  <a:pt x="655" y="958"/>
                </a:lnTo>
                <a:lnTo>
                  <a:pt x="648" y="976"/>
                </a:lnTo>
                <a:lnTo>
                  <a:pt x="641" y="996"/>
                </a:lnTo>
                <a:lnTo>
                  <a:pt x="634" y="1014"/>
                </a:lnTo>
                <a:lnTo>
                  <a:pt x="626" y="1030"/>
                </a:lnTo>
                <a:lnTo>
                  <a:pt x="618" y="1048"/>
                </a:lnTo>
                <a:lnTo>
                  <a:pt x="609" y="1064"/>
                </a:lnTo>
                <a:lnTo>
                  <a:pt x="600" y="1080"/>
                </a:lnTo>
                <a:lnTo>
                  <a:pt x="591" y="1094"/>
                </a:lnTo>
                <a:lnTo>
                  <a:pt x="581" y="1108"/>
                </a:lnTo>
                <a:lnTo>
                  <a:pt x="571" y="1120"/>
                </a:lnTo>
                <a:lnTo>
                  <a:pt x="559" y="1132"/>
                </a:lnTo>
                <a:lnTo>
                  <a:pt x="548" y="1144"/>
                </a:lnTo>
                <a:lnTo>
                  <a:pt x="537" y="1154"/>
                </a:lnTo>
                <a:lnTo>
                  <a:pt x="525" y="1164"/>
                </a:lnTo>
                <a:lnTo>
                  <a:pt x="513" y="1172"/>
                </a:lnTo>
                <a:lnTo>
                  <a:pt x="500" y="1180"/>
                </a:lnTo>
                <a:lnTo>
                  <a:pt x="487" y="1186"/>
                </a:lnTo>
                <a:close/>
                <a:moveTo>
                  <a:pt x="239" y="391"/>
                </a:moveTo>
                <a:lnTo>
                  <a:pt x="239" y="880"/>
                </a:lnTo>
                <a:lnTo>
                  <a:pt x="337" y="880"/>
                </a:lnTo>
                <a:lnTo>
                  <a:pt x="347" y="880"/>
                </a:lnTo>
                <a:lnTo>
                  <a:pt x="357" y="880"/>
                </a:lnTo>
                <a:lnTo>
                  <a:pt x="367" y="878"/>
                </a:lnTo>
                <a:lnTo>
                  <a:pt x="376" y="874"/>
                </a:lnTo>
                <a:lnTo>
                  <a:pt x="384" y="872"/>
                </a:lnTo>
                <a:lnTo>
                  <a:pt x="392" y="868"/>
                </a:lnTo>
                <a:lnTo>
                  <a:pt x="400" y="862"/>
                </a:lnTo>
                <a:lnTo>
                  <a:pt x="407" y="858"/>
                </a:lnTo>
                <a:lnTo>
                  <a:pt x="413" y="852"/>
                </a:lnTo>
                <a:lnTo>
                  <a:pt x="419" y="844"/>
                </a:lnTo>
                <a:lnTo>
                  <a:pt x="425" y="838"/>
                </a:lnTo>
                <a:lnTo>
                  <a:pt x="430" y="830"/>
                </a:lnTo>
                <a:lnTo>
                  <a:pt x="435" y="822"/>
                </a:lnTo>
                <a:lnTo>
                  <a:pt x="440" y="814"/>
                </a:lnTo>
                <a:lnTo>
                  <a:pt x="444" y="806"/>
                </a:lnTo>
                <a:lnTo>
                  <a:pt x="448" y="796"/>
                </a:lnTo>
                <a:lnTo>
                  <a:pt x="451" y="788"/>
                </a:lnTo>
                <a:lnTo>
                  <a:pt x="454" y="778"/>
                </a:lnTo>
                <a:lnTo>
                  <a:pt x="457" y="768"/>
                </a:lnTo>
                <a:lnTo>
                  <a:pt x="460" y="758"/>
                </a:lnTo>
                <a:lnTo>
                  <a:pt x="464" y="738"/>
                </a:lnTo>
                <a:lnTo>
                  <a:pt x="467" y="717"/>
                </a:lnTo>
                <a:lnTo>
                  <a:pt x="470" y="697"/>
                </a:lnTo>
                <a:lnTo>
                  <a:pt x="471" y="675"/>
                </a:lnTo>
                <a:lnTo>
                  <a:pt x="472" y="655"/>
                </a:lnTo>
                <a:lnTo>
                  <a:pt x="472" y="635"/>
                </a:lnTo>
                <a:lnTo>
                  <a:pt x="472" y="615"/>
                </a:lnTo>
                <a:lnTo>
                  <a:pt x="470" y="593"/>
                </a:lnTo>
                <a:lnTo>
                  <a:pt x="468" y="573"/>
                </a:lnTo>
                <a:lnTo>
                  <a:pt x="464" y="551"/>
                </a:lnTo>
                <a:lnTo>
                  <a:pt x="462" y="541"/>
                </a:lnTo>
                <a:lnTo>
                  <a:pt x="459" y="531"/>
                </a:lnTo>
                <a:lnTo>
                  <a:pt x="457" y="521"/>
                </a:lnTo>
                <a:lnTo>
                  <a:pt x="454" y="511"/>
                </a:lnTo>
                <a:lnTo>
                  <a:pt x="447" y="491"/>
                </a:lnTo>
                <a:lnTo>
                  <a:pt x="443" y="483"/>
                </a:lnTo>
                <a:lnTo>
                  <a:pt x="439" y="473"/>
                </a:lnTo>
                <a:lnTo>
                  <a:pt x="435" y="465"/>
                </a:lnTo>
                <a:lnTo>
                  <a:pt x="430" y="457"/>
                </a:lnTo>
                <a:lnTo>
                  <a:pt x="420" y="441"/>
                </a:lnTo>
                <a:lnTo>
                  <a:pt x="414" y="433"/>
                </a:lnTo>
                <a:lnTo>
                  <a:pt x="408" y="427"/>
                </a:lnTo>
                <a:lnTo>
                  <a:pt x="402" y="421"/>
                </a:lnTo>
                <a:lnTo>
                  <a:pt x="396" y="415"/>
                </a:lnTo>
                <a:lnTo>
                  <a:pt x="389" y="409"/>
                </a:lnTo>
                <a:lnTo>
                  <a:pt x="382" y="405"/>
                </a:lnTo>
                <a:lnTo>
                  <a:pt x="375" y="401"/>
                </a:lnTo>
                <a:lnTo>
                  <a:pt x="367" y="397"/>
                </a:lnTo>
                <a:lnTo>
                  <a:pt x="359" y="395"/>
                </a:lnTo>
                <a:lnTo>
                  <a:pt x="351" y="393"/>
                </a:lnTo>
                <a:lnTo>
                  <a:pt x="333" y="391"/>
                </a:lnTo>
                <a:lnTo>
                  <a:pt x="239" y="391"/>
                </a:lnTo>
                <a:close/>
                <a:moveTo>
                  <a:pt x="1780" y="395"/>
                </a:moveTo>
                <a:lnTo>
                  <a:pt x="1776" y="403"/>
                </a:lnTo>
                <a:lnTo>
                  <a:pt x="1772" y="411"/>
                </a:lnTo>
                <a:lnTo>
                  <a:pt x="1763" y="423"/>
                </a:lnTo>
                <a:lnTo>
                  <a:pt x="1754" y="433"/>
                </a:lnTo>
                <a:lnTo>
                  <a:pt x="1743" y="443"/>
                </a:lnTo>
                <a:lnTo>
                  <a:pt x="1814" y="788"/>
                </a:lnTo>
                <a:lnTo>
                  <a:pt x="1742" y="788"/>
                </a:lnTo>
                <a:lnTo>
                  <a:pt x="1683" y="465"/>
                </a:lnTo>
                <a:lnTo>
                  <a:pt x="1607" y="465"/>
                </a:lnTo>
                <a:lnTo>
                  <a:pt x="1607" y="788"/>
                </a:lnTo>
                <a:lnTo>
                  <a:pt x="1543" y="788"/>
                </a:lnTo>
                <a:lnTo>
                  <a:pt x="1543" y="18"/>
                </a:lnTo>
                <a:lnTo>
                  <a:pt x="1681" y="18"/>
                </a:lnTo>
                <a:lnTo>
                  <a:pt x="1696" y="18"/>
                </a:lnTo>
                <a:lnTo>
                  <a:pt x="1703" y="20"/>
                </a:lnTo>
                <a:lnTo>
                  <a:pt x="1710" y="22"/>
                </a:lnTo>
                <a:lnTo>
                  <a:pt x="1722" y="26"/>
                </a:lnTo>
                <a:lnTo>
                  <a:pt x="1734" y="32"/>
                </a:lnTo>
                <a:lnTo>
                  <a:pt x="1745" y="40"/>
                </a:lnTo>
                <a:lnTo>
                  <a:pt x="1755" y="50"/>
                </a:lnTo>
                <a:lnTo>
                  <a:pt x="1765" y="62"/>
                </a:lnTo>
                <a:lnTo>
                  <a:pt x="1769" y="68"/>
                </a:lnTo>
                <a:lnTo>
                  <a:pt x="1773" y="76"/>
                </a:lnTo>
                <a:lnTo>
                  <a:pt x="1781" y="92"/>
                </a:lnTo>
                <a:lnTo>
                  <a:pt x="1788" y="108"/>
                </a:lnTo>
                <a:lnTo>
                  <a:pt x="1791" y="118"/>
                </a:lnTo>
                <a:lnTo>
                  <a:pt x="1794" y="126"/>
                </a:lnTo>
                <a:lnTo>
                  <a:pt x="1799" y="146"/>
                </a:lnTo>
                <a:lnTo>
                  <a:pt x="1803" y="168"/>
                </a:lnTo>
                <a:lnTo>
                  <a:pt x="1805" y="178"/>
                </a:lnTo>
                <a:lnTo>
                  <a:pt x="1806" y="190"/>
                </a:lnTo>
                <a:lnTo>
                  <a:pt x="1807" y="200"/>
                </a:lnTo>
                <a:lnTo>
                  <a:pt x="1808" y="212"/>
                </a:lnTo>
                <a:lnTo>
                  <a:pt x="1808" y="224"/>
                </a:lnTo>
                <a:lnTo>
                  <a:pt x="1808" y="236"/>
                </a:lnTo>
                <a:lnTo>
                  <a:pt x="1808" y="263"/>
                </a:lnTo>
                <a:lnTo>
                  <a:pt x="1807" y="275"/>
                </a:lnTo>
                <a:lnTo>
                  <a:pt x="1806" y="287"/>
                </a:lnTo>
                <a:lnTo>
                  <a:pt x="1805" y="299"/>
                </a:lnTo>
                <a:lnTo>
                  <a:pt x="1804" y="309"/>
                </a:lnTo>
                <a:lnTo>
                  <a:pt x="1801" y="331"/>
                </a:lnTo>
                <a:lnTo>
                  <a:pt x="1797" y="349"/>
                </a:lnTo>
                <a:lnTo>
                  <a:pt x="1792" y="367"/>
                </a:lnTo>
                <a:lnTo>
                  <a:pt x="1786" y="381"/>
                </a:lnTo>
                <a:lnTo>
                  <a:pt x="1780" y="395"/>
                </a:lnTo>
                <a:close/>
                <a:moveTo>
                  <a:pt x="1678" y="122"/>
                </a:moveTo>
                <a:lnTo>
                  <a:pt x="1607" y="122"/>
                </a:lnTo>
                <a:lnTo>
                  <a:pt x="1607" y="365"/>
                </a:lnTo>
                <a:lnTo>
                  <a:pt x="1678" y="365"/>
                </a:lnTo>
                <a:lnTo>
                  <a:pt x="1686" y="363"/>
                </a:lnTo>
                <a:lnTo>
                  <a:pt x="1694" y="361"/>
                </a:lnTo>
                <a:lnTo>
                  <a:pt x="1700" y="359"/>
                </a:lnTo>
                <a:lnTo>
                  <a:pt x="1707" y="355"/>
                </a:lnTo>
                <a:lnTo>
                  <a:pt x="1712" y="351"/>
                </a:lnTo>
                <a:lnTo>
                  <a:pt x="1717" y="345"/>
                </a:lnTo>
                <a:lnTo>
                  <a:pt x="1722" y="339"/>
                </a:lnTo>
                <a:lnTo>
                  <a:pt x="1726" y="331"/>
                </a:lnTo>
                <a:lnTo>
                  <a:pt x="1730" y="323"/>
                </a:lnTo>
                <a:lnTo>
                  <a:pt x="1733" y="313"/>
                </a:lnTo>
                <a:lnTo>
                  <a:pt x="1736" y="303"/>
                </a:lnTo>
                <a:lnTo>
                  <a:pt x="1738" y="293"/>
                </a:lnTo>
                <a:lnTo>
                  <a:pt x="1740" y="281"/>
                </a:lnTo>
                <a:lnTo>
                  <a:pt x="1741" y="269"/>
                </a:lnTo>
                <a:lnTo>
                  <a:pt x="1742" y="257"/>
                </a:lnTo>
                <a:lnTo>
                  <a:pt x="1742" y="244"/>
                </a:lnTo>
                <a:lnTo>
                  <a:pt x="1742" y="230"/>
                </a:lnTo>
                <a:lnTo>
                  <a:pt x="1742" y="218"/>
                </a:lnTo>
                <a:lnTo>
                  <a:pt x="1740" y="206"/>
                </a:lnTo>
                <a:lnTo>
                  <a:pt x="1739" y="194"/>
                </a:lnTo>
                <a:lnTo>
                  <a:pt x="1737" y="184"/>
                </a:lnTo>
                <a:lnTo>
                  <a:pt x="1734" y="174"/>
                </a:lnTo>
                <a:lnTo>
                  <a:pt x="1731" y="164"/>
                </a:lnTo>
                <a:lnTo>
                  <a:pt x="1728" y="156"/>
                </a:lnTo>
                <a:lnTo>
                  <a:pt x="1723" y="148"/>
                </a:lnTo>
                <a:lnTo>
                  <a:pt x="1719" y="142"/>
                </a:lnTo>
                <a:lnTo>
                  <a:pt x="1713" y="136"/>
                </a:lnTo>
                <a:lnTo>
                  <a:pt x="1708" y="132"/>
                </a:lnTo>
                <a:lnTo>
                  <a:pt x="1701" y="128"/>
                </a:lnTo>
                <a:lnTo>
                  <a:pt x="1694" y="124"/>
                </a:lnTo>
                <a:lnTo>
                  <a:pt x="1686" y="122"/>
                </a:lnTo>
                <a:lnTo>
                  <a:pt x="1678" y="122"/>
                </a:lnTo>
                <a:close/>
                <a:moveTo>
                  <a:pt x="2090" y="788"/>
                </a:moveTo>
                <a:lnTo>
                  <a:pt x="2069" y="635"/>
                </a:lnTo>
                <a:lnTo>
                  <a:pt x="1942" y="635"/>
                </a:lnTo>
                <a:lnTo>
                  <a:pt x="1921" y="788"/>
                </a:lnTo>
                <a:lnTo>
                  <a:pt x="1854" y="788"/>
                </a:lnTo>
                <a:lnTo>
                  <a:pt x="1975" y="18"/>
                </a:lnTo>
                <a:lnTo>
                  <a:pt x="2037" y="18"/>
                </a:lnTo>
                <a:lnTo>
                  <a:pt x="2160" y="788"/>
                </a:lnTo>
                <a:lnTo>
                  <a:pt x="2090" y="788"/>
                </a:lnTo>
                <a:close/>
                <a:moveTo>
                  <a:pt x="2026" y="323"/>
                </a:moveTo>
                <a:lnTo>
                  <a:pt x="2015" y="250"/>
                </a:lnTo>
                <a:lnTo>
                  <a:pt x="2010" y="210"/>
                </a:lnTo>
                <a:lnTo>
                  <a:pt x="2006" y="170"/>
                </a:lnTo>
                <a:lnTo>
                  <a:pt x="2001" y="210"/>
                </a:lnTo>
                <a:lnTo>
                  <a:pt x="1996" y="250"/>
                </a:lnTo>
                <a:lnTo>
                  <a:pt x="1986" y="325"/>
                </a:lnTo>
                <a:lnTo>
                  <a:pt x="1957" y="529"/>
                </a:lnTo>
                <a:lnTo>
                  <a:pt x="2053" y="529"/>
                </a:lnTo>
                <a:lnTo>
                  <a:pt x="2026" y="323"/>
                </a:lnTo>
                <a:close/>
                <a:moveTo>
                  <a:pt x="2419" y="788"/>
                </a:moveTo>
                <a:lnTo>
                  <a:pt x="2323" y="431"/>
                </a:lnTo>
                <a:lnTo>
                  <a:pt x="2285" y="527"/>
                </a:lnTo>
                <a:lnTo>
                  <a:pt x="2285" y="788"/>
                </a:lnTo>
                <a:lnTo>
                  <a:pt x="2220" y="788"/>
                </a:lnTo>
                <a:lnTo>
                  <a:pt x="2220" y="18"/>
                </a:lnTo>
                <a:lnTo>
                  <a:pt x="2285" y="18"/>
                </a:lnTo>
                <a:lnTo>
                  <a:pt x="2285" y="347"/>
                </a:lnTo>
                <a:lnTo>
                  <a:pt x="2410" y="18"/>
                </a:lnTo>
                <a:lnTo>
                  <a:pt x="2492" y="18"/>
                </a:lnTo>
                <a:lnTo>
                  <a:pt x="2363" y="333"/>
                </a:lnTo>
                <a:lnTo>
                  <a:pt x="2498" y="788"/>
                </a:lnTo>
                <a:lnTo>
                  <a:pt x="2419" y="788"/>
                </a:lnTo>
                <a:close/>
                <a:moveTo>
                  <a:pt x="2558" y="788"/>
                </a:moveTo>
                <a:lnTo>
                  <a:pt x="2558" y="18"/>
                </a:lnTo>
                <a:lnTo>
                  <a:pt x="2786" y="18"/>
                </a:lnTo>
                <a:lnTo>
                  <a:pt x="2786" y="126"/>
                </a:lnTo>
                <a:lnTo>
                  <a:pt x="2623" y="126"/>
                </a:lnTo>
                <a:lnTo>
                  <a:pt x="2623" y="341"/>
                </a:lnTo>
                <a:lnTo>
                  <a:pt x="2756" y="341"/>
                </a:lnTo>
                <a:lnTo>
                  <a:pt x="2756" y="445"/>
                </a:lnTo>
                <a:lnTo>
                  <a:pt x="2623" y="445"/>
                </a:lnTo>
                <a:lnTo>
                  <a:pt x="2623" y="683"/>
                </a:lnTo>
                <a:lnTo>
                  <a:pt x="2786" y="683"/>
                </a:lnTo>
                <a:lnTo>
                  <a:pt x="2786" y="788"/>
                </a:lnTo>
                <a:lnTo>
                  <a:pt x="2558" y="788"/>
                </a:lnTo>
                <a:close/>
                <a:moveTo>
                  <a:pt x="2939" y="18"/>
                </a:moveTo>
                <a:lnTo>
                  <a:pt x="3030" y="439"/>
                </a:lnTo>
                <a:lnTo>
                  <a:pt x="3038" y="477"/>
                </a:lnTo>
                <a:lnTo>
                  <a:pt x="3042" y="495"/>
                </a:lnTo>
                <a:lnTo>
                  <a:pt x="3046" y="515"/>
                </a:lnTo>
                <a:lnTo>
                  <a:pt x="3053" y="553"/>
                </a:lnTo>
                <a:lnTo>
                  <a:pt x="3060" y="595"/>
                </a:lnTo>
                <a:lnTo>
                  <a:pt x="3060" y="509"/>
                </a:lnTo>
                <a:lnTo>
                  <a:pt x="3059" y="421"/>
                </a:lnTo>
                <a:lnTo>
                  <a:pt x="3059" y="18"/>
                </a:lnTo>
                <a:lnTo>
                  <a:pt x="3124" y="18"/>
                </a:lnTo>
                <a:lnTo>
                  <a:pt x="3124" y="788"/>
                </a:lnTo>
                <a:lnTo>
                  <a:pt x="3046" y="788"/>
                </a:lnTo>
                <a:lnTo>
                  <a:pt x="2954" y="369"/>
                </a:lnTo>
                <a:lnTo>
                  <a:pt x="2946" y="331"/>
                </a:lnTo>
                <a:lnTo>
                  <a:pt x="2938" y="293"/>
                </a:lnTo>
                <a:lnTo>
                  <a:pt x="2931" y="255"/>
                </a:lnTo>
                <a:lnTo>
                  <a:pt x="2923" y="214"/>
                </a:lnTo>
                <a:lnTo>
                  <a:pt x="2924" y="389"/>
                </a:lnTo>
                <a:lnTo>
                  <a:pt x="2924" y="790"/>
                </a:lnTo>
                <a:lnTo>
                  <a:pt x="2859" y="790"/>
                </a:lnTo>
                <a:lnTo>
                  <a:pt x="2859" y="18"/>
                </a:lnTo>
                <a:lnTo>
                  <a:pt x="2939" y="18"/>
                </a:lnTo>
                <a:close/>
                <a:moveTo>
                  <a:pt x="3306" y="18"/>
                </a:moveTo>
                <a:lnTo>
                  <a:pt x="3396" y="425"/>
                </a:lnTo>
                <a:lnTo>
                  <a:pt x="3404" y="463"/>
                </a:lnTo>
                <a:lnTo>
                  <a:pt x="3408" y="481"/>
                </a:lnTo>
                <a:lnTo>
                  <a:pt x="3412" y="501"/>
                </a:lnTo>
                <a:lnTo>
                  <a:pt x="3419" y="539"/>
                </a:lnTo>
                <a:lnTo>
                  <a:pt x="3426" y="581"/>
                </a:lnTo>
                <a:lnTo>
                  <a:pt x="3426" y="495"/>
                </a:lnTo>
                <a:lnTo>
                  <a:pt x="3426" y="407"/>
                </a:lnTo>
                <a:lnTo>
                  <a:pt x="3426" y="18"/>
                </a:lnTo>
                <a:lnTo>
                  <a:pt x="3491" y="18"/>
                </a:lnTo>
                <a:lnTo>
                  <a:pt x="3491" y="788"/>
                </a:lnTo>
                <a:lnTo>
                  <a:pt x="3412" y="788"/>
                </a:lnTo>
                <a:lnTo>
                  <a:pt x="3320" y="383"/>
                </a:lnTo>
                <a:lnTo>
                  <a:pt x="3312" y="345"/>
                </a:lnTo>
                <a:lnTo>
                  <a:pt x="3305" y="307"/>
                </a:lnTo>
                <a:lnTo>
                  <a:pt x="3297" y="269"/>
                </a:lnTo>
                <a:lnTo>
                  <a:pt x="3290" y="228"/>
                </a:lnTo>
                <a:lnTo>
                  <a:pt x="3290" y="403"/>
                </a:lnTo>
                <a:lnTo>
                  <a:pt x="3290" y="788"/>
                </a:lnTo>
                <a:lnTo>
                  <a:pt x="3226" y="788"/>
                </a:lnTo>
                <a:lnTo>
                  <a:pt x="3226" y="18"/>
                </a:lnTo>
                <a:lnTo>
                  <a:pt x="3306" y="18"/>
                </a:lnTo>
                <a:close/>
                <a:moveTo>
                  <a:pt x="3618" y="735"/>
                </a:moveTo>
                <a:lnTo>
                  <a:pt x="3611" y="719"/>
                </a:lnTo>
                <a:lnTo>
                  <a:pt x="3605" y="701"/>
                </a:lnTo>
                <a:lnTo>
                  <a:pt x="3599" y="681"/>
                </a:lnTo>
                <a:lnTo>
                  <a:pt x="3597" y="669"/>
                </a:lnTo>
                <a:lnTo>
                  <a:pt x="3595" y="659"/>
                </a:lnTo>
                <a:lnTo>
                  <a:pt x="3591" y="635"/>
                </a:lnTo>
                <a:lnTo>
                  <a:pt x="3589" y="609"/>
                </a:lnTo>
                <a:lnTo>
                  <a:pt x="3588" y="595"/>
                </a:lnTo>
                <a:lnTo>
                  <a:pt x="3587" y="581"/>
                </a:lnTo>
                <a:lnTo>
                  <a:pt x="3587" y="549"/>
                </a:lnTo>
                <a:lnTo>
                  <a:pt x="3587" y="18"/>
                </a:lnTo>
                <a:lnTo>
                  <a:pt x="3652" y="18"/>
                </a:lnTo>
                <a:lnTo>
                  <a:pt x="3652" y="543"/>
                </a:lnTo>
                <a:lnTo>
                  <a:pt x="3652" y="563"/>
                </a:lnTo>
                <a:lnTo>
                  <a:pt x="3652" y="581"/>
                </a:lnTo>
                <a:lnTo>
                  <a:pt x="3653" y="597"/>
                </a:lnTo>
                <a:lnTo>
                  <a:pt x="3655" y="611"/>
                </a:lnTo>
                <a:lnTo>
                  <a:pt x="3657" y="625"/>
                </a:lnTo>
                <a:lnTo>
                  <a:pt x="3659" y="637"/>
                </a:lnTo>
                <a:lnTo>
                  <a:pt x="3662" y="649"/>
                </a:lnTo>
                <a:lnTo>
                  <a:pt x="3665" y="659"/>
                </a:lnTo>
                <a:lnTo>
                  <a:pt x="3669" y="667"/>
                </a:lnTo>
                <a:lnTo>
                  <a:pt x="3674" y="675"/>
                </a:lnTo>
                <a:lnTo>
                  <a:pt x="3679" y="683"/>
                </a:lnTo>
                <a:lnTo>
                  <a:pt x="3685" y="689"/>
                </a:lnTo>
                <a:lnTo>
                  <a:pt x="3688" y="691"/>
                </a:lnTo>
                <a:lnTo>
                  <a:pt x="3692" y="693"/>
                </a:lnTo>
                <a:lnTo>
                  <a:pt x="3699" y="697"/>
                </a:lnTo>
                <a:lnTo>
                  <a:pt x="3706" y="699"/>
                </a:lnTo>
                <a:lnTo>
                  <a:pt x="3715" y="699"/>
                </a:lnTo>
                <a:lnTo>
                  <a:pt x="3723" y="699"/>
                </a:lnTo>
                <a:lnTo>
                  <a:pt x="3731" y="697"/>
                </a:lnTo>
                <a:lnTo>
                  <a:pt x="3738" y="693"/>
                </a:lnTo>
                <a:lnTo>
                  <a:pt x="3744" y="689"/>
                </a:lnTo>
                <a:lnTo>
                  <a:pt x="3750" y="683"/>
                </a:lnTo>
                <a:lnTo>
                  <a:pt x="3755" y="675"/>
                </a:lnTo>
                <a:lnTo>
                  <a:pt x="3760" y="667"/>
                </a:lnTo>
                <a:lnTo>
                  <a:pt x="3764" y="659"/>
                </a:lnTo>
                <a:lnTo>
                  <a:pt x="3768" y="649"/>
                </a:lnTo>
                <a:lnTo>
                  <a:pt x="3770" y="637"/>
                </a:lnTo>
                <a:lnTo>
                  <a:pt x="3773" y="625"/>
                </a:lnTo>
                <a:lnTo>
                  <a:pt x="3775" y="613"/>
                </a:lnTo>
                <a:lnTo>
                  <a:pt x="3776" y="597"/>
                </a:lnTo>
                <a:lnTo>
                  <a:pt x="3777" y="581"/>
                </a:lnTo>
                <a:lnTo>
                  <a:pt x="3778" y="563"/>
                </a:lnTo>
                <a:lnTo>
                  <a:pt x="3778" y="543"/>
                </a:lnTo>
                <a:lnTo>
                  <a:pt x="3778" y="18"/>
                </a:lnTo>
                <a:lnTo>
                  <a:pt x="3843" y="18"/>
                </a:lnTo>
                <a:lnTo>
                  <a:pt x="3843" y="549"/>
                </a:lnTo>
                <a:lnTo>
                  <a:pt x="3843" y="581"/>
                </a:lnTo>
                <a:lnTo>
                  <a:pt x="3842" y="595"/>
                </a:lnTo>
                <a:lnTo>
                  <a:pt x="3841" y="609"/>
                </a:lnTo>
                <a:lnTo>
                  <a:pt x="3838" y="635"/>
                </a:lnTo>
                <a:lnTo>
                  <a:pt x="3835" y="659"/>
                </a:lnTo>
                <a:lnTo>
                  <a:pt x="3833" y="669"/>
                </a:lnTo>
                <a:lnTo>
                  <a:pt x="3830" y="681"/>
                </a:lnTo>
                <a:lnTo>
                  <a:pt x="3825" y="701"/>
                </a:lnTo>
                <a:lnTo>
                  <a:pt x="3822" y="709"/>
                </a:lnTo>
                <a:lnTo>
                  <a:pt x="3819" y="719"/>
                </a:lnTo>
                <a:lnTo>
                  <a:pt x="3815" y="727"/>
                </a:lnTo>
                <a:lnTo>
                  <a:pt x="3812" y="735"/>
                </a:lnTo>
                <a:lnTo>
                  <a:pt x="3807" y="744"/>
                </a:lnTo>
                <a:lnTo>
                  <a:pt x="3802" y="752"/>
                </a:lnTo>
                <a:lnTo>
                  <a:pt x="3792" y="766"/>
                </a:lnTo>
                <a:lnTo>
                  <a:pt x="3781" y="778"/>
                </a:lnTo>
                <a:lnTo>
                  <a:pt x="3775" y="784"/>
                </a:lnTo>
                <a:lnTo>
                  <a:pt x="3769" y="788"/>
                </a:lnTo>
                <a:lnTo>
                  <a:pt x="3757" y="796"/>
                </a:lnTo>
                <a:lnTo>
                  <a:pt x="3750" y="800"/>
                </a:lnTo>
                <a:lnTo>
                  <a:pt x="3743" y="802"/>
                </a:lnTo>
                <a:lnTo>
                  <a:pt x="3729" y="806"/>
                </a:lnTo>
                <a:lnTo>
                  <a:pt x="3722" y="806"/>
                </a:lnTo>
                <a:lnTo>
                  <a:pt x="3715" y="806"/>
                </a:lnTo>
                <a:lnTo>
                  <a:pt x="3700" y="806"/>
                </a:lnTo>
                <a:lnTo>
                  <a:pt x="3686" y="802"/>
                </a:lnTo>
                <a:lnTo>
                  <a:pt x="3679" y="800"/>
                </a:lnTo>
                <a:lnTo>
                  <a:pt x="3673" y="796"/>
                </a:lnTo>
                <a:lnTo>
                  <a:pt x="3660" y="788"/>
                </a:lnTo>
                <a:lnTo>
                  <a:pt x="3648" y="778"/>
                </a:lnTo>
                <a:lnTo>
                  <a:pt x="3637" y="766"/>
                </a:lnTo>
                <a:lnTo>
                  <a:pt x="3627" y="750"/>
                </a:lnTo>
                <a:lnTo>
                  <a:pt x="3623" y="742"/>
                </a:lnTo>
                <a:lnTo>
                  <a:pt x="3618" y="735"/>
                </a:lnTo>
                <a:close/>
                <a:moveTo>
                  <a:pt x="4052" y="806"/>
                </a:moveTo>
                <a:lnTo>
                  <a:pt x="4036" y="806"/>
                </a:lnTo>
                <a:lnTo>
                  <a:pt x="4020" y="802"/>
                </a:lnTo>
                <a:lnTo>
                  <a:pt x="4006" y="796"/>
                </a:lnTo>
                <a:lnTo>
                  <a:pt x="4000" y="792"/>
                </a:lnTo>
                <a:lnTo>
                  <a:pt x="3993" y="788"/>
                </a:lnTo>
                <a:lnTo>
                  <a:pt x="3981" y="780"/>
                </a:lnTo>
                <a:lnTo>
                  <a:pt x="3975" y="774"/>
                </a:lnTo>
                <a:lnTo>
                  <a:pt x="3970" y="768"/>
                </a:lnTo>
                <a:lnTo>
                  <a:pt x="3960" y="756"/>
                </a:lnTo>
                <a:lnTo>
                  <a:pt x="3956" y="748"/>
                </a:lnTo>
                <a:lnTo>
                  <a:pt x="3951" y="740"/>
                </a:lnTo>
                <a:lnTo>
                  <a:pt x="3947" y="733"/>
                </a:lnTo>
                <a:lnTo>
                  <a:pt x="3943" y="725"/>
                </a:lnTo>
                <a:lnTo>
                  <a:pt x="3939" y="717"/>
                </a:lnTo>
                <a:lnTo>
                  <a:pt x="3936" y="707"/>
                </a:lnTo>
                <a:lnTo>
                  <a:pt x="3930" y="687"/>
                </a:lnTo>
                <a:lnTo>
                  <a:pt x="3926" y="667"/>
                </a:lnTo>
                <a:lnTo>
                  <a:pt x="3924" y="657"/>
                </a:lnTo>
                <a:lnTo>
                  <a:pt x="3922" y="645"/>
                </a:lnTo>
                <a:lnTo>
                  <a:pt x="3919" y="623"/>
                </a:lnTo>
                <a:lnTo>
                  <a:pt x="3918" y="599"/>
                </a:lnTo>
                <a:lnTo>
                  <a:pt x="3917" y="585"/>
                </a:lnTo>
                <a:lnTo>
                  <a:pt x="3917" y="573"/>
                </a:lnTo>
                <a:lnTo>
                  <a:pt x="3980" y="545"/>
                </a:lnTo>
                <a:lnTo>
                  <a:pt x="3981" y="567"/>
                </a:lnTo>
                <a:lnTo>
                  <a:pt x="3982" y="587"/>
                </a:lnTo>
                <a:lnTo>
                  <a:pt x="3984" y="603"/>
                </a:lnTo>
                <a:lnTo>
                  <a:pt x="3986" y="619"/>
                </a:lnTo>
                <a:lnTo>
                  <a:pt x="3988" y="627"/>
                </a:lnTo>
                <a:lnTo>
                  <a:pt x="3989" y="635"/>
                </a:lnTo>
                <a:lnTo>
                  <a:pt x="3993" y="647"/>
                </a:lnTo>
                <a:lnTo>
                  <a:pt x="3997" y="659"/>
                </a:lnTo>
                <a:lnTo>
                  <a:pt x="4001" y="667"/>
                </a:lnTo>
                <a:lnTo>
                  <a:pt x="4006" y="677"/>
                </a:lnTo>
                <a:lnTo>
                  <a:pt x="4012" y="683"/>
                </a:lnTo>
                <a:lnTo>
                  <a:pt x="4018" y="689"/>
                </a:lnTo>
                <a:lnTo>
                  <a:pt x="4025" y="693"/>
                </a:lnTo>
                <a:lnTo>
                  <a:pt x="4032" y="697"/>
                </a:lnTo>
                <a:lnTo>
                  <a:pt x="4039" y="699"/>
                </a:lnTo>
                <a:lnTo>
                  <a:pt x="4047" y="701"/>
                </a:lnTo>
                <a:lnTo>
                  <a:pt x="4056" y="701"/>
                </a:lnTo>
                <a:lnTo>
                  <a:pt x="4063" y="701"/>
                </a:lnTo>
                <a:lnTo>
                  <a:pt x="4070" y="699"/>
                </a:lnTo>
                <a:lnTo>
                  <a:pt x="4077" y="697"/>
                </a:lnTo>
                <a:lnTo>
                  <a:pt x="4083" y="695"/>
                </a:lnTo>
                <a:lnTo>
                  <a:pt x="4089" y="691"/>
                </a:lnTo>
                <a:lnTo>
                  <a:pt x="4095" y="685"/>
                </a:lnTo>
                <a:lnTo>
                  <a:pt x="4100" y="679"/>
                </a:lnTo>
                <a:lnTo>
                  <a:pt x="4105" y="673"/>
                </a:lnTo>
                <a:lnTo>
                  <a:pt x="4109" y="665"/>
                </a:lnTo>
                <a:lnTo>
                  <a:pt x="4113" y="657"/>
                </a:lnTo>
                <a:lnTo>
                  <a:pt x="4116" y="649"/>
                </a:lnTo>
                <a:lnTo>
                  <a:pt x="4119" y="639"/>
                </a:lnTo>
                <a:lnTo>
                  <a:pt x="4121" y="627"/>
                </a:lnTo>
                <a:lnTo>
                  <a:pt x="4122" y="623"/>
                </a:lnTo>
                <a:lnTo>
                  <a:pt x="4123" y="617"/>
                </a:lnTo>
                <a:lnTo>
                  <a:pt x="4124" y="605"/>
                </a:lnTo>
                <a:lnTo>
                  <a:pt x="4124" y="591"/>
                </a:lnTo>
                <a:lnTo>
                  <a:pt x="4124" y="581"/>
                </a:lnTo>
                <a:lnTo>
                  <a:pt x="4123" y="571"/>
                </a:lnTo>
                <a:lnTo>
                  <a:pt x="4122" y="563"/>
                </a:lnTo>
                <a:lnTo>
                  <a:pt x="4121" y="553"/>
                </a:lnTo>
                <a:lnTo>
                  <a:pt x="4119" y="545"/>
                </a:lnTo>
                <a:lnTo>
                  <a:pt x="4117" y="537"/>
                </a:lnTo>
                <a:lnTo>
                  <a:pt x="4115" y="529"/>
                </a:lnTo>
                <a:lnTo>
                  <a:pt x="4112" y="521"/>
                </a:lnTo>
                <a:lnTo>
                  <a:pt x="4104" y="505"/>
                </a:lnTo>
                <a:lnTo>
                  <a:pt x="4100" y="497"/>
                </a:lnTo>
                <a:lnTo>
                  <a:pt x="4095" y="491"/>
                </a:lnTo>
                <a:lnTo>
                  <a:pt x="4084" y="477"/>
                </a:lnTo>
                <a:lnTo>
                  <a:pt x="4071" y="465"/>
                </a:lnTo>
                <a:lnTo>
                  <a:pt x="4007" y="407"/>
                </a:lnTo>
                <a:lnTo>
                  <a:pt x="3998" y="399"/>
                </a:lnTo>
                <a:lnTo>
                  <a:pt x="3988" y="389"/>
                </a:lnTo>
                <a:lnTo>
                  <a:pt x="3972" y="369"/>
                </a:lnTo>
                <a:lnTo>
                  <a:pt x="3958" y="349"/>
                </a:lnTo>
                <a:lnTo>
                  <a:pt x="3953" y="337"/>
                </a:lnTo>
                <a:lnTo>
                  <a:pt x="3947" y="325"/>
                </a:lnTo>
                <a:lnTo>
                  <a:pt x="3942" y="313"/>
                </a:lnTo>
                <a:lnTo>
                  <a:pt x="3937" y="299"/>
                </a:lnTo>
                <a:lnTo>
                  <a:pt x="3934" y="285"/>
                </a:lnTo>
                <a:lnTo>
                  <a:pt x="3931" y="269"/>
                </a:lnTo>
                <a:lnTo>
                  <a:pt x="3929" y="253"/>
                </a:lnTo>
                <a:lnTo>
                  <a:pt x="3928" y="246"/>
                </a:lnTo>
                <a:lnTo>
                  <a:pt x="3927" y="238"/>
                </a:lnTo>
                <a:lnTo>
                  <a:pt x="3927" y="220"/>
                </a:lnTo>
                <a:lnTo>
                  <a:pt x="3926" y="200"/>
                </a:lnTo>
                <a:lnTo>
                  <a:pt x="3926" y="188"/>
                </a:lnTo>
                <a:lnTo>
                  <a:pt x="3927" y="176"/>
                </a:lnTo>
                <a:lnTo>
                  <a:pt x="3928" y="164"/>
                </a:lnTo>
                <a:lnTo>
                  <a:pt x="3929" y="152"/>
                </a:lnTo>
                <a:lnTo>
                  <a:pt x="3930" y="142"/>
                </a:lnTo>
                <a:lnTo>
                  <a:pt x="3932" y="132"/>
                </a:lnTo>
                <a:lnTo>
                  <a:pt x="3936" y="112"/>
                </a:lnTo>
                <a:lnTo>
                  <a:pt x="3939" y="102"/>
                </a:lnTo>
                <a:lnTo>
                  <a:pt x="3942" y="94"/>
                </a:lnTo>
                <a:lnTo>
                  <a:pt x="3949" y="78"/>
                </a:lnTo>
                <a:lnTo>
                  <a:pt x="3957" y="62"/>
                </a:lnTo>
                <a:lnTo>
                  <a:pt x="3961" y="56"/>
                </a:lnTo>
                <a:lnTo>
                  <a:pt x="3965" y="50"/>
                </a:lnTo>
                <a:lnTo>
                  <a:pt x="3974" y="38"/>
                </a:lnTo>
                <a:lnTo>
                  <a:pt x="3984" y="28"/>
                </a:lnTo>
                <a:lnTo>
                  <a:pt x="3994" y="20"/>
                </a:lnTo>
                <a:lnTo>
                  <a:pt x="4005" y="12"/>
                </a:lnTo>
                <a:lnTo>
                  <a:pt x="4017" y="6"/>
                </a:lnTo>
                <a:lnTo>
                  <a:pt x="4029" y="4"/>
                </a:lnTo>
                <a:lnTo>
                  <a:pt x="4042" y="0"/>
                </a:lnTo>
                <a:lnTo>
                  <a:pt x="4055" y="0"/>
                </a:lnTo>
                <a:lnTo>
                  <a:pt x="4070" y="2"/>
                </a:lnTo>
                <a:lnTo>
                  <a:pt x="4085" y="4"/>
                </a:lnTo>
                <a:lnTo>
                  <a:pt x="4098" y="10"/>
                </a:lnTo>
                <a:lnTo>
                  <a:pt x="4104" y="14"/>
                </a:lnTo>
                <a:lnTo>
                  <a:pt x="4110" y="18"/>
                </a:lnTo>
                <a:lnTo>
                  <a:pt x="4122" y="26"/>
                </a:lnTo>
                <a:lnTo>
                  <a:pt x="4132" y="38"/>
                </a:lnTo>
                <a:lnTo>
                  <a:pt x="4141" y="50"/>
                </a:lnTo>
                <a:lnTo>
                  <a:pt x="4149" y="64"/>
                </a:lnTo>
                <a:lnTo>
                  <a:pt x="4153" y="72"/>
                </a:lnTo>
                <a:lnTo>
                  <a:pt x="4156" y="78"/>
                </a:lnTo>
                <a:lnTo>
                  <a:pt x="4159" y="86"/>
                </a:lnTo>
                <a:lnTo>
                  <a:pt x="4162" y="94"/>
                </a:lnTo>
                <a:lnTo>
                  <a:pt x="4167" y="112"/>
                </a:lnTo>
                <a:lnTo>
                  <a:pt x="4172" y="128"/>
                </a:lnTo>
                <a:lnTo>
                  <a:pt x="4175" y="146"/>
                </a:lnTo>
                <a:lnTo>
                  <a:pt x="4177" y="166"/>
                </a:lnTo>
                <a:lnTo>
                  <a:pt x="4179" y="184"/>
                </a:lnTo>
                <a:lnTo>
                  <a:pt x="4179" y="202"/>
                </a:lnTo>
                <a:lnTo>
                  <a:pt x="4117" y="228"/>
                </a:lnTo>
                <a:lnTo>
                  <a:pt x="4117" y="212"/>
                </a:lnTo>
                <a:lnTo>
                  <a:pt x="4115" y="198"/>
                </a:lnTo>
                <a:lnTo>
                  <a:pt x="4114" y="186"/>
                </a:lnTo>
                <a:lnTo>
                  <a:pt x="4112" y="172"/>
                </a:lnTo>
                <a:lnTo>
                  <a:pt x="4109" y="162"/>
                </a:lnTo>
                <a:lnTo>
                  <a:pt x="4106" y="152"/>
                </a:lnTo>
                <a:lnTo>
                  <a:pt x="4103" y="142"/>
                </a:lnTo>
                <a:lnTo>
                  <a:pt x="4099" y="136"/>
                </a:lnTo>
                <a:lnTo>
                  <a:pt x="4095" y="128"/>
                </a:lnTo>
                <a:lnTo>
                  <a:pt x="4090" y="122"/>
                </a:lnTo>
                <a:lnTo>
                  <a:pt x="4085" y="118"/>
                </a:lnTo>
                <a:lnTo>
                  <a:pt x="4079" y="114"/>
                </a:lnTo>
                <a:lnTo>
                  <a:pt x="4073" y="110"/>
                </a:lnTo>
                <a:lnTo>
                  <a:pt x="4067" y="108"/>
                </a:lnTo>
                <a:lnTo>
                  <a:pt x="4060" y="108"/>
                </a:lnTo>
                <a:lnTo>
                  <a:pt x="4052" y="106"/>
                </a:lnTo>
                <a:lnTo>
                  <a:pt x="4040" y="108"/>
                </a:lnTo>
                <a:lnTo>
                  <a:pt x="4028" y="112"/>
                </a:lnTo>
                <a:lnTo>
                  <a:pt x="4023" y="116"/>
                </a:lnTo>
                <a:lnTo>
                  <a:pt x="4018" y="120"/>
                </a:lnTo>
                <a:lnTo>
                  <a:pt x="4013" y="124"/>
                </a:lnTo>
                <a:lnTo>
                  <a:pt x="4009" y="128"/>
                </a:lnTo>
                <a:lnTo>
                  <a:pt x="4005" y="134"/>
                </a:lnTo>
                <a:lnTo>
                  <a:pt x="4002" y="140"/>
                </a:lnTo>
                <a:lnTo>
                  <a:pt x="3999" y="148"/>
                </a:lnTo>
                <a:lnTo>
                  <a:pt x="3996" y="156"/>
                </a:lnTo>
                <a:lnTo>
                  <a:pt x="3994" y="164"/>
                </a:lnTo>
                <a:lnTo>
                  <a:pt x="3993" y="174"/>
                </a:lnTo>
                <a:lnTo>
                  <a:pt x="3992" y="184"/>
                </a:lnTo>
                <a:lnTo>
                  <a:pt x="3992" y="194"/>
                </a:lnTo>
                <a:lnTo>
                  <a:pt x="3992" y="204"/>
                </a:lnTo>
                <a:lnTo>
                  <a:pt x="3992" y="214"/>
                </a:lnTo>
                <a:lnTo>
                  <a:pt x="3993" y="224"/>
                </a:lnTo>
                <a:lnTo>
                  <a:pt x="3994" y="232"/>
                </a:lnTo>
                <a:lnTo>
                  <a:pt x="3996" y="240"/>
                </a:lnTo>
                <a:lnTo>
                  <a:pt x="3998" y="248"/>
                </a:lnTo>
                <a:lnTo>
                  <a:pt x="4001" y="255"/>
                </a:lnTo>
                <a:lnTo>
                  <a:pt x="4003" y="261"/>
                </a:lnTo>
                <a:lnTo>
                  <a:pt x="4007" y="267"/>
                </a:lnTo>
                <a:lnTo>
                  <a:pt x="4010" y="273"/>
                </a:lnTo>
                <a:lnTo>
                  <a:pt x="4019" y="285"/>
                </a:lnTo>
                <a:lnTo>
                  <a:pt x="4029" y="297"/>
                </a:lnTo>
                <a:lnTo>
                  <a:pt x="4041" y="309"/>
                </a:lnTo>
                <a:lnTo>
                  <a:pt x="4103" y="363"/>
                </a:lnTo>
                <a:lnTo>
                  <a:pt x="4113" y="373"/>
                </a:lnTo>
                <a:lnTo>
                  <a:pt x="4123" y="383"/>
                </a:lnTo>
                <a:lnTo>
                  <a:pt x="4133" y="393"/>
                </a:lnTo>
                <a:lnTo>
                  <a:pt x="4141" y="405"/>
                </a:lnTo>
                <a:lnTo>
                  <a:pt x="4149" y="417"/>
                </a:lnTo>
                <a:lnTo>
                  <a:pt x="4156" y="427"/>
                </a:lnTo>
                <a:lnTo>
                  <a:pt x="4162" y="441"/>
                </a:lnTo>
                <a:lnTo>
                  <a:pt x="4168" y="453"/>
                </a:lnTo>
                <a:lnTo>
                  <a:pt x="4173" y="467"/>
                </a:lnTo>
                <a:lnTo>
                  <a:pt x="4177" y="481"/>
                </a:lnTo>
                <a:lnTo>
                  <a:pt x="4181" y="495"/>
                </a:lnTo>
                <a:lnTo>
                  <a:pt x="4184" y="511"/>
                </a:lnTo>
                <a:lnTo>
                  <a:pt x="4186" y="527"/>
                </a:lnTo>
                <a:lnTo>
                  <a:pt x="4187" y="537"/>
                </a:lnTo>
                <a:lnTo>
                  <a:pt x="4187" y="545"/>
                </a:lnTo>
                <a:lnTo>
                  <a:pt x="4188" y="563"/>
                </a:lnTo>
                <a:lnTo>
                  <a:pt x="4189" y="583"/>
                </a:lnTo>
                <a:lnTo>
                  <a:pt x="4188" y="609"/>
                </a:lnTo>
                <a:lnTo>
                  <a:pt x="4186" y="633"/>
                </a:lnTo>
                <a:lnTo>
                  <a:pt x="4185" y="645"/>
                </a:lnTo>
                <a:lnTo>
                  <a:pt x="4183" y="655"/>
                </a:lnTo>
                <a:lnTo>
                  <a:pt x="4181" y="667"/>
                </a:lnTo>
                <a:lnTo>
                  <a:pt x="4179" y="677"/>
                </a:lnTo>
                <a:lnTo>
                  <a:pt x="4177" y="687"/>
                </a:lnTo>
                <a:lnTo>
                  <a:pt x="4174" y="697"/>
                </a:lnTo>
                <a:lnTo>
                  <a:pt x="4167" y="715"/>
                </a:lnTo>
                <a:lnTo>
                  <a:pt x="4164" y="723"/>
                </a:lnTo>
                <a:lnTo>
                  <a:pt x="4160" y="733"/>
                </a:lnTo>
                <a:lnTo>
                  <a:pt x="4152" y="746"/>
                </a:lnTo>
                <a:lnTo>
                  <a:pt x="4147" y="754"/>
                </a:lnTo>
                <a:lnTo>
                  <a:pt x="4142" y="760"/>
                </a:lnTo>
                <a:lnTo>
                  <a:pt x="4137" y="766"/>
                </a:lnTo>
                <a:lnTo>
                  <a:pt x="4132" y="772"/>
                </a:lnTo>
                <a:lnTo>
                  <a:pt x="4121" y="782"/>
                </a:lnTo>
                <a:lnTo>
                  <a:pt x="4109" y="790"/>
                </a:lnTo>
                <a:lnTo>
                  <a:pt x="4096" y="798"/>
                </a:lnTo>
                <a:lnTo>
                  <a:pt x="4082" y="802"/>
                </a:lnTo>
                <a:lnTo>
                  <a:pt x="4075" y="804"/>
                </a:lnTo>
                <a:lnTo>
                  <a:pt x="4068" y="804"/>
                </a:lnTo>
                <a:lnTo>
                  <a:pt x="4052" y="806"/>
                </a:lnTo>
                <a:close/>
                <a:moveTo>
                  <a:pt x="1669" y="1273"/>
                </a:moveTo>
                <a:lnTo>
                  <a:pt x="1669" y="1936"/>
                </a:lnTo>
                <a:lnTo>
                  <a:pt x="1604" y="1936"/>
                </a:lnTo>
                <a:lnTo>
                  <a:pt x="1604" y="1273"/>
                </a:lnTo>
                <a:lnTo>
                  <a:pt x="1506" y="1273"/>
                </a:lnTo>
                <a:lnTo>
                  <a:pt x="1506" y="1166"/>
                </a:lnTo>
                <a:lnTo>
                  <a:pt x="1767" y="1166"/>
                </a:lnTo>
                <a:lnTo>
                  <a:pt x="1767" y="1273"/>
                </a:lnTo>
                <a:lnTo>
                  <a:pt x="1669" y="1273"/>
                </a:lnTo>
                <a:close/>
                <a:moveTo>
                  <a:pt x="1832" y="1936"/>
                </a:moveTo>
                <a:lnTo>
                  <a:pt x="1832" y="1166"/>
                </a:lnTo>
                <a:lnTo>
                  <a:pt x="2060" y="1166"/>
                </a:lnTo>
                <a:lnTo>
                  <a:pt x="2060" y="1273"/>
                </a:lnTo>
                <a:lnTo>
                  <a:pt x="1897" y="1273"/>
                </a:lnTo>
                <a:lnTo>
                  <a:pt x="1897" y="1489"/>
                </a:lnTo>
                <a:lnTo>
                  <a:pt x="2030" y="1489"/>
                </a:lnTo>
                <a:lnTo>
                  <a:pt x="2030" y="1593"/>
                </a:lnTo>
                <a:lnTo>
                  <a:pt x="1897" y="1593"/>
                </a:lnTo>
                <a:lnTo>
                  <a:pt x="1897" y="1828"/>
                </a:lnTo>
                <a:lnTo>
                  <a:pt x="2060" y="1828"/>
                </a:lnTo>
                <a:lnTo>
                  <a:pt x="2060" y="1936"/>
                </a:lnTo>
                <a:lnTo>
                  <a:pt x="1832" y="1936"/>
                </a:lnTo>
                <a:close/>
                <a:moveTo>
                  <a:pt x="2260" y="1954"/>
                </a:moveTo>
                <a:lnTo>
                  <a:pt x="2251" y="1954"/>
                </a:lnTo>
                <a:lnTo>
                  <a:pt x="2242" y="1952"/>
                </a:lnTo>
                <a:lnTo>
                  <a:pt x="2234" y="1950"/>
                </a:lnTo>
                <a:lnTo>
                  <a:pt x="2226" y="1948"/>
                </a:lnTo>
                <a:lnTo>
                  <a:pt x="2218" y="1944"/>
                </a:lnTo>
                <a:lnTo>
                  <a:pt x="2211" y="1938"/>
                </a:lnTo>
                <a:lnTo>
                  <a:pt x="2204" y="1932"/>
                </a:lnTo>
                <a:lnTo>
                  <a:pt x="2197" y="1926"/>
                </a:lnTo>
                <a:lnTo>
                  <a:pt x="2190" y="1920"/>
                </a:lnTo>
                <a:lnTo>
                  <a:pt x="2184" y="1912"/>
                </a:lnTo>
                <a:lnTo>
                  <a:pt x="2178" y="1902"/>
                </a:lnTo>
                <a:lnTo>
                  <a:pt x="2172" y="1892"/>
                </a:lnTo>
                <a:lnTo>
                  <a:pt x="2166" y="1882"/>
                </a:lnTo>
                <a:lnTo>
                  <a:pt x="2161" y="1872"/>
                </a:lnTo>
                <a:lnTo>
                  <a:pt x="2156" y="1860"/>
                </a:lnTo>
                <a:lnTo>
                  <a:pt x="2151" y="1846"/>
                </a:lnTo>
                <a:lnTo>
                  <a:pt x="2147" y="1834"/>
                </a:lnTo>
                <a:lnTo>
                  <a:pt x="2143" y="1820"/>
                </a:lnTo>
                <a:lnTo>
                  <a:pt x="2139" y="1804"/>
                </a:lnTo>
                <a:lnTo>
                  <a:pt x="2135" y="1788"/>
                </a:lnTo>
                <a:lnTo>
                  <a:pt x="2132" y="1772"/>
                </a:lnTo>
                <a:lnTo>
                  <a:pt x="2129" y="1756"/>
                </a:lnTo>
                <a:lnTo>
                  <a:pt x="2126" y="1738"/>
                </a:lnTo>
                <a:lnTo>
                  <a:pt x="2124" y="1720"/>
                </a:lnTo>
                <a:lnTo>
                  <a:pt x="2121" y="1701"/>
                </a:lnTo>
                <a:lnTo>
                  <a:pt x="2120" y="1681"/>
                </a:lnTo>
                <a:lnTo>
                  <a:pt x="2118" y="1661"/>
                </a:lnTo>
                <a:lnTo>
                  <a:pt x="2117" y="1641"/>
                </a:lnTo>
                <a:lnTo>
                  <a:pt x="2115" y="1597"/>
                </a:lnTo>
                <a:lnTo>
                  <a:pt x="2114" y="1575"/>
                </a:lnTo>
                <a:lnTo>
                  <a:pt x="2114" y="1551"/>
                </a:lnTo>
                <a:lnTo>
                  <a:pt x="2115" y="1505"/>
                </a:lnTo>
                <a:lnTo>
                  <a:pt x="2117" y="1461"/>
                </a:lnTo>
                <a:lnTo>
                  <a:pt x="2118" y="1441"/>
                </a:lnTo>
                <a:lnTo>
                  <a:pt x="2120" y="1421"/>
                </a:lnTo>
                <a:lnTo>
                  <a:pt x="2124" y="1383"/>
                </a:lnTo>
                <a:lnTo>
                  <a:pt x="2126" y="1363"/>
                </a:lnTo>
                <a:lnTo>
                  <a:pt x="2129" y="1347"/>
                </a:lnTo>
                <a:lnTo>
                  <a:pt x="2135" y="1313"/>
                </a:lnTo>
                <a:lnTo>
                  <a:pt x="2139" y="1297"/>
                </a:lnTo>
                <a:lnTo>
                  <a:pt x="2143" y="1283"/>
                </a:lnTo>
                <a:lnTo>
                  <a:pt x="2147" y="1269"/>
                </a:lnTo>
                <a:lnTo>
                  <a:pt x="2151" y="1255"/>
                </a:lnTo>
                <a:lnTo>
                  <a:pt x="2156" y="1243"/>
                </a:lnTo>
                <a:lnTo>
                  <a:pt x="2161" y="1231"/>
                </a:lnTo>
                <a:lnTo>
                  <a:pt x="2166" y="1220"/>
                </a:lnTo>
                <a:lnTo>
                  <a:pt x="2172" y="1210"/>
                </a:lnTo>
                <a:lnTo>
                  <a:pt x="2178" y="1200"/>
                </a:lnTo>
                <a:lnTo>
                  <a:pt x="2184" y="1192"/>
                </a:lnTo>
                <a:lnTo>
                  <a:pt x="2197" y="1176"/>
                </a:lnTo>
                <a:lnTo>
                  <a:pt x="2204" y="1170"/>
                </a:lnTo>
                <a:lnTo>
                  <a:pt x="2211" y="1164"/>
                </a:lnTo>
                <a:lnTo>
                  <a:pt x="2218" y="1160"/>
                </a:lnTo>
                <a:lnTo>
                  <a:pt x="2226" y="1156"/>
                </a:lnTo>
                <a:lnTo>
                  <a:pt x="2234" y="1152"/>
                </a:lnTo>
                <a:lnTo>
                  <a:pt x="2242" y="1150"/>
                </a:lnTo>
                <a:lnTo>
                  <a:pt x="2251" y="1148"/>
                </a:lnTo>
                <a:lnTo>
                  <a:pt x="2260" y="1148"/>
                </a:lnTo>
                <a:lnTo>
                  <a:pt x="2268" y="1148"/>
                </a:lnTo>
                <a:lnTo>
                  <a:pt x="2277" y="1150"/>
                </a:lnTo>
                <a:lnTo>
                  <a:pt x="2285" y="1152"/>
                </a:lnTo>
                <a:lnTo>
                  <a:pt x="2293" y="1156"/>
                </a:lnTo>
                <a:lnTo>
                  <a:pt x="2301" y="1160"/>
                </a:lnTo>
                <a:lnTo>
                  <a:pt x="2308" y="1164"/>
                </a:lnTo>
                <a:lnTo>
                  <a:pt x="2316" y="1170"/>
                </a:lnTo>
                <a:lnTo>
                  <a:pt x="2323" y="1176"/>
                </a:lnTo>
                <a:lnTo>
                  <a:pt x="2329" y="1184"/>
                </a:lnTo>
                <a:lnTo>
                  <a:pt x="2336" y="1192"/>
                </a:lnTo>
                <a:lnTo>
                  <a:pt x="2342" y="1200"/>
                </a:lnTo>
                <a:lnTo>
                  <a:pt x="2348" y="1210"/>
                </a:lnTo>
                <a:lnTo>
                  <a:pt x="2353" y="1220"/>
                </a:lnTo>
                <a:lnTo>
                  <a:pt x="2359" y="1229"/>
                </a:lnTo>
                <a:lnTo>
                  <a:pt x="2364" y="1241"/>
                </a:lnTo>
                <a:lnTo>
                  <a:pt x="2368" y="1255"/>
                </a:lnTo>
                <a:lnTo>
                  <a:pt x="2377" y="1283"/>
                </a:lnTo>
                <a:lnTo>
                  <a:pt x="2381" y="1297"/>
                </a:lnTo>
                <a:lnTo>
                  <a:pt x="2385" y="1313"/>
                </a:lnTo>
                <a:lnTo>
                  <a:pt x="2391" y="1345"/>
                </a:lnTo>
                <a:lnTo>
                  <a:pt x="2394" y="1363"/>
                </a:lnTo>
                <a:lnTo>
                  <a:pt x="2396" y="1381"/>
                </a:lnTo>
                <a:lnTo>
                  <a:pt x="2398" y="1401"/>
                </a:lnTo>
                <a:lnTo>
                  <a:pt x="2400" y="1421"/>
                </a:lnTo>
                <a:lnTo>
                  <a:pt x="2402" y="1441"/>
                </a:lnTo>
                <a:lnTo>
                  <a:pt x="2403" y="1461"/>
                </a:lnTo>
                <a:lnTo>
                  <a:pt x="2404" y="1483"/>
                </a:lnTo>
                <a:lnTo>
                  <a:pt x="2405" y="1505"/>
                </a:lnTo>
                <a:lnTo>
                  <a:pt x="2405" y="1527"/>
                </a:lnTo>
                <a:lnTo>
                  <a:pt x="2406" y="1551"/>
                </a:lnTo>
                <a:lnTo>
                  <a:pt x="2405" y="1597"/>
                </a:lnTo>
                <a:lnTo>
                  <a:pt x="2403" y="1641"/>
                </a:lnTo>
                <a:lnTo>
                  <a:pt x="2402" y="1663"/>
                </a:lnTo>
                <a:lnTo>
                  <a:pt x="2400" y="1683"/>
                </a:lnTo>
                <a:lnTo>
                  <a:pt x="2396" y="1720"/>
                </a:lnTo>
                <a:lnTo>
                  <a:pt x="2394" y="1738"/>
                </a:lnTo>
                <a:lnTo>
                  <a:pt x="2391" y="1756"/>
                </a:lnTo>
                <a:lnTo>
                  <a:pt x="2388" y="1772"/>
                </a:lnTo>
                <a:lnTo>
                  <a:pt x="2385" y="1790"/>
                </a:lnTo>
                <a:lnTo>
                  <a:pt x="2381" y="1804"/>
                </a:lnTo>
                <a:lnTo>
                  <a:pt x="2377" y="1820"/>
                </a:lnTo>
                <a:lnTo>
                  <a:pt x="2373" y="1834"/>
                </a:lnTo>
                <a:lnTo>
                  <a:pt x="2368" y="1846"/>
                </a:lnTo>
                <a:lnTo>
                  <a:pt x="2364" y="1860"/>
                </a:lnTo>
                <a:lnTo>
                  <a:pt x="2359" y="1872"/>
                </a:lnTo>
                <a:lnTo>
                  <a:pt x="2353" y="1882"/>
                </a:lnTo>
                <a:lnTo>
                  <a:pt x="2348" y="1894"/>
                </a:lnTo>
                <a:lnTo>
                  <a:pt x="2342" y="1902"/>
                </a:lnTo>
                <a:lnTo>
                  <a:pt x="2336" y="1912"/>
                </a:lnTo>
                <a:lnTo>
                  <a:pt x="2329" y="1920"/>
                </a:lnTo>
                <a:lnTo>
                  <a:pt x="2323" y="1926"/>
                </a:lnTo>
                <a:lnTo>
                  <a:pt x="2316" y="1934"/>
                </a:lnTo>
                <a:lnTo>
                  <a:pt x="2308" y="1938"/>
                </a:lnTo>
                <a:lnTo>
                  <a:pt x="2301" y="1944"/>
                </a:lnTo>
                <a:lnTo>
                  <a:pt x="2293" y="1948"/>
                </a:lnTo>
                <a:lnTo>
                  <a:pt x="2285" y="1950"/>
                </a:lnTo>
                <a:lnTo>
                  <a:pt x="2277" y="1952"/>
                </a:lnTo>
                <a:lnTo>
                  <a:pt x="2268" y="1954"/>
                </a:lnTo>
                <a:lnTo>
                  <a:pt x="2260" y="1954"/>
                </a:lnTo>
                <a:close/>
                <a:moveTo>
                  <a:pt x="2260" y="1257"/>
                </a:moveTo>
                <a:lnTo>
                  <a:pt x="2251" y="1257"/>
                </a:lnTo>
                <a:lnTo>
                  <a:pt x="2246" y="1259"/>
                </a:lnTo>
                <a:lnTo>
                  <a:pt x="2242" y="1259"/>
                </a:lnTo>
                <a:lnTo>
                  <a:pt x="2234" y="1265"/>
                </a:lnTo>
                <a:lnTo>
                  <a:pt x="2227" y="1271"/>
                </a:lnTo>
                <a:lnTo>
                  <a:pt x="2223" y="1275"/>
                </a:lnTo>
                <a:lnTo>
                  <a:pt x="2220" y="1281"/>
                </a:lnTo>
                <a:lnTo>
                  <a:pt x="2216" y="1287"/>
                </a:lnTo>
                <a:lnTo>
                  <a:pt x="2213" y="1293"/>
                </a:lnTo>
                <a:lnTo>
                  <a:pt x="2210" y="1299"/>
                </a:lnTo>
                <a:lnTo>
                  <a:pt x="2207" y="1307"/>
                </a:lnTo>
                <a:lnTo>
                  <a:pt x="2201" y="1323"/>
                </a:lnTo>
                <a:lnTo>
                  <a:pt x="2199" y="1331"/>
                </a:lnTo>
                <a:lnTo>
                  <a:pt x="2196" y="1341"/>
                </a:lnTo>
                <a:lnTo>
                  <a:pt x="2192" y="1363"/>
                </a:lnTo>
                <a:lnTo>
                  <a:pt x="2188" y="1387"/>
                </a:lnTo>
                <a:lnTo>
                  <a:pt x="2187" y="1399"/>
                </a:lnTo>
                <a:lnTo>
                  <a:pt x="2185" y="1413"/>
                </a:lnTo>
                <a:lnTo>
                  <a:pt x="2183" y="1443"/>
                </a:lnTo>
                <a:lnTo>
                  <a:pt x="2181" y="1477"/>
                </a:lnTo>
                <a:lnTo>
                  <a:pt x="2180" y="1513"/>
                </a:lnTo>
                <a:lnTo>
                  <a:pt x="2180" y="1551"/>
                </a:lnTo>
                <a:lnTo>
                  <a:pt x="2180" y="1591"/>
                </a:lnTo>
                <a:lnTo>
                  <a:pt x="2181" y="1627"/>
                </a:lnTo>
                <a:lnTo>
                  <a:pt x="2183" y="1659"/>
                </a:lnTo>
                <a:lnTo>
                  <a:pt x="2185" y="1689"/>
                </a:lnTo>
                <a:lnTo>
                  <a:pt x="2188" y="1714"/>
                </a:lnTo>
                <a:lnTo>
                  <a:pt x="2192" y="1738"/>
                </a:lnTo>
                <a:lnTo>
                  <a:pt x="2196" y="1760"/>
                </a:lnTo>
                <a:lnTo>
                  <a:pt x="2201" y="1780"/>
                </a:lnTo>
                <a:lnTo>
                  <a:pt x="2207" y="1796"/>
                </a:lnTo>
                <a:lnTo>
                  <a:pt x="2213" y="1810"/>
                </a:lnTo>
                <a:lnTo>
                  <a:pt x="2220" y="1820"/>
                </a:lnTo>
                <a:lnTo>
                  <a:pt x="2227" y="1830"/>
                </a:lnTo>
                <a:lnTo>
                  <a:pt x="2234" y="1836"/>
                </a:lnTo>
                <a:lnTo>
                  <a:pt x="2242" y="1842"/>
                </a:lnTo>
                <a:lnTo>
                  <a:pt x="2251" y="1844"/>
                </a:lnTo>
                <a:lnTo>
                  <a:pt x="2260" y="1846"/>
                </a:lnTo>
                <a:lnTo>
                  <a:pt x="2269" y="1844"/>
                </a:lnTo>
                <a:lnTo>
                  <a:pt x="2273" y="1844"/>
                </a:lnTo>
                <a:lnTo>
                  <a:pt x="2277" y="1842"/>
                </a:lnTo>
                <a:lnTo>
                  <a:pt x="2285" y="1836"/>
                </a:lnTo>
                <a:lnTo>
                  <a:pt x="2293" y="1830"/>
                </a:lnTo>
                <a:lnTo>
                  <a:pt x="2296" y="1826"/>
                </a:lnTo>
                <a:lnTo>
                  <a:pt x="2300" y="1820"/>
                </a:lnTo>
                <a:lnTo>
                  <a:pt x="2306" y="1808"/>
                </a:lnTo>
                <a:lnTo>
                  <a:pt x="2309" y="1802"/>
                </a:lnTo>
                <a:lnTo>
                  <a:pt x="2312" y="1796"/>
                </a:lnTo>
                <a:lnTo>
                  <a:pt x="2318" y="1778"/>
                </a:lnTo>
                <a:lnTo>
                  <a:pt x="2320" y="1770"/>
                </a:lnTo>
                <a:lnTo>
                  <a:pt x="2323" y="1760"/>
                </a:lnTo>
                <a:lnTo>
                  <a:pt x="2327" y="1738"/>
                </a:lnTo>
                <a:lnTo>
                  <a:pt x="2331" y="1714"/>
                </a:lnTo>
                <a:lnTo>
                  <a:pt x="2332" y="1703"/>
                </a:lnTo>
                <a:lnTo>
                  <a:pt x="2334" y="1689"/>
                </a:lnTo>
                <a:lnTo>
                  <a:pt x="2336" y="1659"/>
                </a:lnTo>
                <a:lnTo>
                  <a:pt x="2338" y="1625"/>
                </a:lnTo>
                <a:lnTo>
                  <a:pt x="2339" y="1591"/>
                </a:lnTo>
                <a:lnTo>
                  <a:pt x="2340" y="1551"/>
                </a:lnTo>
                <a:lnTo>
                  <a:pt x="2339" y="1513"/>
                </a:lnTo>
                <a:lnTo>
                  <a:pt x="2338" y="1477"/>
                </a:lnTo>
                <a:lnTo>
                  <a:pt x="2336" y="1443"/>
                </a:lnTo>
                <a:lnTo>
                  <a:pt x="2334" y="1415"/>
                </a:lnTo>
                <a:lnTo>
                  <a:pt x="2331" y="1387"/>
                </a:lnTo>
                <a:lnTo>
                  <a:pt x="2327" y="1363"/>
                </a:lnTo>
                <a:lnTo>
                  <a:pt x="2323" y="1341"/>
                </a:lnTo>
                <a:lnTo>
                  <a:pt x="2318" y="1323"/>
                </a:lnTo>
                <a:lnTo>
                  <a:pt x="2312" y="1307"/>
                </a:lnTo>
                <a:lnTo>
                  <a:pt x="2306" y="1293"/>
                </a:lnTo>
                <a:lnTo>
                  <a:pt x="2300" y="1281"/>
                </a:lnTo>
                <a:lnTo>
                  <a:pt x="2293" y="1271"/>
                </a:lnTo>
                <a:lnTo>
                  <a:pt x="2285" y="1265"/>
                </a:lnTo>
                <a:lnTo>
                  <a:pt x="2277" y="1259"/>
                </a:lnTo>
                <a:lnTo>
                  <a:pt x="2273" y="1259"/>
                </a:lnTo>
                <a:lnTo>
                  <a:pt x="2269" y="1257"/>
                </a:lnTo>
                <a:lnTo>
                  <a:pt x="2260" y="1257"/>
                </a:lnTo>
                <a:close/>
                <a:moveTo>
                  <a:pt x="2485" y="1936"/>
                </a:moveTo>
                <a:lnTo>
                  <a:pt x="2485" y="1166"/>
                </a:lnTo>
                <a:lnTo>
                  <a:pt x="2549" y="1166"/>
                </a:lnTo>
                <a:lnTo>
                  <a:pt x="2549" y="1828"/>
                </a:lnTo>
                <a:lnTo>
                  <a:pt x="2709" y="1828"/>
                </a:lnTo>
                <a:lnTo>
                  <a:pt x="2709" y="1936"/>
                </a:lnTo>
                <a:lnTo>
                  <a:pt x="2485" y="1936"/>
                </a:lnTo>
                <a:close/>
                <a:moveTo>
                  <a:pt x="2769" y="1936"/>
                </a:moveTo>
                <a:lnTo>
                  <a:pt x="2769" y="1166"/>
                </a:lnTo>
                <a:lnTo>
                  <a:pt x="2835" y="1166"/>
                </a:lnTo>
                <a:lnTo>
                  <a:pt x="2835" y="1828"/>
                </a:lnTo>
                <a:lnTo>
                  <a:pt x="2994" y="1828"/>
                </a:lnTo>
                <a:lnTo>
                  <a:pt x="2994" y="1936"/>
                </a:lnTo>
                <a:lnTo>
                  <a:pt x="2769" y="1936"/>
                </a:lnTo>
                <a:close/>
                <a:moveTo>
                  <a:pt x="3055" y="1166"/>
                </a:moveTo>
                <a:lnTo>
                  <a:pt x="3120" y="1166"/>
                </a:lnTo>
                <a:lnTo>
                  <a:pt x="3120" y="1936"/>
                </a:lnTo>
                <a:lnTo>
                  <a:pt x="3055" y="1936"/>
                </a:lnTo>
                <a:lnTo>
                  <a:pt x="3055" y="1166"/>
                </a:lnTo>
                <a:close/>
                <a:moveTo>
                  <a:pt x="3337" y="1954"/>
                </a:moveTo>
                <a:lnTo>
                  <a:pt x="3321" y="1954"/>
                </a:lnTo>
                <a:lnTo>
                  <a:pt x="3305" y="1950"/>
                </a:lnTo>
                <a:lnTo>
                  <a:pt x="3291" y="1944"/>
                </a:lnTo>
                <a:lnTo>
                  <a:pt x="3284" y="1940"/>
                </a:lnTo>
                <a:lnTo>
                  <a:pt x="3278" y="1936"/>
                </a:lnTo>
                <a:lnTo>
                  <a:pt x="3266" y="1928"/>
                </a:lnTo>
                <a:lnTo>
                  <a:pt x="3260" y="1922"/>
                </a:lnTo>
                <a:lnTo>
                  <a:pt x="3255" y="1916"/>
                </a:lnTo>
                <a:lnTo>
                  <a:pt x="3245" y="1902"/>
                </a:lnTo>
                <a:lnTo>
                  <a:pt x="3241" y="1896"/>
                </a:lnTo>
                <a:lnTo>
                  <a:pt x="3236" y="1888"/>
                </a:lnTo>
                <a:lnTo>
                  <a:pt x="3232" y="1880"/>
                </a:lnTo>
                <a:lnTo>
                  <a:pt x="3229" y="1872"/>
                </a:lnTo>
                <a:lnTo>
                  <a:pt x="3225" y="1864"/>
                </a:lnTo>
                <a:lnTo>
                  <a:pt x="3222" y="1854"/>
                </a:lnTo>
                <a:lnTo>
                  <a:pt x="3216" y="1834"/>
                </a:lnTo>
                <a:lnTo>
                  <a:pt x="3211" y="1814"/>
                </a:lnTo>
                <a:lnTo>
                  <a:pt x="3210" y="1804"/>
                </a:lnTo>
                <a:lnTo>
                  <a:pt x="3208" y="1792"/>
                </a:lnTo>
                <a:lnTo>
                  <a:pt x="3205" y="1770"/>
                </a:lnTo>
                <a:lnTo>
                  <a:pt x="3203" y="1746"/>
                </a:lnTo>
                <a:lnTo>
                  <a:pt x="3203" y="1732"/>
                </a:lnTo>
                <a:lnTo>
                  <a:pt x="3203" y="1720"/>
                </a:lnTo>
                <a:lnTo>
                  <a:pt x="3265" y="1693"/>
                </a:lnTo>
                <a:lnTo>
                  <a:pt x="3266" y="1714"/>
                </a:lnTo>
                <a:lnTo>
                  <a:pt x="3267" y="1734"/>
                </a:lnTo>
                <a:lnTo>
                  <a:pt x="3269" y="1750"/>
                </a:lnTo>
                <a:lnTo>
                  <a:pt x="3271" y="1766"/>
                </a:lnTo>
                <a:lnTo>
                  <a:pt x="3273" y="1774"/>
                </a:lnTo>
                <a:lnTo>
                  <a:pt x="3274" y="1782"/>
                </a:lnTo>
                <a:lnTo>
                  <a:pt x="3278" y="1794"/>
                </a:lnTo>
                <a:lnTo>
                  <a:pt x="3282" y="1804"/>
                </a:lnTo>
                <a:lnTo>
                  <a:pt x="3286" y="1814"/>
                </a:lnTo>
                <a:lnTo>
                  <a:pt x="3291" y="1824"/>
                </a:lnTo>
                <a:lnTo>
                  <a:pt x="3297" y="1830"/>
                </a:lnTo>
                <a:lnTo>
                  <a:pt x="3303" y="1836"/>
                </a:lnTo>
                <a:lnTo>
                  <a:pt x="3310" y="1840"/>
                </a:lnTo>
                <a:lnTo>
                  <a:pt x="3317" y="1844"/>
                </a:lnTo>
                <a:lnTo>
                  <a:pt x="3324" y="1846"/>
                </a:lnTo>
                <a:lnTo>
                  <a:pt x="3332" y="1848"/>
                </a:lnTo>
                <a:lnTo>
                  <a:pt x="3341" y="1848"/>
                </a:lnTo>
                <a:lnTo>
                  <a:pt x="3348" y="1848"/>
                </a:lnTo>
                <a:lnTo>
                  <a:pt x="3355" y="1846"/>
                </a:lnTo>
                <a:lnTo>
                  <a:pt x="3362" y="1844"/>
                </a:lnTo>
                <a:lnTo>
                  <a:pt x="3368" y="1842"/>
                </a:lnTo>
                <a:lnTo>
                  <a:pt x="3374" y="1838"/>
                </a:lnTo>
                <a:lnTo>
                  <a:pt x="3380" y="1832"/>
                </a:lnTo>
                <a:lnTo>
                  <a:pt x="3385" y="1826"/>
                </a:lnTo>
                <a:lnTo>
                  <a:pt x="3390" y="1820"/>
                </a:lnTo>
                <a:lnTo>
                  <a:pt x="3394" y="1812"/>
                </a:lnTo>
                <a:lnTo>
                  <a:pt x="3398" y="1804"/>
                </a:lnTo>
                <a:lnTo>
                  <a:pt x="3401" y="1796"/>
                </a:lnTo>
                <a:lnTo>
                  <a:pt x="3404" y="1786"/>
                </a:lnTo>
                <a:lnTo>
                  <a:pt x="3406" y="1774"/>
                </a:lnTo>
                <a:lnTo>
                  <a:pt x="3407" y="1770"/>
                </a:lnTo>
                <a:lnTo>
                  <a:pt x="3408" y="1764"/>
                </a:lnTo>
                <a:lnTo>
                  <a:pt x="3409" y="1752"/>
                </a:lnTo>
                <a:lnTo>
                  <a:pt x="3409" y="1738"/>
                </a:lnTo>
                <a:lnTo>
                  <a:pt x="3409" y="1728"/>
                </a:lnTo>
                <a:lnTo>
                  <a:pt x="3408" y="1718"/>
                </a:lnTo>
                <a:lnTo>
                  <a:pt x="3407" y="1711"/>
                </a:lnTo>
                <a:lnTo>
                  <a:pt x="3406" y="1701"/>
                </a:lnTo>
                <a:lnTo>
                  <a:pt x="3404" y="1693"/>
                </a:lnTo>
                <a:lnTo>
                  <a:pt x="3402" y="1685"/>
                </a:lnTo>
                <a:lnTo>
                  <a:pt x="3400" y="1677"/>
                </a:lnTo>
                <a:lnTo>
                  <a:pt x="3396" y="1669"/>
                </a:lnTo>
                <a:lnTo>
                  <a:pt x="3389" y="1653"/>
                </a:lnTo>
                <a:lnTo>
                  <a:pt x="3385" y="1645"/>
                </a:lnTo>
                <a:lnTo>
                  <a:pt x="3380" y="1639"/>
                </a:lnTo>
                <a:lnTo>
                  <a:pt x="3369" y="1625"/>
                </a:lnTo>
                <a:lnTo>
                  <a:pt x="3356" y="1613"/>
                </a:lnTo>
                <a:lnTo>
                  <a:pt x="3292" y="1555"/>
                </a:lnTo>
                <a:lnTo>
                  <a:pt x="3282" y="1547"/>
                </a:lnTo>
                <a:lnTo>
                  <a:pt x="3273" y="1537"/>
                </a:lnTo>
                <a:lnTo>
                  <a:pt x="3257" y="1517"/>
                </a:lnTo>
                <a:lnTo>
                  <a:pt x="3243" y="1497"/>
                </a:lnTo>
                <a:lnTo>
                  <a:pt x="3237" y="1485"/>
                </a:lnTo>
                <a:lnTo>
                  <a:pt x="3232" y="1473"/>
                </a:lnTo>
                <a:lnTo>
                  <a:pt x="3227" y="1461"/>
                </a:lnTo>
                <a:lnTo>
                  <a:pt x="3223" y="1447"/>
                </a:lnTo>
                <a:lnTo>
                  <a:pt x="3220" y="1433"/>
                </a:lnTo>
                <a:lnTo>
                  <a:pt x="3217" y="1417"/>
                </a:lnTo>
                <a:lnTo>
                  <a:pt x="3215" y="1401"/>
                </a:lnTo>
                <a:lnTo>
                  <a:pt x="3214" y="1393"/>
                </a:lnTo>
                <a:lnTo>
                  <a:pt x="3213" y="1385"/>
                </a:lnTo>
                <a:lnTo>
                  <a:pt x="3212" y="1367"/>
                </a:lnTo>
                <a:lnTo>
                  <a:pt x="3212" y="1347"/>
                </a:lnTo>
                <a:lnTo>
                  <a:pt x="3212" y="1335"/>
                </a:lnTo>
                <a:lnTo>
                  <a:pt x="3213" y="1323"/>
                </a:lnTo>
                <a:lnTo>
                  <a:pt x="3214" y="1311"/>
                </a:lnTo>
                <a:lnTo>
                  <a:pt x="3215" y="1299"/>
                </a:lnTo>
                <a:lnTo>
                  <a:pt x="3216" y="1289"/>
                </a:lnTo>
                <a:lnTo>
                  <a:pt x="3218" y="1279"/>
                </a:lnTo>
                <a:lnTo>
                  <a:pt x="3222" y="1259"/>
                </a:lnTo>
                <a:lnTo>
                  <a:pt x="3225" y="1249"/>
                </a:lnTo>
                <a:lnTo>
                  <a:pt x="3228" y="1241"/>
                </a:lnTo>
                <a:lnTo>
                  <a:pt x="3234" y="1225"/>
                </a:lnTo>
                <a:lnTo>
                  <a:pt x="3241" y="1210"/>
                </a:lnTo>
                <a:lnTo>
                  <a:pt x="3245" y="1204"/>
                </a:lnTo>
                <a:lnTo>
                  <a:pt x="3250" y="1198"/>
                </a:lnTo>
                <a:lnTo>
                  <a:pt x="3259" y="1186"/>
                </a:lnTo>
                <a:lnTo>
                  <a:pt x="3269" y="1176"/>
                </a:lnTo>
                <a:lnTo>
                  <a:pt x="3279" y="1166"/>
                </a:lnTo>
                <a:lnTo>
                  <a:pt x="3290" y="1160"/>
                </a:lnTo>
                <a:lnTo>
                  <a:pt x="3302" y="1154"/>
                </a:lnTo>
                <a:lnTo>
                  <a:pt x="3314" y="1150"/>
                </a:lnTo>
                <a:lnTo>
                  <a:pt x="3327" y="1148"/>
                </a:lnTo>
                <a:lnTo>
                  <a:pt x="3340" y="1148"/>
                </a:lnTo>
                <a:lnTo>
                  <a:pt x="3355" y="1150"/>
                </a:lnTo>
                <a:lnTo>
                  <a:pt x="3370" y="1152"/>
                </a:lnTo>
                <a:lnTo>
                  <a:pt x="3383" y="1158"/>
                </a:lnTo>
                <a:lnTo>
                  <a:pt x="3389" y="1162"/>
                </a:lnTo>
                <a:lnTo>
                  <a:pt x="3395" y="1166"/>
                </a:lnTo>
                <a:lnTo>
                  <a:pt x="3407" y="1174"/>
                </a:lnTo>
                <a:lnTo>
                  <a:pt x="3417" y="1186"/>
                </a:lnTo>
                <a:lnTo>
                  <a:pt x="3426" y="1198"/>
                </a:lnTo>
                <a:lnTo>
                  <a:pt x="3434" y="1212"/>
                </a:lnTo>
                <a:lnTo>
                  <a:pt x="3438" y="1218"/>
                </a:lnTo>
                <a:lnTo>
                  <a:pt x="3441" y="1225"/>
                </a:lnTo>
                <a:lnTo>
                  <a:pt x="3444" y="1233"/>
                </a:lnTo>
                <a:lnTo>
                  <a:pt x="3447" y="1241"/>
                </a:lnTo>
                <a:lnTo>
                  <a:pt x="3452" y="1259"/>
                </a:lnTo>
                <a:lnTo>
                  <a:pt x="3457" y="1275"/>
                </a:lnTo>
                <a:lnTo>
                  <a:pt x="3460" y="1293"/>
                </a:lnTo>
                <a:lnTo>
                  <a:pt x="3462" y="1313"/>
                </a:lnTo>
                <a:lnTo>
                  <a:pt x="3464" y="1331"/>
                </a:lnTo>
                <a:lnTo>
                  <a:pt x="3464" y="1349"/>
                </a:lnTo>
                <a:lnTo>
                  <a:pt x="3402" y="1375"/>
                </a:lnTo>
                <a:lnTo>
                  <a:pt x="3402" y="1359"/>
                </a:lnTo>
                <a:lnTo>
                  <a:pt x="3400" y="1345"/>
                </a:lnTo>
                <a:lnTo>
                  <a:pt x="3399" y="1331"/>
                </a:lnTo>
                <a:lnTo>
                  <a:pt x="3397" y="1319"/>
                </a:lnTo>
                <a:lnTo>
                  <a:pt x="3394" y="1309"/>
                </a:lnTo>
                <a:lnTo>
                  <a:pt x="3391" y="1299"/>
                </a:lnTo>
                <a:lnTo>
                  <a:pt x="3388" y="1289"/>
                </a:lnTo>
                <a:lnTo>
                  <a:pt x="3384" y="1281"/>
                </a:lnTo>
                <a:lnTo>
                  <a:pt x="3380" y="1275"/>
                </a:lnTo>
                <a:lnTo>
                  <a:pt x="3375" y="1269"/>
                </a:lnTo>
                <a:lnTo>
                  <a:pt x="3370" y="1265"/>
                </a:lnTo>
                <a:lnTo>
                  <a:pt x="3364" y="1261"/>
                </a:lnTo>
                <a:lnTo>
                  <a:pt x="3358" y="1257"/>
                </a:lnTo>
                <a:lnTo>
                  <a:pt x="3352" y="1255"/>
                </a:lnTo>
                <a:lnTo>
                  <a:pt x="3345" y="1255"/>
                </a:lnTo>
                <a:lnTo>
                  <a:pt x="3337" y="1253"/>
                </a:lnTo>
                <a:lnTo>
                  <a:pt x="3325" y="1255"/>
                </a:lnTo>
                <a:lnTo>
                  <a:pt x="3313" y="1259"/>
                </a:lnTo>
                <a:lnTo>
                  <a:pt x="3308" y="1263"/>
                </a:lnTo>
                <a:lnTo>
                  <a:pt x="3303" y="1267"/>
                </a:lnTo>
                <a:lnTo>
                  <a:pt x="3298" y="1271"/>
                </a:lnTo>
                <a:lnTo>
                  <a:pt x="3294" y="1275"/>
                </a:lnTo>
                <a:lnTo>
                  <a:pt x="3290" y="1281"/>
                </a:lnTo>
                <a:lnTo>
                  <a:pt x="3287" y="1287"/>
                </a:lnTo>
                <a:lnTo>
                  <a:pt x="3284" y="1295"/>
                </a:lnTo>
                <a:lnTo>
                  <a:pt x="3281" y="1303"/>
                </a:lnTo>
                <a:lnTo>
                  <a:pt x="3279" y="1311"/>
                </a:lnTo>
                <a:lnTo>
                  <a:pt x="3278" y="1321"/>
                </a:lnTo>
                <a:lnTo>
                  <a:pt x="3277" y="1331"/>
                </a:lnTo>
                <a:lnTo>
                  <a:pt x="3276" y="1341"/>
                </a:lnTo>
                <a:lnTo>
                  <a:pt x="3277" y="1351"/>
                </a:lnTo>
                <a:lnTo>
                  <a:pt x="3277" y="1361"/>
                </a:lnTo>
                <a:lnTo>
                  <a:pt x="3278" y="1371"/>
                </a:lnTo>
                <a:lnTo>
                  <a:pt x="3279" y="1379"/>
                </a:lnTo>
                <a:lnTo>
                  <a:pt x="3281" y="1387"/>
                </a:lnTo>
                <a:lnTo>
                  <a:pt x="3283" y="1395"/>
                </a:lnTo>
                <a:lnTo>
                  <a:pt x="3286" y="1403"/>
                </a:lnTo>
                <a:lnTo>
                  <a:pt x="3288" y="1409"/>
                </a:lnTo>
                <a:lnTo>
                  <a:pt x="3292" y="1415"/>
                </a:lnTo>
                <a:lnTo>
                  <a:pt x="3295" y="1421"/>
                </a:lnTo>
                <a:lnTo>
                  <a:pt x="3304" y="1433"/>
                </a:lnTo>
                <a:lnTo>
                  <a:pt x="3314" y="1445"/>
                </a:lnTo>
                <a:lnTo>
                  <a:pt x="3326" y="1457"/>
                </a:lnTo>
                <a:lnTo>
                  <a:pt x="3388" y="1511"/>
                </a:lnTo>
                <a:lnTo>
                  <a:pt x="3398" y="1521"/>
                </a:lnTo>
                <a:lnTo>
                  <a:pt x="3408" y="1531"/>
                </a:lnTo>
                <a:lnTo>
                  <a:pt x="3418" y="1541"/>
                </a:lnTo>
                <a:lnTo>
                  <a:pt x="3426" y="1553"/>
                </a:lnTo>
                <a:lnTo>
                  <a:pt x="3434" y="1565"/>
                </a:lnTo>
                <a:lnTo>
                  <a:pt x="3441" y="1575"/>
                </a:lnTo>
                <a:lnTo>
                  <a:pt x="3447" y="1589"/>
                </a:lnTo>
                <a:lnTo>
                  <a:pt x="3453" y="1601"/>
                </a:lnTo>
                <a:lnTo>
                  <a:pt x="3458" y="1615"/>
                </a:lnTo>
                <a:lnTo>
                  <a:pt x="3462" y="1629"/>
                </a:lnTo>
                <a:lnTo>
                  <a:pt x="3466" y="1643"/>
                </a:lnTo>
                <a:lnTo>
                  <a:pt x="3469" y="1659"/>
                </a:lnTo>
                <a:lnTo>
                  <a:pt x="3471" y="1675"/>
                </a:lnTo>
                <a:lnTo>
                  <a:pt x="3472" y="1685"/>
                </a:lnTo>
                <a:lnTo>
                  <a:pt x="3472" y="1693"/>
                </a:lnTo>
                <a:lnTo>
                  <a:pt x="3473" y="1711"/>
                </a:lnTo>
                <a:lnTo>
                  <a:pt x="3474" y="1730"/>
                </a:lnTo>
                <a:lnTo>
                  <a:pt x="3473" y="1756"/>
                </a:lnTo>
                <a:lnTo>
                  <a:pt x="3471" y="1780"/>
                </a:lnTo>
                <a:lnTo>
                  <a:pt x="3470" y="1792"/>
                </a:lnTo>
                <a:lnTo>
                  <a:pt x="3468" y="1802"/>
                </a:lnTo>
                <a:lnTo>
                  <a:pt x="3466" y="1814"/>
                </a:lnTo>
                <a:lnTo>
                  <a:pt x="3464" y="1824"/>
                </a:lnTo>
                <a:lnTo>
                  <a:pt x="3461" y="1834"/>
                </a:lnTo>
                <a:lnTo>
                  <a:pt x="3459" y="1844"/>
                </a:lnTo>
                <a:lnTo>
                  <a:pt x="3452" y="1862"/>
                </a:lnTo>
                <a:lnTo>
                  <a:pt x="3449" y="1870"/>
                </a:lnTo>
                <a:lnTo>
                  <a:pt x="3445" y="1880"/>
                </a:lnTo>
                <a:lnTo>
                  <a:pt x="3437" y="1894"/>
                </a:lnTo>
                <a:lnTo>
                  <a:pt x="3432" y="1902"/>
                </a:lnTo>
                <a:lnTo>
                  <a:pt x="3427" y="1908"/>
                </a:lnTo>
                <a:lnTo>
                  <a:pt x="3422" y="1914"/>
                </a:lnTo>
                <a:lnTo>
                  <a:pt x="3417" y="1920"/>
                </a:lnTo>
                <a:lnTo>
                  <a:pt x="3406" y="1930"/>
                </a:lnTo>
                <a:lnTo>
                  <a:pt x="3394" y="1938"/>
                </a:lnTo>
                <a:lnTo>
                  <a:pt x="3381" y="1946"/>
                </a:lnTo>
                <a:lnTo>
                  <a:pt x="3367" y="1950"/>
                </a:lnTo>
                <a:lnTo>
                  <a:pt x="3360" y="1952"/>
                </a:lnTo>
                <a:lnTo>
                  <a:pt x="3353" y="1952"/>
                </a:lnTo>
                <a:lnTo>
                  <a:pt x="3337" y="1954"/>
                </a:lnTo>
                <a:close/>
                <a:moveTo>
                  <a:pt x="3582" y="1882"/>
                </a:moveTo>
                <a:lnTo>
                  <a:pt x="3574" y="1866"/>
                </a:lnTo>
                <a:lnTo>
                  <a:pt x="3567" y="1848"/>
                </a:lnTo>
                <a:lnTo>
                  <a:pt x="3562" y="1828"/>
                </a:lnTo>
                <a:lnTo>
                  <a:pt x="3559" y="1816"/>
                </a:lnTo>
                <a:lnTo>
                  <a:pt x="3557" y="1806"/>
                </a:lnTo>
                <a:lnTo>
                  <a:pt x="3554" y="1782"/>
                </a:lnTo>
                <a:lnTo>
                  <a:pt x="3551" y="1756"/>
                </a:lnTo>
                <a:lnTo>
                  <a:pt x="3550" y="1742"/>
                </a:lnTo>
                <a:lnTo>
                  <a:pt x="3550" y="1726"/>
                </a:lnTo>
                <a:lnTo>
                  <a:pt x="3549" y="1697"/>
                </a:lnTo>
                <a:lnTo>
                  <a:pt x="3549" y="1166"/>
                </a:lnTo>
                <a:lnTo>
                  <a:pt x="3615" y="1166"/>
                </a:lnTo>
                <a:lnTo>
                  <a:pt x="3615" y="1691"/>
                </a:lnTo>
                <a:lnTo>
                  <a:pt x="3615" y="1711"/>
                </a:lnTo>
                <a:lnTo>
                  <a:pt x="3616" y="1728"/>
                </a:lnTo>
                <a:lnTo>
                  <a:pt x="3617" y="1744"/>
                </a:lnTo>
                <a:lnTo>
                  <a:pt x="3618" y="1758"/>
                </a:lnTo>
                <a:lnTo>
                  <a:pt x="3620" y="1772"/>
                </a:lnTo>
                <a:lnTo>
                  <a:pt x="3623" y="1784"/>
                </a:lnTo>
                <a:lnTo>
                  <a:pt x="3625" y="1796"/>
                </a:lnTo>
                <a:lnTo>
                  <a:pt x="3629" y="1804"/>
                </a:lnTo>
                <a:lnTo>
                  <a:pt x="3633" y="1814"/>
                </a:lnTo>
                <a:lnTo>
                  <a:pt x="3637" y="1822"/>
                </a:lnTo>
                <a:lnTo>
                  <a:pt x="3643" y="1830"/>
                </a:lnTo>
                <a:lnTo>
                  <a:pt x="3649" y="1836"/>
                </a:lnTo>
                <a:lnTo>
                  <a:pt x="3652" y="1838"/>
                </a:lnTo>
                <a:lnTo>
                  <a:pt x="3655" y="1840"/>
                </a:lnTo>
                <a:lnTo>
                  <a:pt x="3662" y="1844"/>
                </a:lnTo>
                <a:lnTo>
                  <a:pt x="3670" y="1846"/>
                </a:lnTo>
                <a:lnTo>
                  <a:pt x="3678" y="1846"/>
                </a:lnTo>
                <a:lnTo>
                  <a:pt x="3686" y="1846"/>
                </a:lnTo>
                <a:lnTo>
                  <a:pt x="3694" y="1844"/>
                </a:lnTo>
                <a:lnTo>
                  <a:pt x="3701" y="1840"/>
                </a:lnTo>
                <a:lnTo>
                  <a:pt x="3708" y="1836"/>
                </a:lnTo>
                <a:lnTo>
                  <a:pt x="3713" y="1830"/>
                </a:lnTo>
                <a:lnTo>
                  <a:pt x="3719" y="1822"/>
                </a:lnTo>
                <a:lnTo>
                  <a:pt x="3723" y="1814"/>
                </a:lnTo>
                <a:lnTo>
                  <a:pt x="3728" y="1804"/>
                </a:lnTo>
                <a:lnTo>
                  <a:pt x="3731" y="1796"/>
                </a:lnTo>
                <a:lnTo>
                  <a:pt x="3734" y="1784"/>
                </a:lnTo>
                <a:lnTo>
                  <a:pt x="3736" y="1772"/>
                </a:lnTo>
                <a:lnTo>
                  <a:pt x="3738" y="1758"/>
                </a:lnTo>
                <a:lnTo>
                  <a:pt x="3740" y="1744"/>
                </a:lnTo>
                <a:lnTo>
                  <a:pt x="3741" y="1728"/>
                </a:lnTo>
                <a:lnTo>
                  <a:pt x="3741" y="1711"/>
                </a:lnTo>
                <a:lnTo>
                  <a:pt x="3741" y="1691"/>
                </a:lnTo>
                <a:lnTo>
                  <a:pt x="3741" y="1166"/>
                </a:lnTo>
                <a:lnTo>
                  <a:pt x="3807" y="1166"/>
                </a:lnTo>
                <a:lnTo>
                  <a:pt x="3807" y="1697"/>
                </a:lnTo>
                <a:lnTo>
                  <a:pt x="3806" y="1726"/>
                </a:lnTo>
                <a:lnTo>
                  <a:pt x="3805" y="1742"/>
                </a:lnTo>
                <a:lnTo>
                  <a:pt x="3805" y="1756"/>
                </a:lnTo>
                <a:lnTo>
                  <a:pt x="3802" y="1782"/>
                </a:lnTo>
                <a:lnTo>
                  <a:pt x="3798" y="1806"/>
                </a:lnTo>
                <a:lnTo>
                  <a:pt x="3796" y="1816"/>
                </a:lnTo>
                <a:lnTo>
                  <a:pt x="3794" y="1828"/>
                </a:lnTo>
                <a:lnTo>
                  <a:pt x="3788" y="1848"/>
                </a:lnTo>
                <a:lnTo>
                  <a:pt x="3785" y="1856"/>
                </a:lnTo>
                <a:lnTo>
                  <a:pt x="3782" y="1866"/>
                </a:lnTo>
                <a:lnTo>
                  <a:pt x="3779" y="1874"/>
                </a:lnTo>
                <a:lnTo>
                  <a:pt x="3775" y="1882"/>
                </a:lnTo>
                <a:lnTo>
                  <a:pt x="3771" y="1890"/>
                </a:lnTo>
                <a:lnTo>
                  <a:pt x="3766" y="1898"/>
                </a:lnTo>
                <a:lnTo>
                  <a:pt x="3756" y="1914"/>
                </a:lnTo>
                <a:lnTo>
                  <a:pt x="3745" y="1926"/>
                </a:lnTo>
                <a:lnTo>
                  <a:pt x="3739" y="1930"/>
                </a:lnTo>
                <a:lnTo>
                  <a:pt x="3733" y="1936"/>
                </a:lnTo>
                <a:lnTo>
                  <a:pt x="3720" y="1944"/>
                </a:lnTo>
                <a:lnTo>
                  <a:pt x="3714" y="1946"/>
                </a:lnTo>
                <a:lnTo>
                  <a:pt x="3707" y="1950"/>
                </a:lnTo>
                <a:lnTo>
                  <a:pt x="3693" y="1952"/>
                </a:lnTo>
                <a:lnTo>
                  <a:pt x="3685" y="1954"/>
                </a:lnTo>
                <a:lnTo>
                  <a:pt x="3678" y="1954"/>
                </a:lnTo>
                <a:lnTo>
                  <a:pt x="3663" y="1952"/>
                </a:lnTo>
                <a:lnTo>
                  <a:pt x="3649" y="1950"/>
                </a:lnTo>
                <a:lnTo>
                  <a:pt x="3643" y="1946"/>
                </a:lnTo>
                <a:lnTo>
                  <a:pt x="3636" y="1944"/>
                </a:lnTo>
                <a:lnTo>
                  <a:pt x="3624" y="1936"/>
                </a:lnTo>
                <a:lnTo>
                  <a:pt x="3612" y="1926"/>
                </a:lnTo>
                <a:lnTo>
                  <a:pt x="3601" y="1914"/>
                </a:lnTo>
                <a:lnTo>
                  <a:pt x="3591" y="1898"/>
                </a:lnTo>
                <a:lnTo>
                  <a:pt x="3586" y="1890"/>
                </a:lnTo>
                <a:lnTo>
                  <a:pt x="3582" y="1882"/>
                </a:lnTo>
                <a:close/>
                <a:moveTo>
                  <a:pt x="3934" y="1882"/>
                </a:moveTo>
                <a:lnTo>
                  <a:pt x="3927" y="1866"/>
                </a:lnTo>
                <a:lnTo>
                  <a:pt x="3920" y="1848"/>
                </a:lnTo>
                <a:lnTo>
                  <a:pt x="3915" y="1828"/>
                </a:lnTo>
                <a:lnTo>
                  <a:pt x="3912" y="1816"/>
                </a:lnTo>
                <a:lnTo>
                  <a:pt x="3910" y="1806"/>
                </a:lnTo>
                <a:lnTo>
                  <a:pt x="3907" y="1782"/>
                </a:lnTo>
                <a:lnTo>
                  <a:pt x="3904" y="1756"/>
                </a:lnTo>
                <a:lnTo>
                  <a:pt x="3903" y="1742"/>
                </a:lnTo>
                <a:lnTo>
                  <a:pt x="3903" y="1726"/>
                </a:lnTo>
                <a:lnTo>
                  <a:pt x="3902" y="1697"/>
                </a:lnTo>
                <a:lnTo>
                  <a:pt x="3902" y="1166"/>
                </a:lnTo>
                <a:lnTo>
                  <a:pt x="3968" y="1166"/>
                </a:lnTo>
                <a:lnTo>
                  <a:pt x="3968" y="1691"/>
                </a:lnTo>
                <a:lnTo>
                  <a:pt x="3968" y="1711"/>
                </a:lnTo>
                <a:lnTo>
                  <a:pt x="3969" y="1728"/>
                </a:lnTo>
                <a:lnTo>
                  <a:pt x="3970" y="1744"/>
                </a:lnTo>
                <a:lnTo>
                  <a:pt x="3972" y="1758"/>
                </a:lnTo>
                <a:lnTo>
                  <a:pt x="3973" y="1772"/>
                </a:lnTo>
                <a:lnTo>
                  <a:pt x="3976" y="1784"/>
                </a:lnTo>
                <a:lnTo>
                  <a:pt x="3979" y="1796"/>
                </a:lnTo>
                <a:lnTo>
                  <a:pt x="3982" y="1804"/>
                </a:lnTo>
                <a:lnTo>
                  <a:pt x="3986" y="1814"/>
                </a:lnTo>
                <a:lnTo>
                  <a:pt x="3991" y="1822"/>
                </a:lnTo>
                <a:lnTo>
                  <a:pt x="3996" y="1830"/>
                </a:lnTo>
                <a:lnTo>
                  <a:pt x="4002" y="1836"/>
                </a:lnTo>
                <a:lnTo>
                  <a:pt x="4005" y="1838"/>
                </a:lnTo>
                <a:lnTo>
                  <a:pt x="4008" y="1840"/>
                </a:lnTo>
                <a:lnTo>
                  <a:pt x="4015" y="1844"/>
                </a:lnTo>
                <a:lnTo>
                  <a:pt x="4023" y="1846"/>
                </a:lnTo>
                <a:lnTo>
                  <a:pt x="4031" y="1846"/>
                </a:lnTo>
                <a:lnTo>
                  <a:pt x="4040" y="1846"/>
                </a:lnTo>
                <a:lnTo>
                  <a:pt x="4047" y="1844"/>
                </a:lnTo>
                <a:lnTo>
                  <a:pt x="4054" y="1840"/>
                </a:lnTo>
                <a:lnTo>
                  <a:pt x="4061" y="1836"/>
                </a:lnTo>
                <a:lnTo>
                  <a:pt x="4067" y="1830"/>
                </a:lnTo>
                <a:lnTo>
                  <a:pt x="4072" y="1822"/>
                </a:lnTo>
                <a:lnTo>
                  <a:pt x="4077" y="1814"/>
                </a:lnTo>
                <a:lnTo>
                  <a:pt x="4081" y="1804"/>
                </a:lnTo>
                <a:lnTo>
                  <a:pt x="4084" y="1796"/>
                </a:lnTo>
                <a:lnTo>
                  <a:pt x="4087" y="1784"/>
                </a:lnTo>
                <a:lnTo>
                  <a:pt x="4090" y="1772"/>
                </a:lnTo>
                <a:lnTo>
                  <a:pt x="4091" y="1758"/>
                </a:lnTo>
                <a:lnTo>
                  <a:pt x="4093" y="1744"/>
                </a:lnTo>
                <a:lnTo>
                  <a:pt x="4094" y="1728"/>
                </a:lnTo>
                <a:lnTo>
                  <a:pt x="4094" y="1711"/>
                </a:lnTo>
                <a:lnTo>
                  <a:pt x="4094" y="1691"/>
                </a:lnTo>
                <a:lnTo>
                  <a:pt x="4094" y="1166"/>
                </a:lnTo>
                <a:lnTo>
                  <a:pt x="4160" y="1166"/>
                </a:lnTo>
                <a:lnTo>
                  <a:pt x="4160" y="1697"/>
                </a:lnTo>
                <a:lnTo>
                  <a:pt x="4159" y="1726"/>
                </a:lnTo>
                <a:lnTo>
                  <a:pt x="4159" y="1742"/>
                </a:lnTo>
                <a:lnTo>
                  <a:pt x="4158" y="1756"/>
                </a:lnTo>
                <a:lnTo>
                  <a:pt x="4155" y="1782"/>
                </a:lnTo>
                <a:lnTo>
                  <a:pt x="4152" y="1806"/>
                </a:lnTo>
                <a:lnTo>
                  <a:pt x="4149" y="1816"/>
                </a:lnTo>
                <a:lnTo>
                  <a:pt x="4147" y="1828"/>
                </a:lnTo>
                <a:lnTo>
                  <a:pt x="4142" y="1848"/>
                </a:lnTo>
                <a:lnTo>
                  <a:pt x="4139" y="1856"/>
                </a:lnTo>
                <a:lnTo>
                  <a:pt x="4135" y="1866"/>
                </a:lnTo>
                <a:lnTo>
                  <a:pt x="4132" y="1874"/>
                </a:lnTo>
                <a:lnTo>
                  <a:pt x="4128" y="1882"/>
                </a:lnTo>
                <a:lnTo>
                  <a:pt x="4124" y="1890"/>
                </a:lnTo>
                <a:lnTo>
                  <a:pt x="4119" y="1898"/>
                </a:lnTo>
                <a:lnTo>
                  <a:pt x="4109" y="1914"/>
                </a:lnTo>
                <a:lnTo>
                  <a:pt x="4098" y="1926"/>
                </a:lnTo>
                <a:lnTo>
                  <a:pt x="4092" y="1930"/>
                </a:lnTo>
                <a:lnTo>
                  <a:pt x="4086" y="1936"/>
                </a:lnTo>
                <a:lnTo>
                  <a:pt x="4073" y="1944"/>
                </a:lnTo>
                <a:lnTo>
                  <a:pt x="4067" y="1946"/>
                </a:lnTo>
                <a:lnTo>
                  <a:pt x="4060" y="1950"/>
                </a:lnTo>
                <a:lnTo>
                  <a:pt x="4046" y="1952"/>
                </a:lnTo>
                <a:lnTo>
                  <a:pt x="4039" y="1954"/>
                </a:lnTo>
                <a:lnTo>
                  <a:pt x="4031" y="1954"/>
                </a:lnTo>
                <a:lnTo>
                  <a:pt x="4017" y="1952"/>
                </a:lnTo>
                <a:lnTo>
                  <a:pt x="4003" y="1950"/>
                </a:lnTo>
                <a:lnTo>
                  <a:pt x="3996" y="1946"/>
                </a:lnTo>
                <a:lnTo>
                  <a:pt x="3989" y="1944"/>
                </a:lnTo>
                <a:lnTo>
                  <a:pt x="3977" y="1936"/>
                </a:lnTo>
                <a:lnTo>
                  <a:pt x="3965" y="1926"/>
                </a:lnTo>
                <a:lnTo>
                  <a:pt x="3954" y="1914"/>
                </a:lnTo>
                <a:lnTo>
                  <a:pt x="3943" y="1898"/>
                </a:lnTo>
                <a:lnTo>
                  <a:pt x="3938" y="1890"/>
                </a:lnTo>
                <a:lnTo>
                  <a:pt x="3934" y="1882"/>
                </a:lnTo>
                <a:close/>
                <a:moveTo>
                  <a:pt x="4370" y="1954"/>
                </a:moveTo>
                <a:lnTo>
                  <a:pt x="4354" y="1954"/>
                </a:lnTo>
                <a:lnTo>
                  <a:pt x="4339" y="1950"/>
                </a:lnTo>
                <a:lnTo>
                  <a:pt x="4324" y="1944"/>
                </a:lnTo>
                <a:lnTo>
                  <a:pt x="4317" y="1940"/>
                </a:lnTo>
                <a:lnTo>
                  <a:pt x="4310" y="1936"/>
                </a:lnTo>
                <a:lnTo>
                  <a:pt x="4298" y="1928"/>
                </a:lnTo>
                <a:lnTo>
                  <a:pt x="4292" y="1922"/>
                </a:lnTo>
                <a:lnTo>
                  <a:pt x="4287" y="1916"/>
                </a:lnTo>
                <a:lnTo>
                  <a:pt x="4277" y="1902"/>
                </a:lnTo>
                <a:lnTo>
                  <a:pt x="4273" y="1896"/>
                </a:lnTo>
                <a:lnTo>
                  <a:pt x="4268" y="1888"/>
                </a:lnTo>
                <a:lnTo>
                  <a:pt x="4264" y="1880"/>
                </a:lnTo>
                <a:lnTo>
                  <a:pt x="4261" y="1872"/>
                </a:lnTo>
                <a:lnTo>
                  <a:pt x="4257" y="1864"/>
                </a:lnTo>
                <a:lnTo>
                  <a:pt x="4254" y="1854"/>
                </a:lnTo>
                <a:lnTo>
                  <a:pt x="4248" y="1834"/>
                </a:lnTo>
                <a:lnTo>
                  <a:pt x="4244" y="1814"/>
                </a:lnTo>
                <a:lnTo>
                  <a:pt x="4242" y="1804"/>
                </a:lnTo>
                <a:lnTo>
                  <a:pt x="4240" y="1792"/>
                </a:lnTo>
                <a:lnTo>
                  <a:pt x="4237" y="1770"/>
                </a:lnTo>
                <a:lnTo>
                  <a:pt x="4236" y="1746"/>
                </a:lnTo>
                <a:lnTo>
                  <a:pt x="4235" y="1732"/>
                </a:lnTo>
                <a:lnTo>
                  <a:pt x="4235" y="1720"/>
                </a:lnTo>
                <a:lnTo>
                  <a:pt x="4298" y="1693"/>
                </a:lnTo>
                <a:lnTo>
                  <a:pt x="4298" y="1714"/>
                </a:lnTo>
                <a:lnTo>
                  <a:pt x="4299" y="1734"/>
                </a:lnTo>
                <a:lnTo>
                  <a:pt x="4301" y="1750"/>
                </a:lnTo>
                <a:lnTo>
                  <a:pt x="4303" y="1766"/>
                </a:lnTo>
                <a:lnTo>
                  <a:pt x="4305" y="1774"/>
                </a:lnTo>
                <a:lnTo>
                  <a:pt x="4306" y="1782"/>
                </a:lnTo>
                <a:lnTo>
                  <a:pt x="4310" y="1794"/>
                </a:lnTo>
                <a:lnTo>
                  <a:pt x="4314" y="1804"/>
                </a:lnTo>
                <a:lnTo>
                  <a:pt x="4318" y="1814"/>
                </a:lnTo>
                <a:lnTo>
                  <a:pt x="4324" y="1824"/>
                </a:lnTo>
                <a:lnTo>
                  <a:pt x="4330" y="1830"/>
                </a:lnTo>
                <a:lnTo>
                  <a:pt x="4336" y="1836"/>
                </a:lnTo>
                <a:lnTo>
                  <a:pt x="4343" y="1840"/>
                </a:lnTo>
                <a:lnTo>
                  <a:pt x="4350" y="1844"/>
                </a:lnTo>
                <a:lnTo>
                  <a:pt x="4357" y="1846"/>
                </a:lnTo>
                <a:lnTo>
                  <a:pt x="4365" y="1848"/>
                </a:lnTo>
                <a:lnTo>
                  <a:pt x="4374" y="1848"/>
                </a:lnTo>
                <a:lnTo>
                  <a:pt x="4381" y="1848"/>
                </a:lnTo>
                <a:lnTo>
                  <a:pt x="4388" y="1846"/>
                </a:lnTo>
                <a:lnTo>
                  <a:pt x="4395" y="1844"/>
                </a:lnTo>
                <a:lnTo>
                  <a:pt x="4401" y="1842"/>
                </a:lnTo>
                <a:lnTo>
                  <a:pt x="4407" y="1838"/>
                </a:lnTo>
                <a:lnTo>
                  <a:pt x="4413" y="1832"/>
                </a:lnTo>
                <a:lnTo>
                  <a:pt x="4418" y="1826"/>
                </a:lnTo>
                <a:lnTo>
                  <a:pt x="4423" y="1820"/>
                </a:lnTo>
                <a:lnTo>
                  <a:pt x="4427" y="1812"/>
                </a:lnTo>
                <a:lnTo>
                  <a:pt x="4431" y="1804"/>
                </a:lnTo>
                <a:lnTo>
                  <a:pt x="4434" y="1796"/>
                </a:lnTo>
                <a:lnTo>
                  <a:pt x="4437" y="1786"/>
                </a:lnTo>
                <a:lnTo>
                  <a:pt x="4439" y="1774"/>
                </a:lnTo>
                <a:lnTo>
                  <a:pt x="4440" y="1770"/>
                </a:lnTo>
                <a:lnTo>
                  <a:pt x="4441" y="1764"/>
                </a:lnTo>
                <a:lnTo>
                  <a:pt x="4442" y="1752"/>
                </a:lnTo>
                <a:lnTo>
                  <a:pt x="4442" y="1738"/>
                </a:lnTo>
                <a:lnTo>
                  <a:pt x="4442" y="1728"/>
                </a:lnTo>
                <a:lnTo>
                  <a:pt x="4442" y="1718"/>
                </a:lnTo>
                <a:lnTo>
                  <a:pt x="4441" y="1711"/>
                </a:lnTo>
                <a:lnTo>
                  <a:pt x="4439" y="1701"/>
                </a:lnTo>
                <a:lnTo>
                  <a:pt x="4437" y="1693"/>
                </a:lnTo>
                <a:lnTo>
                  <a:pt x="4435" y="1685"/>
                </a:lnTo>
                <a:lnTo>
                  <a:pt x="4433" y="1677"/>
                </a:lnTo>
                <a:lnTo>
                  <a:pt x="4430" y="1669"/>
                </a:lnTo>
                <a:lnTo>
                  <a:pt x="4422" y="1653"/>
                </a:lnTo>
                <a:lnTo>
                  <a:pt x="4418" y="1645"/>
                </a:lnTo>
                <a:lnTo>
                  <a:pt x="4413" y="1639"/>
                </a:lnTo>
                <a:lnTo>
                  <a:pt x="4402" y="1625"/>
                </a:lnTo>
                <a:lnTo>
                  <a:pt x="4389" y="1613"/>
                </a:lnTo>
                <a:lnTo>
                  <a:pt x="4325" y="1555"/>
                </a:lnTo>
                <a:lnTo>
                  <a:pt x="4315" y="1547"/>
                </a:lnTo>
                <a:lnTo>
                  <a:pt x="4305" y="1537"/>
                </a:lnTo>
                <a:lnTo>
                  <a:pt x="4289" y="1517"/>
                </a:lnTo>
                <a:lnTo>
                  <a:pt x="4275" y="1497"/>
                </a:lnTo>
                <a:lnTo>
                  <a:pt x="4270" y="1485"/>
                </a:lnTo>
                <a:lnTo>
                  <a:pt x="4264" y="1473"/>
                </a:lnTo>
                <a:lnTo>
                  <a:pt x="4260" y="1461"/>
                </a:lnTo>
                <a:lnTo>
                  <a:pt x="4255" y="1447"/>
                </a:lnTo>
                <a:lnTo>
                  <a:pt x="4252" y="1433"/>
                </a:lnTo>
                <a:lnTo>
                  <a:pt x="4249" y="1417"/>
                </a:lnTo>
                <a:lnTo>
                  <a:pt x="4247" y="1401"/>
                </a:lnTo>
                <a:lnTo>
                  <a:pt x="4246" y="1393"/>
                </a:lnTo>
                <a:lnTo>
                  <a:pt x="4245" y="1385"/>
                </a:lnTo>
                <a:lnTo>
                  <a:pt x="4244" y="1367"/>
                </a:lnTo>
                <a:lnTo>
                  <a:pt x="4244" y="1347"/>
                </a:lnTo>
                <a:lnTo>
                  <a:pt x="4244" y="1335"/>
                </a:lnTo>
                <a:lnTo>
                  <a:pt x="4245" y="1323"/>
                </a:lnTo>
                <a:lnTo>
                  <a:pt x="4246" y="1311"/>
                </a:lnTo>
                <a:lnTo>
                  <a:pt x="4247" y="1299"/>
                </a:lnTo>
                <a:lnTo>
                  <a:pt x="4248" y="1289"/>
                </a:lnTo>
                <a:lnTo>
                  <a:pt x="4250" y="1279"/>
                </a:lnTo>
                <a:lnTo>
                  <a:pt x="4254" y="1259"/>
                </a:lnTo>
                <a:lnTo>
                  <a:pt x="4257" y="1249"/>
                </a:lnTo>
                <a:lnTo>
                  <a:pt x="4260" y="1241"/>
                </a:lnTo>
                <a:lnTo>
                  <a:pt x="4266" y="1225"/>
                </a:lnTo>
                <a:lnTo>
                  <a:pt x="4273" y="1210"/>
                </a:lnTo>
                <a:lnTo>
                  <a:pt x="4277" y="1204"/>
                </a:lnTo>
                <a:lnTo>
                  <a:pt x="4282" y="1198"/>
                </a:lnTo>
                <a:lnTo>
                  <a:pt x="4291" y="1186"/>
                </a:lnTo>
                <a:lnTo>
                  <a:pt x="4301" y="1176"/>
                </a:lnTo>
                <a:lnTo>
                  <a:pt x="4311" y="1166"/>
                </a:lnTo>
                <a:lnTo>
                  <a:pt x="4323" y="1160"/>
                </a:lnTo>
                <a:lnTo>
                  <a:pt x="4335" y="1154"/>
                </a:lnTo>
                <a:lnTo>
                  <a:pt x="4347" y="1150"/>
                </a:lnTo>
                <a:lnTo>
                  <a:pt x="4360" y="1148"/>
                </a:lnTo>
                <a:lnTo>
                  <a:pt x="4373" y="1148"/>
                </a:lnTo>
                <a:lnTo>
                  <a:pt x="4388" y="1150"/>
                </a:lnTo>
                <a:lnTo>
                  <a:pt x="4403" y="1152"/>
                </a:lnTo>
                <a:lnTo>
                  <a:pt x="4416" y="1158"/>
                </a:lnTo>
                <a:lnTo>
                  <a:pt x="4422" y="1162"/>
                </a:lnTo>
                <a:lnTo>
                  <a:pt x="4428" y="1166"/>
                </a:lnTo>
                <a:lnTo>
                  <a:pt x="4440" y="1174"/>
                </a:lnTo>
                <a:lnTo>
                  <a:pt x="4450" y="1186"/>
                </a:lnTo>
                <a:lnTo>
                  <a:pt x="4459" y="1198"/>
                </a:lnTo>
                <a:lnTo>
                  <a:pt x="4467" y="1212"/>
                </a:lnTo>
                <a:lnTo>
                  <a:pt x="4471" y="1218"/>
                </a:lnTo>
                <a:lnTo>
                  <a:pt x="4474" y="1225"/>
                </a:lnTo>
                <a:lnTo>
                  <a:pt x="4477" y="1233"/>
                </a:lnTo>
                <a:lnTo>
                  <a:pt x="4480" y="1241"/>
                </a:lnTo>
                <a:lnTo>
                  <a:pt x="4485" y="1259"/>
                </a:lnTo>
                <a:lnTo>
                  <a:pt x="4490" y="1275"/>
                </a:lnTo>
                <a:lnTo>
                  <a:pt x="4493" y="1293"/>
                </a:lnTo>
                <a:lnTo>
                  <a:pt x="4495" y="1313"/>
                </a:lnTo>
                <a:lnTo>
                  <a:pt x="4497" y="1331"/>
                </a:lnTo>
                <a:lnTo>
                  <a:pt x="4497" y="1349"/>
                </a:lnTo>
                <a:lnTo>
                  <a:pt x="4435" y="1375"/>
                </a:lnTo>
                <a:lnTo>
                  <a:pt x="4435" y="1359"/>
                </a:lnTo>
                <a:lnTo>
                  <a:pt x="4433" y="1345"/>
                </a:lnTo>
                <a:lnTo>
                  <a:pt x="4432" y="1331"/>
                </a:lnTo>
                <a:lnTo>
                  <a:pt x="4430" y="1319"/>
                </a:lnTo>
                <a:lnTo>
                  <a:pt x="4427" y="1309"/>
                </a:lnTo>
                <a:lnTo>
                  <a:pt x="4426" y="1303"/>
                </a:lnTo>
                <a:lnTo>
                  <a:pt x="4424" y="1299"/>
                </a:lnTo>
                <a:lnTo>
                  <a:pt x="4421" y="1289"/>
                </a:lnTo>
                <a:lnTo>
                  <a:pt x="4417" y="1281"/>
                </a:lnTo>
                <a:lnTo>
                  <a:pt x="4413" y="1275"/>
                </a:lnTo>
                <a:lnTo>
                  <a:pt x="4408" y="1269"/>
                </a:lnTo>
                <a:lnTo>
                  <a:pt x="4403" y="1265"/>
                </a:lnTo>
                <a:lnTo>
                  <a:pt x="4397" y="1261"/>
                </a:lnTo>
                <a:lnTo>
                  <a:pt x="4391" y="1257"/>
                </a:lnTo>
                <a:lnTo>
                  <a:pt x="4385" y="1255"/>
                </a:lnTo>
                <a:lnTo>
                  <a:pt x="4378" y="1255"/>
                </a:lnTo>
                <a:lnTo>
                  <a:pt x="4370" y="1253"/>
                </a:lnTo>
                <a:lnTo>
                  <a:pt x="4358" y="1255"/>
                </a:lnTo>
                <a:lnTo>
                  <a:pt x="4346" y="1259"/>
                </a:lnTo>
                <a:lnTo>
                  <a:pt x="4341" y="1263"/>
                </a:lnTo>
                <a:lnTo>
                  <a:pt x="4336" y="1267"/>
                </a:lnTo>
                <a:lnTo>
                  <a:pt x="4331" y="1271"/>
                </a:lnTo>
                <a:lnTo>
                  <a:pt x="4327" y="1275"/>
                </a:lnTo>
                <a:lnTo>
                  <a:pt x="4323" y="1281"/>
                </a:lnTo>
                <a:lnTo>
                  <a:pt x="4319" y="1287"/>
                </a:lnTo>
                <a:lnTo>
                  <a:pt x="4316" y="1295"/>
                </a:lnTo>
                <a:lnTo>
                  <a:pt x="4313" y="1303"/>
                </a:lnTo>
                <a:lnTo>
                  <a:pt x="4311" y="1311"/>
                </a:lnTo>
                <a:lnTo>
                  <a:pt x="4310" y="1321"/>
                </a:lnTo>
                <a:lnTo>
                  <a:pt x="4309" y="1331"/>
                </a:lnTo>
                <a:lnTo>
                  <a:pt x="4308" y="1341"/>
                </a:lnTo>
                <a:lnTo>
                  <a:pt x="4309" y="1351"/>
                </a:lnTo>
                <a:lnTo>
                  <a:pt x="4309" y="1361"/>
                </a:lnTo>
                <a:lnTo>
                  <a:pt x="4310" y="1371"/>
                </a:lnTo>
                <a:lnTo>
                  <a:pt x="4311" y="1379"/>
                </a:lnTo>
                <a:lnTo>
                  <a:pt x="4313" y="1387"/>
                </a:lnTo>
                <a:lnTo>
                  <a:pt x="4315" y="1395"/>
                </a:lnTo>
                <a:lnTo>
                  <a:pt x="4318" y="1403"/>
                </a:lnTo>
                <a:lnTo>
                  <a:pt x="4321" y="1409"/>
                </a:lnTo>
                <a:lnTo>
                  <a:pt x="4325" y="1415"/>
                </a:lnTo>
                <a:lnTo>
                  <a:pt x="4328" y="1421"/>
                </a:lnTo>
                <a:lnTo>
                  <a:pt x="4337" y="1433"/>
                </a:lnTo>
                <a:lnTo>
                  <a:pt x="4347" y="1445"/>
                </a:lnTo>
                <a:lnTo>
                  <a:pt x="4359" y="1457"/>
                </a:lnTo>
                <a:lnTo>
                  <a:pt x="4421" y="1511"/>
                </a:lnTo>
                <a:lnTo>
                  <a:pt x="4431" y="1521"/>
                </a:lnTo>
                <a:lnTo>
                  <a:pt x="4442" y="1531"/>
                </a:lnTo>
                <a:lnTo>
                  <a:pt x="4451" y="1541"/>
                </a:lnTo>
                <a:lnTo>
                  <a:pt x="4459" y="1553"/>
                </a:lnTo>
                <a:lnTo>
                  <a:pt x="4467" y="1565"/>
                </a:lnTo>
                <a:lnTo>
                  <a:pt x="4474" y="1575"/>
                </a:lnTo>
                <a:lnTo>
                  <a:pt x="4480" y="1589"/>
                </a:lnTo>
                <a:lnTo>
                  <a:pt x="4486" y="1601"/>
                </a:lnTo>
                <a:lnTo>
                  <a:pt x="4491" y="1615"/>
                </a:lnTo>
                <a:lnTo>
                  <a:pt x="4495" y="1629"/>
                </a:lnTo>
                <a:lnTo>
                  <a:pt x="4499" y="1643"/>
                </a:lnTo>
                <a:lnTo>
                  <a:pt x="4502" y="1659"/>
                </a:lnTo>
                <a:lnTo>
                  <a:pt x="4504" y="1675"/>
                </a:lnTo>
                <a:lnTo>
                  <a:pt x="4505" y="1685"/>
                </a:lnTo>
                <a:lnTo>
                  <a:pt x="4505" y="1693"/>
                </a:lnTo>
                <a:lnTo>
                  <a:pt x="4506" y="1711"/>
                </a:lnTo>
                <a:lnTo>
                  <a:pt x="4507" y="1730"/>
                </a:lnTo>
                <a:lnTo>
                  <a:pt x="4506" y="1756"/>
                </a:lnTo>
                <a:lnTo>
                  <a:pt x="4504" y="1780"/>
                </a:lnTo>
                <a:lnTo>
                  <a:pt x="4503" y="1792"/>
                </a:lnTo>
                <a:lnTo>
                  <a:pt x="4501" y="1802"/>
                </a:lnTo>
                <a:lnTo>
                  <a:pt x="4499" y="1814"/>
                </a:lnTo>
                <a:lnTo>
                  <a:pt x="4497" y="1824"/>
                </a:lnTo>
                <a:lnTo>
                  <a:pt x="4494" y="1834"/>
                </a:lnTo>
                <a:lnTo>
                  <a:pt x="4492" y="1844"/>
                </a:lnTo>
                <a:lnTo>
                  <a:pt x="4485" y="1862"/>
                </a:lnTo>
                <a:lnTo>
                  <a:pt x="4482" y="1870"/>
                </a:lnTo>
                <a:lnTo>
                  <a:pt x="4478" y="1880"/>
                </a:lnTo>
                <a:lnTo>
                  <a:pt x="4470" y="1894"/>
                </a:lnTo>
                <a:lnTo>
                  <a:pt x="4465" y="1902"/>
                </a:lnTo>
                <a:lnTo>
                  <a:pt x="4460" y="1908"/>
                </a:lnTo>
                <a:lnTo>
                  <a:pt x="4455" y="1914"/>
                </a:lnTo>
                <a:lnTo>
                  <a:pt x="4450" y="1920"/>
                </a:lnTo>
                <a:lnTo>
                  <a:pt x="4439" y="1930"/>
                </a:lnTo>
                <a:lnTo>
                  <a:pt x="4427" y="1938"/>
                </a:lnTo>
                <a:lnTo>
                  <a:pt x="4414" y="1946"/>
                </a:lnTo>
                <a:lnTo>
                  <a:pt x="4400" y="1950"/>
                </a:lnTo>
                <a:lnTo>
                  <a:pt x="4393" y="1952"/>
                </a:lnTo>
                <a:lnTo>
                  <a:pt x="4386" y="1952"/>
                </a:lnTo>
                <a:lnTo>
                  <a:pt x="4370" y="19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7DE48D-705B-612C-7DFA-B303012D79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98587" y="5517232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F5A17A4-EA2D-AFFF-38DF-9699B925DC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98587" y="5805264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9081584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6924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Vaalea Sinin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7914DCE-6058-44B1-98B2-C13AF4E05926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2394" cy="1656457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3861048"/>
            <a:ext cx="9791700" cy="1512168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2" name="Freeform 9">
            <a:extLst>
              <a:ext uri="{FF2B5EF4-FFF2-40B4-BE49-F238E27FC236}">
                <a16:creationId xmlns:a16="http://schemas.microsoft.com/office/drawing/2014/main" id="{2C197826-9F8E-5472-A8FC-FBC0D76CA5C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15594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Sinin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3F63859-DFEA-4631-A599-E629ED25BEAD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2394" cy="1656457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3861048"/>
            <a:ext cx="9791700" cy="1512168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2" name="Freeform 9">
            <a:extLst>
              <a:ext uri="{FF2B5EF4-FFF2-40B4-BE49-F238E27FC236}">
                <a16:creationId xmlns:a16="http://schemas.microsoft.com/office/drawing/2014/main" id="{2C197826-9F8E-5472-A8FC-FBC0D76CA5C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25024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Oranssi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DB0748B-91B7-4917-9528-1869B649BFF4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2394" cy="1656457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3861048"/>
            <a:ext cx="9791700" cy="1512168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2" name="Freeform 9">
            <a:extLst>
              <a:ext uri="{FF2B5EF4-FFF2-40B4-BE49-F238E27FC236}">
                <a16:creationId xmlns:a16="http://schemas.microsoft.com/office/drawing/2014/main" id="{2C197826-9F8E-5472-A8FC-FBC0D76CA5C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03364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F67B0F-AF88-4E06-81C1-B7A9E3F21C2D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2394" cy="1656457"/>
          </a:xfrm>
        </p:spPr>
        <p:txBody>
          <a:bodyPr anchor="t" anchorCtr="0"/>
          <a:lstStyle>
            <a:lvl1pPr algn="l"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3861048"/>
            <a:ext cx="9791700" cy="1512168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</p:spTree>
    <p:extLst>
      <p:ext uri="{BB962C8B-B14F-4D97-AF65-F5344CB8AC3E}">
        <p14:creationId xmlns:p14="http://schemas.microsoft.com/office/powerpoint/2010/main" val="23283051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BDE3D38-DA15-4ACB-BB6E-3540CD1C841E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1628800"/>
            <a:ext cx="5328592" cy="2592287"/>
          </a:xfrm>
        </p:spPr>
        <p:txBody>
          <a:bodyPr anchor="t" anchorCtr="0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5999" y="4365104"/>
            <a:ext cx="5327837" cy="100811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98AACD5E-0576-9130-AE59-234634CB2FE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88409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8CCB663-7BBE-4477-9C17-59E5957F2BAC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1628800"/>
            <a:ext cx="5328592" cy="2592287"/>
          </a:xfrm>
        </p:spPr>
        <p:txBody>
          <a:bodyPr anchor="t" anchorCtr="0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5999" y="4365104"/>
            <a:ext cx="5327837" cy="100811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98AACD5E-0576-9130-AE59-234634CB2FE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7849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B287D88-A56F-4FF9-BBE5-609A182CC008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1628800"/>
            <a:ext cx="5328592" cy="2592287"/>
          </a:xfrm>
        </p:spPr>
        <p:txBody>
          <a:bodyPr anchor="t" anchorCtr="0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5999" y="4365104"/>
            <a:ext cx="5327837" cy="100811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98AACD5E-0576-9130-AE59-234634CB2FE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064970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BACD3A5-C2E8-4383-BB29-21A1B31A53C0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99457" y="1628800"/>
            <a:ext cx="5328592" cy="2592287"/>
          </a:xfrm>
        </p:spPr>
        <p:txBody>
          <a:bodyPr anchor="t" anchorCtr="0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99456" y="4365104"/>
            <a:ext cx="5327837" cy="100811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76B15C77-C3E2-1396-58FE-ACF73DA2054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531637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F854260-9FBF-4969-8198-74D96A8774D9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99457" y="1628800"/>
            <a:ext cx="5328592" cy="2592287"/>
          </a:xfrm>
        </p:spPr>
        <p:txBody>
          <a:bodyPr anchor="t" anchorCtr="0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99456" y="4365104"/>
            <a:ext cx="5327837" cy="100811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76B15C77-C3E2-1396-58FE-ACF73DA2054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216095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Kuvall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2">
            <a:extLst>
              <a:ext uri="{FF2B5EF4-FFF2-40B4-BE49-F238E27FC236}">
                <a16:creationId xmlns:a16="http://schemas.microsoft.com/office/drawing/2014/main" id="{24212E61-FA6C-4909-A64F-96957E89603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" y="0"/>
            <a:ext cx="12192000" cy="6858000"/>
          </a:xfrm>
          <a:solidFill>
            <a:schemeClr val="tx2"/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en-GB" dirty="0" err="1"/>
              <a:t>Lisää</a:t>
            </a:r>
            <a:r>
              <a:rPr lang="en-GB" dirty="0"/>
              <a:t> </a:t>
            </a:r>
            <a:r>
              <a:rPr lang="en-GB" dirty="0" err="1"/>
              <a:t>kuva</a:t>
            </a:r>
            <a:endParaRPr lang="en-GB" dirty="0"/>
          </a:p>
          <a:p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A1CC72-92FB-3363-C5B8-9136608B004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1503213" y="6308625"/>
            <a:ext cx="280800" cy="21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1B2869C-67BB-4476-AC4C-95E7E4E455BA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1628800"/>
            <a:ext cx="5328592" cy="1231106"/>
          </a:xfrm>
        </p:spPr>
        <p:txBody>
          <a:bodyPr anchor="t" anchorCtr="0">
            <a:sp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5999" y="4365104"/>
            <a:ext cx="5327837" cy="100811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</p:spTree>
    <p:extLst>
      <p:ext uri="{BB962C8B-B14F-4D97-AF65-F5344CB8AC3E}">
        <p14:creationId xmlns:p14="http://schemas.microsoft.com/office/powerpoint/2010/main" val="31015570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oitusdia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89437-0A9F-6907-E834-ECE3DB6251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1700" cy="2304529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BA9B7E5-3139-76AA-C2C3-60620F1D9B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4509120"/>
            <a:ext cx="9791700" cy="864096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98F4D-E89B-8263-EB37-8F8B305D4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4E4AADA-258E-4BF4-A905-598A1DC58CA7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B5C31-D7B7-0A4A-9FF1-A8910751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9B765-A518-625F-2D82-59131FF13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CD5646D-347F-0693-85B7-82EEFAEE1F7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07368" y="333375"/>
            <a:ext cx="2325003" cy="504000"/>
          </a:xfrm>
          <a:custGeom>
            <a:avLst/>
            <a:gdLst>
              <a:gd name="T0" fmla="*/ 11 w 4507"/>
              <a:gd name="T1" fmla="*/ 18 h 1954"/>
              <a:gd name="T2" fmla="*/ 659 w 4507"/>
              <a:gd name="T3" fmla="*/ 297 h 1954"/>
              <a:gd name="T4" fmla="*/ 666 w 4507"/>
              <a:gd name="T5" fmla="*/ 916 h 1954"/>
              <a:gd name="T6" fmla="*/ 347 w 4507"/>
              <a:gd name="T7" fmla="*/ 880 h 1954"/>
              <a:gd name="T8" fmla="*/ 471 w 4507"/>
              <a:gd name="T9" fmla="*/ 675 h 1954"/>
              <a:gd name="T10" fmla="*/ 375 w 4507"/>
              <a:gd name="T11" fmla="*/ 401 h 1954"/>
              <a:gd name="T12" fmla="*/ 1722 w 4507"/>
              <a:gd name="T13" fmla="*/ 26 h 1954"/>
              <a:gd name="T14" fmla="*/ 1804 w 4507"/>
              <a:gd name="T15" fmla="*/ 309 h 1954"/>
              <a:gd name="T16" fmla="*/ 1741 w 4507"/>
              <a:gd name="T17" fmla="*/ 269 h 1954"/>
              <a:gd name="T18" fmla="*/ 1854 w 4507"/>
              <a:gd name="T19" fmla="*/ 788 h 1954"/>
              <a:gd name="T20" fmla="*/ 2410 w 4507"/>
              <a:gd name="T21" fmla="*/ 18 h 1954"/>
              <a:gd name="T22" fmla="*/ 3053 w 4507"/>
              <a:gd name="T23" fmla="*/ 553 h 1954"/>
              <a:gd name="T24" fmla="*/ 3419 w 4507"/>
              <a:gd name="T25" fmla="*/ 539 h 1954"/>
              <a:gd name="T26" fmla="*/ 3595 w 4507"/>
              <a:gd name="T27" fmla="*/ 659 h 1954"/>
              <a:gd name="T28" fmla="*/ 3699 w 4507"/>
              <a:gd name="T29" fmla="*/ 697 h 1954"/>
              <a:gd name="T30" fmla="*/ 3842 w 4507"/>
              <a:gd name="T31" fmla="*/ 595 h 1954"/>
              <a:gd name="T32" fmla="*/ 3700 w 4507"/>
              <a:gd name="T33" fmla="*/ 806 h 1954"/>
              <a:gd name="T34" fmla="*/ 3943 w 4507"/>
              <a:gd name="T35" fmla="*/ 725 h 1954"/>
              <a:gd name="T36" fmla="*/ 4018 w 4507"/>
              <a:gd name="T37" fmla="*/ 689 h 1954"/>
              <a:gd name="T38" fmla="*/ 4124 w 4507"/>
              <a:gd name="T39" fmla="*/ 581 h 1954"/>
              <a:gd name="T40" fmla="*/ 3931 w 4507"/>
              <a:gd name="T41" fmla="*/ 269 h 1954"/>
              <a:gd name="T42" fmla="*/ 4017 w 4507"/>
              <a:gd name="T43" fmla="*/ 6 h 1954"/>
              <a:gd name="T44" fmla="*/ 4117 w 4507"/>
              <a:gd name="T45" fmla="*/ 228 h 1954"/>
              <a:gd name="T46" fmla="*/ 4005 w 4507"/>
              <a:gd name="T47" fmla="*/ 134 h 1954"/>
              <a:gd name="T48" fmla="*/ 4123 w 4507"/>
              <a:gd name="T49" fmla="*/ 383 h 1954"/>
              <a:gd name="T50" fmla="*/ 4174 w 4507"/>
              <a:gd name="T51" fmla="*/ 697 h 1954"/>
              <a:gd name="T52" fmla="*/ 1767 w 4507"/>
              <a:gd name="T53" fmla="*/ 1273 h 1954"/>
              <a:gd name="T54" fmla="*/ 2197 w 4507"/>
              <a:gd name="T55" fmla="*/ 1926 h 1954"/>
              <a:gd name="T56" fmla="*/ 2114 w 4507"/>
              <a:gd name="T57" fmla="*/ 1551 h 1954"/>
              <a:gd name="T58" fmla="*/ 2226 w 4507"/>
              <a:gd name="T59" fmla="*/ 1156 h 1954"/>
              <a:gd name="T60" fmla="*/ 2385 w 4507"/>
              <a:gd name="T61" fmla="*/ 1313 h 1954"/>
              <a:gd name="T62" fmla="*/ 2373 w 4507"/>
              <a:gd name="T63" fmla="*/ 1834 h 1954"/>
              <a:gd name="T64" fmla="*/ 2227 w 4507"/>
              <a:gd name="T65" fmla="*/ 1271 h 1954"/>
              <a:gd name="T66" fmla="*/ 2192 w 4507"/>
              <a:gd name="T67" fmla="*/ 1738 h 1954"/>
              <a:gd name="T68" fmla="*/ 2323 w 4507"/>
              <a:gd name="T69" fmla="*/ 1760 h 1954"/>
              <a:gd name="T70" fmla="*/ 2273 w 4507"/>
              <a:gd name="T71" fmla="*/ 1259 h 1954"/>
              <a:gd name="T72" fmla="*/ 3321 w 4507"/>
              <a:gd name="T73" fmla="*/ 1954 h 1954"/>
              <a:gd name="T74" fmla="*/ 3265 w 4507"/>
              <a:gd name="T75" fmla="*/ 1693 h 1954"/>
              <a:gd name="T76" fmla="*/ 3380 w 4507"/>
              <a:gd name="T77" fmla="*/ 1832 h 1954"/>
              <a:gd name="T78" fmla="*/ 3369 w 4507"/>
              <a:gd name="T79" fmla="*/ 1625 h 1954"/>
              <a:gd name="T80" fmla="*/ 3218 w 4507"/>
              <a:gd name="T81" fmla="*/ 1279 h 1954"/>
              <a:gd name="T82" fmla="*/ 3426 w 4507"/>
              <a:gd name="T83" fmla="*/ 1198 h 1954"/>
              <a:gd name="T84" fmla="*/ 3370 w 4507"/>
              <a:gd name="T85" fmla="*/ 1265 h 1954"/>
              <a:gd name="T86" fmla="*/ 3279 w 4507"/>
              <a:gd name="T87" fmla="*/ 1379 h 1954"/>
              <a:gd name="T88" fmla="*/ 3471 w 4507"/>
              <a:gd name="T89" fmla="*/ 1675 h 1954"/>
              <a:gd name="T90" fmla="*/ 3381 w 4507"/>
              <a:gd name="T91" fmla="*/ 1946 h 1954"/>
              <a:gd name="T92" fmla="*/ 3620 w 4507"/>
              <a:gd name="T93" fmla="*/ 1772 h 1954"/>
              <a:gd name="T94" fmla="*/ 3736 w 4507"/>
              <a:gd name="T95" fmla="*/ 1772 h 1954"/>
              <a:gd name="T96" fmla="*/ 3756 w 4507"/>
              <a:gd name="T97" fmla="*/ 1914 h 1954"/>
              <a:gd name="T98" fmla="*/ 3915 w 4507"/>
              <a:gd name="T99" fmla="*/ 1828 h 1954"/>
              <a:gd name="T100" fmla="*/ 4005 w 4507"/>
              <a:gd name="T101" fmla="*/ 1838 h 1954"/>
              <a:gd name="T102" fmla="*/ 4160 w 4507"/>
              <a:gd name="T103" fmla="*/ 1697 h 1954"/>
              <a:gd name="T104" fmla="*/ 4039 w 4507"/>
              <a:gd name="T105" fmla="*/ 1954 h 1954"/>
              <a:gd name="T106" fmla="*/ 4268 w 4507"/>
              <a:gd name="T107" fmla="*/ 1888 h 1954"/>
              <a:gd name="T108" fmla="*/ 4324 w 4507"/>
              <a:gd name="T109" fmla="*/ 1824 h 1954"/>
              <a:gd name="T110" fmla="*/ 4442 w 4507"/>
              <a:gd name="T111" fmla="*/ 1752 h 1954"/>
              <a:gd name="T112" fmla="*/ 4255 w 4507"/>
              <a:gd name="T113" fmla="*/ 1447 h 1954"/>
              <a:gd name="T114" fmla="*/ 4311 w 4507"/>
              <a:gd name="T115" fmla="*/ 1166 h 1954"/>
              <a:gd name="T116" fmla="*/ 4497 w 4507"/>
              <a:gd name="T117" fmla="*/ 1331 h 1954"/>
              <a:gd name="T118" fmla="*/ 4336 w 4507"/>
              <a:gd name="T119" fmla="*/ 1267 h 1954"/>
              <a:gd name="T120" fmla="*/ 4359 w 4507"/>
              <a:gd name="T121" fmla="*/ 1457 h 1954"/>
              <a:gd name="T122" fmla="*/ 4499 w 4507"/>
              <a:gd name="T123" fmla="*/ 1814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507" h="1954">
                <a:moveTo>
                  <a:pt x="4307" y="327"/>
                </a:moveTo>
                <a:lnTo>
                  <a:pt x="4377" y="327"/>
                </a:lnTo>
                <a:lnTo>
                  <a:pt x="4377" y="463"/>
                </a:lnTo>
                <a:lnTo>
                  <a:pt x="4307" y="463"/>
                </a:lnTo>
                <a:lnTo>
                  <a:pt x="4307" y="327"/>
                </a:lnTo>
                <a:close/>
                <a:moveTo>
                  <a:pt x="1248" y="18"/>
                </a:moveTo>
                <a:lnTo>
                  <a:pt x="1248" y="473"/>
                </a:lnTo>
                <a:lnTo>
                  <a:pt x="1051" y="473"/>
                </a:lnTo>
                <a:lnTo>
                  <a:pt x="1051" y="1936"/>
                </a:lnTo>
                <a:lnTo>
                  <a:pt x="821" y="1936"/>
                </a:lnTo>
                <a:lnTo>
                  <a:pt x="821" y="473"/>
                </a:lnTo>
                <a:lnTo>
                  <a:pt x="655" y="18"/>
                </a:lnTo>
                <a:lnTo>
                  <a:pt x="1248" y="18"/>
                </a:lnTo>
                <a:close/>
                <a:moveTo>
                  <a:pt x="0" y="1481"/>
                </a:moveTo>
                <a:lnTo>
                  <a:pt x="230" y="1481"/>
                </a:lnTo>
                <a:lnTo>
                  <a:pt x="230" y="1936"/>
                </a:lnTo>
                <a:lnTo>
                  <a:pt x="0" y="1936"/>
                </a:lnTo>
                <a:lnTo>
                  <a:pt x="0" y="1481"/>
                </a:lnTo>
                <a:close/>
                <a:moveTo>
                  <a:pt x="487" y="1186"/>
                </a:moveTo>
                <a:lnTo>
                  <a:pt x="752" y="1936"/>
                </a:lnTo>
                <a:lnTo>
                  <a:pt x="495" y="1936"/>
                </a:lnTo>
                <a:lnTo>
                  <a:pt x="11" y="559"/>
                </a:lnTo>
                <a:lnTo>
                  <a:pt x="11" y="18"/>
                </a:lnTo>
                <a:lnTo>
                  <a:pt x="309" y="18"/>
                </a:lnTo>
                <a:lnTo>
                  <a:pt x="335" y="18"/>
                </a:lnTo>
                <a:lnTo>
                  <a:pt x="359" y="20"/>
                </a:lnTo>
                <a:lnTo>
                  <a:pt x="382" y="24"/>
                </a:lnTo>
                <a:lnTo>
                  <a:pt x="404" y="30"/>
                </a:lnTo>
                <a:lnTo>
                  <a:pt x="426" y="36"/>
                </a:lnTo>
                <a:lnTo>
                  <a:pt x="447" y="44"/>
                </a:lnTo>
                <a:lnTo>
                  <a:pt x="467" y="52"/>
                </a:lnTo>
                <a:lnTo>
                  <a:pt x="476" y="58"/>
                </a:lnTo>
                <a:lnTo>
                  <a:pt x="486" y="62"/>
                </a:lnTo>
                <a:lnTo>
                  <a:pt x="504" y="74"/>
                </a:lnTo>
                <a:lnTo>
                  <a:pt x="521" y="88"/>
                </a:lnTo>
                <a:lnTo>
                  <a:pt x="538" y="102"/>
                </a:lnTo>
                <a:lnTo>
                  <a:pt x="553" y="116"/>
                </a:lnTo>
                <a:lnTo>
                  <a:pt x="569" y="132"/>
                </a:lnTo>
                <a:lnTo>
                  <a:pt x="583" y="150"/>
                </a:lnTo>
                <a:lnTo>
                  <a:pt x="596" y="168"/>
                </a:lnTo>
                <a:lnTo>
                  <a:pt x="609" y="188"/>
                </a:lnTo>
                <a:lnTo>
                  <a:pt x="620" y="208"/>
                </a:lnTo>
                <a:lnTo>
                  <a:pt x="631" y="230"/>
                </a:lnTo>
                <a:lnTo>
                  <a:pt x="641" y="251"/>
                </a:lnTo>
                <a:lnTo>
                  <a:pt x="650" y="273"/>
                </a:lnTo>
                <a:lnTo>
                  <a:pt x="659" y="297"/>
                </a:lnTo>
                <a:lnTo>
                  <a:pt x="666" y="323"/>
                </a:lnTo>
                <a:lnTo>
                  <a:pt x="673" y="349"/>
                </a:lnTo>
                <a:lnTo>
                  <a:pt x="680" y="375"/>
                </a:lnTo>
                <a:lnTo>
                  <a:pt x="685" y="401"/>
                </a:lnTo>
                <a:lnTo>
                  <a:pt x="690" y="429"/>
                </a:lnTo>
                <a:lnTo>
                  <a:pt x="694" y="459"/>
                </a:lnTo>
                <a:lnTo>
                  <a:pt x="697" y="487"/>
                </a:lnTo>
                <a:lnTo>
                  <a:pt x="699" y="517"/>
                </a:lnTo>
                <a:lnTo>
                  <a:pt x="701" y="547"/>
                </a:lnTo>
                <a:lnTo>
                  <a:pt x="702" y="579"/>
                </a:lnTo>
                <a:lnTo>
                  <a:pt x="703" y="611"/>
                </a:lnTo>
                <a:lnTo>
                  <a:pt x="702" y="661"/>
                </a:lnTo>
                <a:lnTo>
                  <a:pt x="701" y="687"/>
                </a:lnTo>
                <a:lnTo>
                  <a:pt x="699" y="711"/>
                </a:lnTo>
                <a:lnTo>
                  <a:pt x="697" y="735"/>
                </a:lnTo>
                <a:lnTo>
                  <a:pt x="695" y="758"/>
                </a:lnTo>
                <a:lnTo>
                  <a:pt x="692" y="782"/>
                </a:lnTo>
                <a:lnTo>
                  <a:pt x="689" y="806"/>
                </a:lnTo>
                <a:lnTo>
                  <a:pt x="685" y="830"/>
                </a:lnTo>
                <a:lnTo>
                  <a:pt x="681" y="852"/>
                </a:lnTo>
                <a:lnTo>
                  <a:pt x="677" y="874"/>
                </a:lnTo>
                <a:lnTo>
                  <a:pt x="672" y="896"/>
                </a:lnTo>
                <a:lnTo>
                  <a:pt x="666" y="916"/>
                </a:lnTo>
                <a:lnTo>
                  <a:pt x="661" y="938"/>
                </a:lnTo>
                <a:lnTo>
                  <a:pt x="655" y="958"/>
                </a:lnTo>
                <a:lnTo>
                  <a:pt x="648" y="976"/>
                </a:lnTo>
                <a:lnTo>
                  <a:pt x="641" y="996"/>
                </a:lnTo>
                <a:lnTo>
                  <a:pt x="634" y="1014"/>
                </a:lnTo>
                <a:lnTo>
                  <a:pt x="626" y="1030"/>
                </a:lnTo>
                <a:lnTo>
                  <a:pt x="618" y="1048"/>
                </a:lnTo>
                <a:lnTo>
                  <a:pt x="609" y="1064"/>
                </a:lnTo>
                <a:lnTo>
                  <a:pt x="600" y="1080"/>
                </a:lnTo>
                <a:lnTo>
                  <a:pt x="591" y="1094"/>
                </a:lnTo>
                <a:lnTo>
                  <a:pt x="581" y="1108"/>
                </a:lnTo>
                <a:lnTo>
                  <a:pt x="571" y="1120"/>
                </a:lnTo>
                <a:lnTo>
                  <a:pt x="559" y="1132"/>
                </a:lnTo>
                <a:lnTo>
                  <a:pt x="548" y="1144"/>
                </a:lnTo>
                <a:lnTo>
                  <a:pt x="537" y="1154"/>
                </a:lnTo>
                <a:lnTo>
                  <a:pt x="525" y="1164"/>
                </a:lnTo>
                <a:lnTo>
                  <a:pt x="513" y="1172"/>
                </a:lnTo>
                <a:lnTo>
                  <a:pt x="500" y="1180"/>
                </a:lnTo>
                <a:lnTo>
                  <a:pt x="487" y="1186"/>
                </a:lnTo>
                <a:close/>
                <a:moveTo>
                  <a:pt x="239" y="391"/>
                </a:moveTo>
                <a:lnTo>
                  <a:pt x="239" y="880"/>
                </a:lnTo>
                <a:lnTo>
                  <a:pt x="337" y="880"/>
                </a:lnTo>
                <a:lnTo>
                  <a:pt x="347" y="880"/>
                </a:lnTo>
                <a:lnTo>
                  <a:pt x="357" y="880"/>
                </a:lnTo>
                <a:lnTo>
                  <a:pt x="367" y="878"/>
                </a:lnTo>
                <a:lnTo>
                  <a:pt x="376" y="874"/>
                </a:lnTo>
                <a:lnTo>
                  <a:pt x="384" y="872"/>
                </a:lnTo>
                <a:lnTo>
                  <a:pt x="392" y="868"/>
                </a:lnTo>
                <a:lnTo>
                  <a:pt x="400" y="862"/>
                </a:lnTo>
                <a:lnTo>
                  <a:pt x="407" y="858"/>
                </a:lnTo>
                <a:lnTo>
                  <a:pt x="413" y="852"/>
                </a:lnTo>
                <a:lnTo>
                  <a:pt x="419" y="844"/>
                </a:lnTo>
                <a:lnTo>
                  <a:pt x="425" y="838"/>
                </a:lnTo>
                <a:lnTo>
                  <a:pt x="430" y="830"/>
                </a:lnTo>
                <a:lnTo>
                  <a:pt x="435" y="822"/>
                </a:lnTo>
                <a:lnTo>
                  <a:pt x="440" y="814"/>
                </a:lnTo>
                <a:lnTo>
                  <a:pt x="444" y="806"/>
                </a:lnTo>
                <a:lnTo>
                  <a:pt x="448" y="796"/>
                </a:lnTo>
                <a:lnTo>
                  <a:pt x="451" y="788"/>
                </a:lnTo>
                <a:lnTo>
                  <a:pt x="454" y="778"/>
                </a:lnTo>
                <a:lnTo>
                  <a:pt x="457" y="768"/>
                </a:lnTo>
                <a:lnTo>
                  <a:pt x="460" y="758"/>
                </a:lnTo>
                <a:lnTo>
                  <a:pt x="464" y="738"/>
                </a:lnTo>
                <a:lnTo>
                  <a:pt x="467" y="717"/>
                </a:lnTo>
                <a:lnTo>
                  <a:pt x="470" y="697"/>
                </a:lnTo>
                <a:lnTo>
                  <a:pt x="471" y="675"/>
                </a:lnTo>
                <a:lnTo>
                  <a:pt x="472" y="655"/>
                </a:lnTo>
                <a:lnTo>
                  <a:pt x="472" y="635"/>
                </a:lnTo>
                <a:lnTo>
                  <a:pt x="472" y="615"/>
                </a:lnTo>
                <a:lnTo>
                  <a:pt x="470" y="593"/>
                </a:lnTo>
                <a:lnTo>
                  <a:pt x="468" y="573"/>
                </a:lnTo>
                <a:lnTo>
                  <a:pt x="464" y="551"/>
                </a:lnTo>
                <a:lnTo>
                  <a:pt x="462" y="541"/>
                </a:lnTo>
                <a:lnTo>
                  <a:pt x="459" y="531"/>
                </a:lnTo>
                <a:lnTo>
                  <a:pt x="457" y="521"/>
                </a:lnTo>
                <a:lnTo>
                  <a:pt x="454" y="511"/>
                </a:lnTo>
                <a:lnTo>
                  <a:pt x="447" y="491"/>
                </a:lnTo>
                <a:lnTo>
                  <a:pt x="443" y="483"/>
                </a:lnTo>
                <a:lnTo>
                  <a:pt x="439" y="473"/>
                </a:lnTo>
                <a:lnTo>
                  <a:pt x="435" y="465"/>
                </a:lnTo>
                <a:lnTo>
                  <a:pt x="430" y="457"/>
                </a:lnTo>
                <a:lnTo>
                  <a:pt x="420" y="441"/>
                </a:lnTo>
                <a:lnTo>
                  <a:pt x="414" y="433"/>
                </a:lnTo>
                <a:lnTo>
                  <a:pt x="408" y="427"/>
                </a:lnTo>
                <a:lnTo>
                  <a:pt x="402" y="421"/>
                </a:lnTo>
                <a:lnTo>
                  <a:pt x="396" y="415"/>
                </a:lnTo>
                <a:lnTo>
                  <a:pt x="389" y="409"/>
                </a:lnTo>
                <a:lnTo>
                  <a:pt x="382" y="405"/>
                </a:lnTo>
                <a:lnTo>
                  <a:pt x="375" y="401"/>
                </a:lnTo>
                <a:lnTo>
                  <a:pt x="367" y="397"/>
                </a:lnTo>
                <a:lnTo>
                  <a:pt x="359" y="395"/>
                </a:lnTo>
                <a:lnTo>
                  <a:pt x="351" y="393"/>
                </a:lnTo>
                <a:lnTo>
                  <a:pt x="333" y="391"/>
                </a:lnTo>
                <a:lnTo>
                  <a:pt x="239" y="391"/>
                </a:lnTo>
                <a:close/>
                <a:moveTo>
                  <a:pt x="1780" y="395"/>
                </a:moveTo>
                <a:lnTo>
                  <a:pt x="1776" y="403"/>
                </a:lnTo>
                <a:lnTo>
                  <a:pt x="1772" y="411"/>
                </a:lnTo>
                <a:lnTo>
                  <a:pt x="1763" y="423"/>
                </a:lnTo>
                <a:lnTo>
                  <a:pt x="1754" y="433"/>
                </a:lnTo>
                <a:lnTo>
                  <a:pt x="1743" y="443"/>
                </a:lnTo>
                <a:lnTo>
                  <a:pt x="1814" y="788"/>
                </a:lnTo>
                <a:lnTo>
                  <a:pt x="1742" y="788"/>
                </a:lnTo>
                <a:lnTo>
                  <a:pt x="1683" y="465"/>
                </a:lnTo>
                <a:lnTo>
                  <a:pt x="1607" y="465"/>
                </a:lnTo>
                <a:lnTo>
                  <a:pt x="1607" y="788"/>
                </a:lnTo>
                <a:lnTo>
                  <a:pt x="1543" y="788"/>
                </a:lnTo>
                <a:lnTo>
                  <a:pt x="1543" y="18"/>
                </a:lnTo>
                <a:lnTo>
                  <a:pt x="1681" y="18"/>
                </a:lnTo>
                <a:lnTo>
                  <a:pt x="1696" y="18"/>
                </a:lnTo>
                <a:lnTo>
                  <a:pt x="1703" y="20"/>
                </a:lnTo>
                <a:lnTo>
                  <a:pt x="1710" y="22"/>
                </a:lnTo>
                <a:lnTo>
                  <a:pt x="1722" y="26"/>
                </a:lnTo>
                <a:lnTo>
                  <a:pt x="1734" y="32"/>
                </a:lnTo>
                <a:lnTo>
                  <a:pt x="1745" y="40"/>
                </a:lnTo>
                <a:lnTo>
                  <a:pt x="1755" y="50"/>
                </a:lnTo>
                <a:lnTo>
                  <a:pt x="1765" y="62"/>
                </a:lnTo>
                <a:lnTo>
                  <a:pt x="1769" y="68"/>
                </a:lnTo>
                <a:lnTo>
                  <a:pt x="1773" y="76"/>
                </a:lnTo>
                <a:lnTo>
                  <a:pt x="1781" y="92"/>
                </a:lnTo>
                <a:lnTo>
                  <a:pt x="1788" y="108"/>
                </a:lnTo>
                <a:lnTo>
                  <a:pt x="1791" y="118"/>
                </a:lnTo>
                <a:lnTo>
                  <a:pt x="1794" y="126"/>
                </a:lnTo>
                <a:lnTo>
                  <a:pt x="1799" y="146"/>
                </a:lnTo>
                <a:lnTo>
                  <a:pt x="1803" y="168"/>
                </a:lnTo>
                <a:lnTo>
                  <a:pt x="1805" y="178"/>
                </a:lnTo>
                <a:lnTo>
                  <a:pt x="1806" y="190"/>
                </a:lnTo>
                <a:lnTo>
                  <a:pt x="1807" y="200"/>
                </a:lnTo>
                <a:lnTo>
                  <a:pt x="1808" y="212"/>
                </a:lnTo>
                <a:lnTo>
                  <a:pt x="1808" y="224"/>
                </a:lnTo>
                <a:lnTo>
                  <a:pt x="1808" y="236"/>
                </a:lnTo>
                <a:lnTo>
                  <a:pt x="1808" y="263"/>
                </a:lnTo>
                <a:lnTo>
                  <a:pt x="1807" y="275"/>
                </a:lnTo>
                <a:lnTo>
                  <a:pt x="1806" y="287"/>
                </a:lnTo>
                <a:lnTo>
                  <a:pt x="1805" y="299"/>
                </a:lnTo>
                <a:lnTo>
                  <a:pt x="1804" y="309"/>
                </a:lnTo>
                <a:lnTo>
                  <a:pt x="1801" y="331"/>
                </a:lnTo>
                <a:lnTo>
                  <a:pt x="1797" y="349"/>
                </a:lnTo>
                <a:lnTo>
                  <a:pt x="1792" y="367"/>
                </a:lnTo>
                <a:lnTo>
                  <a:pt x="1786" y="381"/>
                </a:lnTo>
                <a:lnTo>
                  <a:pt x="1780" y="395"/>
                </a:lnTo>
                <a:close/>
                <a:moveTo>
                  <a:pt x="1678" y="122"/>
                </a:moveTo>
                <a:lnTo>
                  <a:pt x="1607" y="122"/>
                </a:lnTo>
                <a:lnTo>
                  <a:pt x="1607" y="365"/>
                </a:lnTo>
                <a:lnTo>
                  <a:pt x="1678" y="365"/>
                </a:lnTo>
                <a:lnTo>
                  <a:pt x="1686" y="363"/>
                </a:lnTo>
                <a:lnTo>
                  <a:pt x="1694" y="361"/>
                </a:lnTo>
                <a:lnTo>
                  <a:pt x="1700" y="359"/>
                </a:lnTo>
                <a:lnTo>
                  <a:pt x="1707" y="355"/>
                </a:lnTo>
                <a:lnTo>
                  <a:pt x="1712" y="351"/>
                </a:lnTo>
                <a:lnTo>
                  <a:pt x="1717" y="345"/>
                </a:lnTo>
                <a:lnTo>
                  <a:pt x="1722" y="339"/>
                </a:lnTo>
                <a:lnTo>
                  <a:pt x="1726" y="331"/>
                </a:lnTo>
                <a:lnTo>
                  <a:pt x="1730" y="323"/>
                </a:lnTo>
                <a:lnTo>
                  <a:pt x="1733" y="313"/>
                </a:lnTo>
                <a:lnTo>
                  <a:pt x="1736" y="303"/>
                </a:lnTo>
                <a:lnTo>
                  <a:pt x="1738" y="293"/>
                </a:lnTo>
                <a:lnTo>
                  <a:pt x="1740" y="281"/>
                </a:lnTo>
                <a:lnTo>
                  <a:pt x="1741" y="269"/>
                </a:lnTo>
                <a:lnTo>
                  <a:pt x="1742" y="257"/>
                </a:lnTo>
                <a:lnTo>
                  <a:pt x="1742" y="244"/>
                </a:lnTo>
                <a:lnTo>
                  <a:pt x="1742" y="230"/>
                </a:lnTo>
                <a:lnTo>
                  <a:pt x="1742" y="218"/>
                </a:lnTo>
                <a:lnTo>
                  <a:pt x="1740" y="206"/>
                </a:lnTo>
                <a:lnTo>
                  <a:pt x="1739" y="194"/>
                </a:lnTo>
                <a:lnTo>
                  <a:pt x="1737" y="184"/>
                </a:lnTo>
                <a:lnTo>
                  <a:pt x="1734" y="174"/>
                </a:lnTo>
                <a:lnTo>
                  <a:pt x="1731" y="164"/>
                </a:lnTo>
                <a:lnTo>
                  <a:pt x="1728" y="156"/>
                </a:lnTo>
                <a:lnTo>
                  <a:pt x="1723" y="148"/>
                </a:lnTo>
                <a:lnTo>
                  <a:pt x="1719" y="142"/>
                </a:lnTo>
                <a:lnTo>
                  <a:pt x="1713" y="136"/>
                </a:lnTo>
                <a:lnTo>
                  <a:pt x="1708" y="132"/>
                </a:lnTo>
                <a:lnTo>
                  <a:pt x="1701" y="128"/>
                </a:lnTo>
                <a:lnTo>
                  <a:pt x="1694" y="124"/>
                </a:lnTo>
                <a:lnTo>
                  <a:pt x="1686" y="122"/>
                </a:lnTo>
                <a:lnTo>
                  <a:pt x="1678" y="122"/>
                </a:lnTo>
                <a:close/>
                <a:moveTo>
                  <a:pt x="2090" y="788"/>
                </a:moveTo>
                <a:lnTo>
                  <a:pt x="2069" y="635"/>
                </a:lnTo>
                <a:lnTo>
                  <a:pt x="1942" y="635"/>
                </a:lnTo>
                <a:lnTo>
                  <a:pt x="1921" y="788"/>
                </a:lnTo>
                <a:lnTo>
                  <a:pt x="1854" y="788"/>
                </a:lnTo>
                <a:lnTo>
                  <a:pt x="1975" y="18"/>
                </a:lnTo>
                <a:lnTo>
                  <a:pt x="2037" y="18"/>
                </a:lnTo>
                <a:lnTo>
                  <a:pt x="2160" y="788"/>
                </a:lnTo>
                <a:lnTo>
                  <a:pt x="2090" y="788"/>
                </a:lnTo>
                <a:close/>
                <a:moveTo>
                  <a:pt x="2026" y="323"/>
                </a:moveTo>
                <a:lnTo>
                  <a:pt x="2015" y="250"/>
                </a:lnTo>
                <a:lnTo>
                  <a:pt x="2010" y="210"/>
                </a:lnTo>
                <a:lnTo>
                  <a:pt x="2006" y="170"/>
                </a:lnTo>
                <a:lnTo>
                  <a:pt x="2001" y="210"/>
                </a:lnTo>
                <a:lnTo>
                  <a:pt x="1996" y="250"/>
                </a:lnTo>
                <a:lnTo>
                  <a:pt x="1986" y="325"/>
                </a:lnTo>
                <a:lnTo>
                  <a:pt x="1957" y="529"/>
                </a:lnTo>
                <a:lnTo>
                  <a:pt x="2053" y="529"/>
                </a:lnTo>
                <a:lnTo>
                  <a:pt x="2026" y="323"/>
                </a:lnTo>
                <a:close/>
                <a:moveTo>
                  <a:pt x="2419" y="788"/>
                </a:moveTo>
                <a:lnTo>
                  <a:pt x="2323" y="431"/>
                </a:lnTo>
                <a:lnTo>
                  <a:pt x="2285" y="527"/>
                </a:lnTo>
                <a:lnTo>
                  <a:pt x="2285" y="788"/>
                </a:lnTo>
                <a:lnTo>
                  <a:pt x="2220" y="788"/>
                </a:lnTo>
                <a:lnTo>
                  <a:pt x="2220" y="18"/>
                </a:lnTo>
                <a:lnTo>
                  <a:pt x="2285" y="18"/>
                </a:lnTo>
                <a:lnTo>
                  <a:pt x="2285" y="347"/>
                </a:lnTo>
                <a:lnTo>
                  <a:pt x="2410" y="18"/>
                </a:lnTo>
                <a:lnTo>
                  <a:pt x="2492" y="18"/>
                </a:lnTo>
                <a:lnTo>
                  <a:pt x="2363" y="333"/>
                </a:lnTo>
                <a:lnTo>
                  <a:pt x="2498" y="788"/>
                </a:lnTo>
                <a:lnTo>
                  <a:pt x="2419" y="788"/>
                </a:lnTo>
                <a:close/>
                <a:moveTo>
                  <a:pt x="2558" y="788"/>
                </a:moveTo>
                <a:lnTo>
                  <a:pt x="2558" y="18"/>
                </a:lnTo>
                <a:lnTo>
                  <a:pt x="2786" y="18"/>
                </a:lnTo>
                <a:lnTo>
                  <a:pt x="2786" y="126"/>
                </a:lnTo>
                <a:lnTo>
                  <a:pt x="2623" y="126"/>
                </a:lnTo>
                <a:lnTo>
                  <a:pt x="2623" y="341"/>
                </a:lnTo>
                <a:lnTo>
                  <a:pt x="2756" y="341"/>
                </a:lnTo>
                <a:lnTo>
                  <a:pt x="2756" y="445"/>
                </a:lnTo>
                <a:lnTo>
                  <a:pt x="2623" y="445"/>
                </a:lnTo>
                <a:lnTo>
                  <a:pt x="2623" y="683"/>
                </a:lnTo>
                <a:lnTo>
                  <a:pt x="2786" y="683"/>
                </a:lnTo>
                <a:lnTo>
                  <a:pt x="2786" y="788"/>
                </a:lnTo>
                <a:lnTo>
                  <a:pt x="2558" y="788"/>
                </a:lnTo>
                <a:close/>
                <a:moveTo>
                  <a:pt x="2939" y="18"/>
                </a:moveTo>
                <a:lnTo>
                  <a:pt x="3030" y="439"/>
                </a:lnTo>
                <a:lnTo>
                  <a:pt x="3038" y="477"/>
                </a:lnTo>
                <a:lnTo>
                  <a:pt x="3042" y="495"/>
                </a:lnTo>
                <a:lnTo>
                  <a:pt x="3046" y="515"/>
                </a:lnTo>
                <a:lnTo>
                  <a:pt x="3053" y="553"/>
                </a:lnTo>
                <a:lnTo>
                  <a:pt x="3060" y="595"/>
                </a:lnTo>
                <a:lnTo>
                  <a:pt x="3060" y="509"/>
                </a:lnTo>
                <a:lnTo>
                  <a:pt x="3059" y="421"/>
                </a:lnTo>
                <a:lnTo>
                  <a:pt x="3059" y="18"/>
                </a:lnTo>
                <a:lnTo>
                  <a:pt x="3124" y="18"/>
                </a:lnTo>
                <a:lnTo>
                  <a:pt x="3124" y="788"/>
                </a:lnTo>
                <a:lnTo>
                  <a:pt x="3046" y="788"/>
                </a:lnTo>
                <a:lnTo>
                  <a:pt x="2954" y="369"/>
                </a:lnTo>
                <a:lnTo>
                  <a:pt x="2946" y="331"/>
                </a:lnTo>
                <a:lnTo>
                  <a:pt x="2938" y="293"/>
                </a:lnTo>
                <a:lnTo>
                  <a:pt x="2931" y="255"/>
                </a:lnTo>
                <a:lnTo>
                  <a:pt x="2923" y="214"/>
                </a:lnTo>
                <a:lnTo>
                  <a:pt x="2924" y="389"/>
                </a:lnTo>
                <a:lnTo>
                  <a:pt x="2924" y="790"/>
                </a:lnTo>
                <a:lnTo>
                  <a:pt x="2859" y="790"/>
                </a:lnTo>
                <a:lnTo>
                  <a:pt x="2859" y="18"/>
                </a:lnTo>
                <a:lnTo>
                  <a:pt x="2939" y="18"/>
                </a:lnTo>
                <a:close/>
                <a:moveTo>
                  <a:pt x="3306" y="18"/>
                </a:moveTo>
                <a:lnTo>
                  <a:pt x="3396" y="425"/>
                </a:lnTo>
                <a:lnTo>
                  <a:pt x="3404" y="463"/>
                </a:lnTo>
                <a:lnTo>
                  <a:pt x="3408" y="481"/>
                </a:lnTo>
                <a:lnTo>
                  <a:pt x="3412" y="501"/>
                </a:lnTo>
                <a:lnTo>
                  <a:pt x="3419" y="539"/>
                </a:lnTo>
                <a:lnTo>
                  <a:pt x="3426" y="581"/>
                </a:lnTo>
                <a:lnTo>
                  <a:pt x="3426" y="495"/>
                </a:lnTo>
                <a:lnTo>
                  <a:pt x="3426" y="407"/>
                </a:lnTo>
                <a:lnTo>
                  <a:pt x="3426" y="18"/>
                </a:lnTo>
                <a:lnTo>
                  <a:pt x="3491" y="18"/>
                </a:lnTo>
                <a:lnTo>
                  <a:pt x="3491" y="788"/>
                </a:lnTo>
                <a:lnTo>
                  <a:pt x="3412" y="788"/>
                </a:lnTo>
                <a:lnTo>
                  <a:pt x="3320" y="383"/>
                </a:lnTo>
                <a:lnTo>
                  <a:pt x="3312" y="345"/>
                </a:lnTo>
                <a:lnTo>
                  <a:pt x="3305" y="307"/>
                </a:lnTo>
                <a:lnTo>
                  <a:pt x="3297" y="269"/>
                </a:lnTo>
                <a:lnTo>
                  <a:pt x="3290" y="228"/>
                </a:lnTo>
                <a:lnTo>
                  <a:pt x="3290" y="403"/>
                </a:lnTo>
                <a:lnTo>
                  <a:pt x="3290" y="788"/>
                </a:lnTo>
                <a:lnTo>
                  <a:pt x="3226" y="788"/>
                </a:lnTo>
                <a:lnTo>
                  <a:pt x="3226" y="18"/>
                </a:lnTo>
                <a:lnTo>
                  <a:pt x="3306" y="18"/>
                </a:lnTo>
                <a:close/>
                <a:moveTo>
                  <a:pt x="3618" y="735"/>
                </a:moveTo>
                <a:lnTo>
                  <a:pt x="3611" y="719"/>
                </a:lnTo>
                <a:lnTo>
                  <a:pt x="3605" y="701"/>
                </a:lnTo>
                <a:lnTo>
                  <a:pt x="3599" y="681"/>
                </a:lnTo>
                <a:lnTo>
                  <a:pt x="3597" y="669"/>
                </a:lnTo>
                <a:lnTo>
                  <a:pt x="3595" y="659"/>
                </a:lnTo>
                <a:lnTo>
                  <a:pt x="3591" y="635"/>
                </a:lnTo>
                <a:lnTo>
                  <a:pt x="3589" y="609"/>
                </a:lnTo>
                <a:lnTo>
                  <a:pt x="3588" y="595"/>
                </a:lnTo>
                <a:lnTo>
                  <a:pt x="3587" y="581"/>
                </a:lnTo>
                <a:lnTo>
                  <a:pt x="3587" y="549"/>
                </a:lnTo>
                <a:lnTo>
                  <a:pt x="3587" y="18"/>
                </a:lnTo>
                <a:lnTo>
                  <a:pt x="3652" y="18"/>
                </a:lnTo>
                <a:lnTo>
                  <a:pt x="3652" y="543"/>
                </a:lnTo>
                <a:lnTo>
                  <a:pt x="3652" y="563"/>
                </a:lnTo>
                <a:lnTo>
                  <a:pt x="3652" y="581"/>
                </a:lnTo>
                <a:lnTo>
                  <a:pt x="3653" y="597"/>
                </a:lnTo>
                <a:lnTo>
                  <a:pt x="3655" y="611"/>
                </a:lnTo>
                <a:lnTo>
                  <a:pt x="3657" y="625"/>
                </a:lnTo>
                <a:lnTo>
                  <a:pt x="3659" y="637"/>
                </a:lnTo>
                <a:lnTo>
                  <a:pt x="3662" y="649"/>
                </a:lnTo>
                <a:lnTo>
                  <a:pt x="3665" y="659"/>
                </a:lnTo>
                <a:lnTo>
                  <a:pt x="3669" y="667"/>
                </a:lnTo>
                <a:lnTo>
                  <a:pt x="3674" y="675"/>
                </a:lnTo>
                <a:lnTo>
                  <a:pt x="3679" y="683"/>
                </a:lnTo>
                <a:lnTo>
                  <a:pt x="3685" y="689"/>
                </a:lnTo>
                <a:lnTo>
                  <a:pt x="3688" y="691"/>
                </a:lnTo>
                <a:lnTo>
                  <a:pt x="3692" y="693"/>
                </a:lnTo>
                <a:lnTo>
                  <a:pt x="3699" y="697"/>
                </a:lnTo>
                <a:lnTo>
                  <a:pt x="3706" y="699"/>
                </a:lnTo>
                <a:lnTo>
                  <a:pt x="3715" y="699"/>
                </a:lnTo>
                <a:lnTo>
                  <a:pt x="3723" y="699"/>
                </a:lnTo>
                <a:lnTo>
                  <a:pt x="3731" y="697"/>
                </a:lnTo>
                <a:lnTo>
                  <a:pt x="3738" y="693"/>
                </a:lnTo>
                <a:lnTo>
                  <a:pt x="3744" y="689"/>
                </a:lnTo>
                <a:lnTo>
                  <a:pt x="3750" y="683"/>
                </a:lnTo>
                <a:lnTo>
                  <a:pt x="3755" y="675"/>
                </a:lnTo>
                <a:lnTo>
                  <a:pt x="3760" y="667"/>
                </a:lnTo>
                <a:lnTo>
                  <a:pt x="3764" y="659"/>
                </a:lnTo>
                <a:lnTo>
                  <a:pt x="3768" y="649"/>
                </a:lnTo>
                <a:lnTo>
                  <a:pt x="3770" y="637"/>
                </a:lnTo>
                <a:lnTo>
                  <a:pt x="3773" y="625"/>
                </a:lnTo>
                <a:lnTo>
                  <a:pt x="3775" y="613"/>
                </a:lnTo>
                <a:lnTo>
                  <a:pt x="3776" y="597"/>
                </a:lnTo>
                <a:lnTo>
                  <a:pt x="3777" y="581"/>
                </a:lnTo>
                <a:lnTo>
                  <a:pt x="3778" y="563"/>
                </a:lnTo>
                <a:lnTo>
                  <a:pt x="3778" y="543"/>
                </a:lnTo>
                <a:lnTo>
                  <a:pt x="3778" y="18"/>
                </a:lnTo>
                <a:lnTo>
                  <a:pt x="3843" y="18"/>
                </a:lnTo>
                <a:lnTo>
                  <a:pt x="3843" y="549"/>
                </a:lnTo>
                <a:lnTo>
                  <a:pt x="3843" y="581"/>
                </a:lnTo>
                <a:lnTo>
                  <a:pt x="3842" y="595"/>
                </a:lnTo>
                <a:lnTo>
                  <a:pt x="3841" y="609"/>
                </a:lnTo>
                <a:lnTo>
                  <a:pt x="3838" y="635"/>
                </a:lnTo>
                <a:lnTo>
                  <a:pt x="3835" y="659"/>
                </a:lnTo>
                <a:lnTo>
                  <a:pt x="3833" y="669"/>
                </a:lnTo>
                <a:lnTo>
                  <a:pt x="3830" y="681"/>
                </a:lnTo>
                <a:lnTo>
                  <a:pt x="3825" y="701"/>
                </a:lnTo>
                <a:lnTo>
                  <a:pt x="3822" y="709"/>
                </a:lnTo>
                <a:lnTo>
                  <a:pt x="3819" y="719"/>
                </a:lnTo>
                <a:lnTo>
                  <a:pt x="3815" y="727"/>
                </a:lnTo>
                <a:lnTo>
                  <a:pt x="3812" y="735"/>
                </a:lnTo>
                <a:lnTo>
                  <a:pt x="3807" y="744"/>
                </a:lnTo>
                <a:lnTo>
                  <a:pt x="3802" y="752"/>
                </a:lnTo>
                <a:lnTo>
                  <a:pt x="3792" y="766"/>
                </a:lnTo>
                <a:lnTo>
                  <a:pt x="3781" y="778"/>
                </a:lnTo>
                <a:lnTo>
                  <a:pt x="3775" y="784"/>
                </a:lnTo>
                <a:lnTo>
                  <a:pt x="3769" y="788"/>
                </a:lnTo>
                <a:lnTo>
                  <a:pt x="3757" y="796"/>
                </a:lnTo>
                <a:lnTo>
                  <a:pt x="3750" y="800"/>
                </a:lnTo>
                <a:lnTo>
                  <a:pt x="3743" y="802"/>
                </a:lnTo>
                <a:lnTo>
                  <a:pt x="3729" y="806"/>
                </a:lnTo>
                <a:lnTo>
                  <a:pt x="3722" y="806"/>
                </a:lnTo>
                <a:lnTo>
                  <a:pt x="3715" y="806"/>
                </a:lnTo>
                <a:lnTo>
                  <a:pt x="3700" y="806"/>
                </a:lnTo>
                <a:lnTo>
                  <a:pt x="3686" y="802"/>
                </a:lnTo>
                <a:lnTo>
                  <a:pt x="3679" y="800"/>
                </a:lnTo>
                <a:lnTo>
                  <a:pt x="3673" y="796"/>
                </a:lnTo>
                <a:lnTo>
                  <a:pt x="3660" y="788"/>
                </a:lnTo>
                <a:lnTo>
                  <a:pt x="3648" y="778"/>
                </a:lnTo>
                <a:lnTo>
                  <a:pt x="3637" y="766"/>
                </a:lnTo>
                <a:lnTo>
                  <a:pt x="3627" y="750"/>
                </a:lnTo>
                <a:lnTo>
                  <a:pt x="3623" y="742"/>
                </a:lnTo>
                <a:lnTo>
                  <a:pt x="3618" y="735"/>
                </a:lnTo>
                <a:close/>
                <a:moveTo>
                  <a:pt x="4052" y="806"/>
                </a:moveTo>
                <a:lnTo>
                  <a:pt x="4036" y="806"/>
                </a:lnTo>
                <a:lnTo>
                  <a:pt x="4020" y="802"/>
                </a:lnTo>
                <a:lnTo>
                  <a:pt x="4006" y="796"/>
                </a:lnTo>
                <a:lnTo>
                  <a:pt x="4000" y="792"/>
                </a:lnTo>
                <a:lnTo>
                  <a:pt x="3993" y="788"/>
                </a:lnTo>
                <a:lnTo>
                  <a:pt x="3981" y="780"/>
                </a:lnTo>
                <a:lnTo>
                  <a:pt x="3975" y="774"/>
                </a:lnTo>
                <a:lnTo>
                  <a:pt x="3970" y="768"/>
                </a:lnTo>
                <a:lnTo>
                  <a:pt x="3960" y="756"/>
                </a:lnTo>
                <a:lnTo>
                  <a:pt x="3956" y="748"/>
                </a:lnTo>
                <a:lnTo>
                  <a:pt x="3951" y="740"/>
                </a:lnTo>
                <a:lnTo>
                  <a:pt x="3947" y="733"/>
                </a:lnTo>
                <a:lnTo>
                  <a:pt x="3943" y="725"/>
                </a:lnTo>
                <a:lnTo>
                  <a:pt x="3939" y="717"/>
                </a:lnTo>
                <a:lnTo>
                  <a:pt x="3936" y="707"/>
                </a:lnTo>
                <a:lnTo>
                  <a:pt x="3930" y="687"/>
                </a:lnTo>
                <a:lnTo>
                  <a:pt x="3926" y="667"/>
                </a:lnTo>
                <a:lnTo>
                  <a:pt x="3924" y="657"/>
                </a:lnTo>
                <a:lnTo>
                  <a:pt x="3922" y="645"/>
                </a:lnTo>
                <a:lnTo>
                  <a:pt x="3919" y="623"/>
                </a:lnTo>
                <a:lnTo>
                  <a:pt x="3918" y="599"/>
                </a:lnTo>
                <a:lnTo>
                  <a:pt x="3917" y="585"/>
                </a:lnTo>
                <a:lnTo>
                  <a:pt x="3917" y="573"/>
                </a:lnTo>
                <a:lnTo>
                  <a:pt x="3980" y="545"/>
                </a:lnTo>
                <a:lnTo>
                  <a:pt x="3981" y="567"/>
                </a:lnTo>
                <a:lnTo>
                  <a:pt x="3982" y="587"/>
                </a:lnTo>
                <a:lnTo>
                  <a:pt x="3984" y="603"/>
                </a:lnTo>
                <a:lnTo>
                  <a:pt x="3986" y="619"/>
                </a:lnTo>
                <a:lnTo>
                  <a:pt x="3988" y="627"/>
                </a:lnTo>
                <a:lnTo>
                  <a:pt x="3989" y="635"/>
                </a:lnTo>
                <a:lnTo>
                  <a:pt x="3993" y="647"/>
                </a:lnTo>
                <a:lnTo>
                  <a:pt x="3997" y="659"/>
                </a:lnTo>
                <a:lnTo>
                  <a:pt x="4001" y="667"/>
                </a:lnTo>
                <a:lnTo>
                  <a:pt x="4006" y="677"/>
                </a:lnTo>
                <a:lnTo>
                  <a:pt x="4012" y="683"/>
                </a:lnTo>
                <a:lnTo>
                  <a:pt x="4018" y="689"/>
                </a:lnTo>
                <a:lnTo>
                  <a:pt x="4025" y="693"/>
                </a:lnTo>
                <a:lnTo>
                  <a:pt x="4032" y="697"/>
                </a:lnTo>
                <a:lnTo>
                  <a:pt x="4039" y="699"/>
                </a:lnTo>
                <a:lnTo>
                  <a:pt x="4047" y="701"/>
                </a:lnTo>
                <a:lnTo>
                  <a:pt x="4056" y="701"/>
                </a:lnTo>
                <a:lnTo>
                  <a:pt x="4063" y="701"/>
                </a:lnTo>
                <a:lnTo>
                  <a:pt x="4070" y="699"/>
                </a:lnTo>
                <a:lnTo>
                  <a:pt x="4077" y="697"/>
                </a:lnTo>
                <a:lnTo>
                  <a:pt x="4083" y="695"/>
                </a:lnTo>
                <a:lnTo>
                  <a:pt x="4089" y="691"/>
                </a:lnTo>
                <a:lnTo>
                  <a:pt x="4095" y="685"/>
                </a:lnTo>
                <a:lnTo>
                  <a:pt x="4100" y="679"/>
                </a:lnTo>
                <a:lnTo>
                  <a:pt x="4105" y="673"/>
                </a:lnTo>
                <a:lnTo>
                  <a:pt x="4109" y="665"/>
                </a:lnTo>
                <a:lnTo>
                  <a:pt x="4113" y="657"/>
                </a:lnTo>
                <a:lnTo>
                  <a:pt x="4116" y="649"/>
                </a:lnTo>
                <a:lnTo>
                  <a:pt x="4119" y="639"/>
                </a:lnTo>
                <a:lnTo>
                  <a:pt x="4121" y="627"/>
                </a:lnTo>
                <a:lnTo>
                  <a:pt x="4122" y="623"/>
                </a:lnTo>
                <a:lnTo>
                  <a:pt x="4123" y="617"/>
                </a:lnTo>
                <a:lnTo>
                  <a:pt x="4124" y="605"/>
                </a:lnTo>
                <a:lnTo>
                  <a:pt x="4124" y="591"/>
                </a:lnTo>
                <a:lnTo>
                  <a:pt x="4124" y="581"/>
                </a:lnTo>
                <a:lnTo>
                  <a:pt x="4123" y="571"/>
                </a:lnTo>
                <a:lnTo>
                  <a:pt x="4122" y="563"/>
                </a:lnTo>
                <a:lnTo>
                  <a:pt x="4121" y="553"/>
                </a:lnTo>
                <a:lnTo>
                  <a:pt x="4119" y="545"/>
                </a:lnTo>
                <a:lnTo>
                  <a:pt x="4117" y="537"/>
                </a:lnTo>
                <a:lnTo>
                  <a:pt x="4115" y="529"/>
                </a:lnTo>
                <a:lnTo>
                  <a:pt x="4112" y="521"/>
                </a:lnTo>
                <a:lnTo>
                  <a:pt x="4104" y="505"/>
                </a:lnTo>
                <a:lnTo>
                  <a:pt x="4100" y="497"/>
                </a:lnTo>
                <a:lnTo>
                  <a:pt x="4095" y="491"/>
                </a:lnTo>
                <a:lnTo>
                  <a:pt x="4084" y="477"/>
                </a:lnTo>
                <a:lnTo>
                  <a:pt x="4071" y="465"/>
                </a:lnTo>
                <a:lnTo>
                  <a:pt x="4007" y="407"/>
                </a:lnTo>
                <a:lnTo>
                  <a:pt x="3998" y="399"/>
                </a:lnTo>
                <a:lnTo>
                  <a:pt x="3988" y="389"/>
                </a:lnTo>
                <a:lnTo>
                  <a:pt x="3972" y="369"/>
                </a:lnTo>
                <a:lnTo>
                  <a:pt x="3958" y="349"/>
                </a:lnTo>
                <a:lnTo>
                  <a:pt x="3953" y="337"/>
                </a:lnTo>
                <a:lnTo>
                  <a:pt x="3947" y="325"/>
                </a:lnTo>
                <a:lnTo>
                  <a:pt x="3942" y="313"/>
                </a:lnTo>
                <a:lnTo>
                  <a:pt x="3937" y="299"/>
                </a:lnTo>
                <a:lnTo>
                  <a:pt x="3934" y="285"/>
                </a:lnTo>
                <a:lnTo>
                  <a:pt x="3931" y="269"/>
                </a:lnTo>
                <a:lnTo>
                  <a:pt x="3929" y="253"/>
                </a:lnTo>
                <a:lnTo>
                  <a:pt x="3928" y="246"/>
                </a:lnTo>
                <a:lnTo>
                  <a:pt x="3927" y="238"/>
                </a:lnTo>
                <a:lnTo>
                  <a:pt x="3927" y="220"/>
                </a:lnTo>
                <a:lnTo>
                  <a:pt x="3926" y="200"/>
                </a:lnTo>
                <a:lnTo>
                  <a:pt x="3926" y="188"/>
                </a:lnTo>
                <a:lnTo>
                  <a:pt x="3927" y="176"/>
                </a:lnTo>
                <a:lnTo>
                  <a:pt x="3928" y="164"/>
                </a:lnTo>
                <a:lnTo>
                  <a:pt x="3929" y="152"/>
                </a:lnTo>
                <a:lnTo>
                  <a:pt x="3930" y="142"/>
                </a:lnTo>
                <a:lnTo>
                  <a:pt x="3932" y="132"/>
                </a:lnTo>
                <a:lnTo>
                  <a:pt x="3936" y="112"/>
                </a:lnTo>
                <a:lnTo>
                  <a:pt x="3939" y="102"/>
                </a:lnTo>
                <a:lnTo>
                  <a:pt x="3942" y="94"/>
                </a:lnTo>
                <a:lnTo>
                  <a:pt x="3949" y="78"/>
                </a:lnTo>
                <a:lnTo>
                  <a:pt x="3957" y="62"/>
                </a:lnTo>
                <a:lnTo>
                  <a:pt x="3961" y="56"/>
                </a:lnTo>
                <a:lnTo>
                  <a:pt x="3965" y="50"/>
                </a:lnTo>
                <a:lnTo>
                  <a:pt x="3974" y="38"/>
                </a:lnTo>
                <a:lnTo>
                  <a:pt x="3984" y="28"/>
                </a:lnTo>
                <a:lnTo>
                  <a:pt x="3994" y="20"/>
                </a:lnTo>
                <a:lnTo>
                  <a:pt x="4005" y="12"/>
                </a:lnTo>
                <a:lnTo>
                  <a:pt x="4017" y="6"/>
                </a:lnTo>
                <a:lnTo>
                  <a:pt x="4029" y="4"/>
                </a:lnTo>
                <a:lnTo>
                  <a:pt x="4042" y="0"/>
                </a:lnTo>
                <a:lnTo>
                  <a:pt x="4055" y="0"/>
                </a:lnTo>
                <a:lnTo>
                  <a:pt x="4070" y="2"/>
                </a:lnTo>
                <a:lnTo>
                  <a:pt x="4085" y="4"/>
                </a:lnTo>
                <a:lnTo>
                  <a:pt x="4098" y="10"/>
                </a:lnTo>
                <a:lnTo>
                  <a:pt x="4104" y="14"/>
                </a:lnTo>
                <a:lnTo>
                  <a:pt x="4110" y="18"/>
                </a:lnTo>
                <a:lnTo>
                  <a:pt x="4122" y="26"/>
                </a:lnTo>
                <a:lnTo>
                  <a:pt x="4132" y="38"/>
                </a:lnTo>
                <a:lnTo>
                  <a:pt x="4141" y="50"/>
                </a:lnTo>
                <a:lnTo>
                  <a:pt x="4149" y="64"/>
                </a:lnTo>
                <a:lnTo>
                  <a:pt x="4153" y="72"/>
                </a:lnTo>
                <a:lnTo>
                  <a:pt x="4156" y="78"/>
                </a:lnTo>
                <a:lnTo>
                  <a:pt x="4159" y="86"/>
                </a:lnTo>
                <a:lnTo>
                  <a:pt x="4162" y="94"/>
                </a:lnTo>
                <a:lnTo>
                  <a:pt x="4167" y="112"/>
                </a:lnTo>
                <a:lnTo>
                  <a:pt x="4172" y="128"/>
                </a:lnTo>
                <a:lnTo>
                  <a:pt x="4175" y="146"/>
                </a:lnTo>
                <a:lnTo>
                  <a:pt x="4177" y="166"/>
                </a:lnTo>
                <a:lnTo>
                  <a:pt x="4179" y="184"/>
                </a:lnTo>
                <a:lnTo>
                  <a:pt x="4179" y="202"/>
                </a:lnTo>
                <a:lnTo>
                  <a:pt x="4117" y="228"/>
                </a:lnTo>
                <a:lnTo>
                  <a:pt x="4117" y="212"/>
                </a:lnTo>
                <a:lnTo>
                  <a:pt x="4115" y="198"/>
                </a:lnTo>
                <a:lnTo>
                  <a:pt x="4114" y="186"/>
                </a:lnTo>
                <a:lnTo>
                  <a:pt x="4112" y="172"/>
                </a:lnTo>
                <a:lnTo>
                  <a:pt x="4109" y="162"/>
                </a:lnTo>
                <a:lnTo>
                  <a:pt x="4106" y="152"/>
                </a:lnTo>
                <a:lnTo>
                  <a:pt x="4103" y="142"/>
                </a:lnTo>
                <a:lnTo>
                  <a:pt x="4099" y="136"/>
                </a:lnTo>
                <a:lnTo>
                  <a:pt x="4095" y="128"/>
                </a:lnTo>
                <a:lnTo>
                  <a:pt x="4090" y="122"/>
                </a:lnTo>
                <a:lnTo>
                  <a:pt x="4085" y="118"/>
                </a:lnTo>
                <a:lnTo>
                  <a:pt x="4079" y="114"/>
                </a:lnTo>
                <a:lnTo>
                  <a:pt x="4073" y="110"/>
                </a:lnTo>
                <a:lnTo>
                  <a:pt x="4067" y="108"/>
                </a:lnTo>
                <a:lnTo>
                  <a:pt x="4060" y="108"/>
                </a:lnTo>
                <a:lnTo>
                  <a:pt x="4052" y="106"/>
                </a:lnTo>
                <a:lnTo>
                  <a:pt x="4040" y="108"/>
                </a:lnTo>
                <a:lnTo>
                  <a:pt x="4028" y="112"/>
                </a:lnTo>
                <a:lnTo>
                  <a:pt x="4023" y="116"/>
                </a:lnTo>
                <a:lnTo>
                  <a:pt x="4018" y="120"/>
                </a:lnTo>
                <a:lnTo>
                  <a:pt x="4013" y="124"/>
                </a:lnTo>
                <a:lnTo>
                  <a:pt x="4009" y="128"/>
                </a:lnTo>
                <a:lnTo>
                  <a:pt x="4005" y="134"/>
                </a:lnTo>
                <a:lnTo>
                  <a:pt x="4002" y="140"/>
                </a:lnTo>
                <a:lnTo>
                  <a:pt x="3999" y="148"/>
                </a:lnTo>
                <a:lnTo>
                  <a:pt x="3996" y="156"/>
                </a:lnTo>
                <a:lnTo>
                  <a:pt x="3994" y="164"/>
                </a:lnTo>
                <a:lnTo>
                  <a:pt x="3993" y="174"/>
                </a:lnTo>
                <a:lnTo>
                  <a:pt x="3992" y="184"/>
                </a:lnTo>
                <a:lnTo>
                  <a:pt x="3992" y="194"/>
                </a:lnTo>
                <a:lnTo>
                  <a:pt x="3992" y="204"/>
                </a:lnTo>
                <a:lnTo>
                  <a:pt x="3992" y="214"/>
                </a:lnTo>
                <a:lnTo>
                  <a:pt x="3993" y="224"/>
                </a:lnTo>
                <a:lnTo>
                  <a:pt x="3994" y="232"/>
                </a:lnTo>
                <a:lnTo>
                  <a:pt x="3996" y="240"/>
                </a:lnTo>
                <a:lnTo>
                  <a:pt x="3998" y="248"/>
                </a:lnTo>
                <a:lnTo>
                  <a:pt x="4001" y="255"/>
                </a:lnTo>
                <a:lnTo>
                  <a:pt x="4003" y="261"/>
                </a:lnTo>
                <a:lnTo>
                  <a:pt x="4007" y="267"/>
                </a:lnTo>
                <a:lnTo>
                  <a:pt x="4010" y="273"/>
                </a:lnTo>
                <a:lnTo>
                  <a:pt x="4019" y="285"/>
                </a:lnTo>
                <a:lnTo>
                  <a:pt x="4029" y="297"/>
                </a:lnTo>
                <a:lnTo>
                  <a:pt x="4041" y="309"/>
                </a:lnTo>
                <a:lnTo>
                  <a:pt x="4103" y="363"/>
                </a:lnTo>
                <a:lnTo>
                  <a:pt x="4113" y="373"/>
                </a:lnTo>
                <a:lnTo>
                  <a:pt x="4123" y="383"/>
                </a:lnTo>
                <a:lnTo>
                  <a:pt x="4133" y="393"/>
                </a:lnTo>
                <a:lnTo>
                  <a:pt x="4141" y="405"/>
                </a:lnTo>
                <a:lnTo>
                  <a:pt x="4149" y="417"/>
                </a:lnTo>
                <a:lnTo>
                  <a:pt x="4156" y="427"/>
                </a:lnTo>
                <a:lnTo>
                  <a:pt x="4162" y="441"/>
                </a:lnTo>
                <a:lnTo>
                  <a:pt x="4168" y="453"/>
                </a:lnTo>
                <a:lnTo>
                  <a:pt x="4173" y="467"/>
                </a:lnTo>
                <a:lnTo>
                  <a:pt x="4177" y="481"/>
                </a:lnTo>
                <a:lnTo>
                  <a:pt x="4181" y="495"/>
                </a:lnTo>
                <a:lnTo>
                  <a:pt x="4184" y="511"/>
                </a:lnTo>
                <a:lnTo>
                  <a:pt x="4186" y="527"/>
                </a:lnTo>
                <a:lnTo>
                  <a:pt x="4187" y="537"/>
                </a:lnTo>
                <a:lnTo>
                  <a:pt x="4187" y="545"/>
                </a:lnTo>
                <a:lnTo>
                  <a:pt x="4188" y="563"/>
                </a:lnTo>
                <a:lnTo>
                  <a:pt x="4189" y="583"/>
                </a:lnTo>
                <a:lnTo>
                  <a:pt x="4188" y="609"/>
                </a:lnTo>
                <a:lnTo>
                  <a:pt x="4186" y="633"/>
                </a:lnTo>
                <a:lnTo>
                  <a:pt x="4185" y="645"/>
                </a:lnTo>
                <a:lnTo>
                  <a:pt x="4183" y="655"/>
                </a:lnTo>
                <a:lnTo>
                  <a:pt x="4181" y="667"/>
                </a:lnTo>
                <a:lnTo>
                  <a:pt x="4179" y="677"/>
                </a:lnTo>
                <a:lnTo>
                  <a:pt x="4177" y="687"/>
                </a:lnTo>
                <a:lnTo>
                  <a:pt x="4174" y="697"/>
                </a:lnTo>
                <a:lnTo>
                  <a:pt x="4167" y="715"/>
                </a:lnTo>
                <a:lnTo>
                  <a:pt x="4164" y="723"/>
                </a:lnTo>
                <a:lnTo>
                  <a:pt x="4160" y="733"/>
                </a:lnTo>
                <a:lnTo>
                  <a:pt x="4152" y="746"/>
                </a:lnTo>
                <a:lnTo>
                  <a:pt x="4147" y="754"/>
                </a:lnTo>
                <a:lnTo>
                  <a:pt x="4142" y="760"/>
                </a:lnTo>
                <a:lnTo>
                  <a:pt x="4137" y="766"/>
                </a:lnTo>
                <a:lnTo>
                  <a:pt x="4132" y="772"/>
                </a:lnTo>
                <a:lnTo>
                  <a:pt x="4121" y="782"/>
                </a:lnTo>
                <a:lnTo>
                  <a:pt x="4109" y="790"/>
                </a:lnTo>
                <a:lnTo>
                  <a:pt x="4096" y="798"/>
                </a:lnTo>
                <a:lnTo>
                  <a:pt x="4082" y="802"/>
                </a:lnTo>
                <a:lnTo>
                  <a:pt x="4075" y="804"/>
                </a:lnTo>
                <a:lnTo>
                  <a:pt x="4068" y="804"/>
                </a:lnTo>
                <a:lnTo>
                  <a:pt x="4052" y="806"/>
                </a:lnTo>
                <a:close/>
                <a:moveTo>
                  <a:pt x="1669" y="1273"/>
                </a:moveTo>
                <a:lnTo>
                  <a:pt x="1669" y="1936"/>
                </a:lnTo>
                <a:lnTo>
                  <a:pt x="1604" y="1936"/>
                </a:lnTo>
                <a:lnTo>
                  <a:pt x="1604" y="1273"/>
                </a:lnTo>
                <a:lnTo>
                  <a:pt x="1506" y="1273"/>
                </a:lnTo>
                <a:lnTo>
                  <a:pt x="1506" y="1166"/>
                </a:lnTo>
                <a:lnTo>
                  <a:pt x="1767" y="1166"/>
                </a:lnTo>
                <a:lnTo>
                  <a:pt x="1767" y="1273"/>
                </a:lnTo>
                <a:lnTo>
                  <a:pt x="1669" y="1273"/>
                </a:lnTo>
                <a:close/>
                <a:moveTo>
                  <a:pt x="1832" y="1936"/>
                </a:moveTo>
                <a:lnTo>
                  <a:pt x="1832" y="1166"/>
                </a:lnTo>
                <a:lnTo>
                  <a:pt x="2060" y="1166"/>
                </a:lnTo>
                <a:lnTo>
                  <a:pt x="2060" y="1273"/>
                </a:lnTo>
                <a:lnTo>
                  <a:pt x="1897" y="1273"/>
                </a:lnTo>
                <a:lnTo>
                  <a:pt x="1897" y="1489"/>
                </a:lnTo>
                <a:lnTo>
                  <a:pt x="2030" y="1489"/>
                </a:lnTo>
                <a:lnTo>
                  <a:pt x="2030" y="1593"/>
                </a:lnTo>
                <a:lnTo>
                  <a:pt x="1897" y="1593"/>
                </a:lnTo>
                <a:lnTo>
                  <a:pt x="1897" y="1828"/>
                </a:lnTo>
                <a:lnTo>
                  <a:pt x="2060" y="1828"/>
                </a:lnTo>
                <a:lnTo>
                  <a:pt x="2060" y="1936"/>
                </a:lnTo>
                <a:lnTo>
                  <a:pt x="1832" y="1936"/>
                </a:lnTo>
                <a:close/>
                <a:moveTo>
                  <a:pt x="2260" y="1954"/>
                </a:moveTo>
                <a:lnTo>
                  <a:pt x="2251" y="1954"/>
                </a:lnTo>
                <a:lnTo>
                  <a:pt x="2242" y="1952"/>
                </a:lnTo>
                <a:lnTo>
                  <a:pt x="2234" y="1950"/>
                </a:lnTo>
                <a:lnTo>
                  <a:pt x="2226" y="1948"/>
                </a:lnTo>
                <a:lnTo>
                  <a:pt x="2218" y="1944"/>
                </a:lnTo>
                <a:lnTo>
                  <a:pt x="2211" y="1938"/>
                </a:lnTo>
                <a:lnTo>
                  <a:pt x="2204" y="1932"/>
                </a:lnTo>
                <a:lnTo>
                  <a:pt x="2197" y="1926"/>
                </a:lnTo>
                <a:lnTo>
                  <a:pt x="2190" y="1920"/>
                </a:lnTo>
                <a:lnTo>
                  <a:pt x="2184" y="1912"/>
                </a:lnTo>
                <a:lnTo>
                  <a:pt x="2178" y="1902"/>
                </a:lnTo>
                <a:lnTo>
                  <a:pt x="2172" y="1892"/>
                </a:lnTo>
                <a:lnTo>
                  <a:pt x="2166" y="1882"/>
                </a:lnTo>
                <a:lnTo>
                  <a:pt x="2161" y="1872"/>
                </a:lnTo>
                <a:lnTo>
                  <a:pt x="2156" y="1860"/>
                </a:lnTo>
                <a:lnTo>
                  <a:pt x="2151" y="1846"/>
                </a:lnTo>
                <a:lnTo>
                  <a:pt x="2147" y="1834"/>
                </a:lnTo>
                <a:lnTo>
                  <a:pt x="2143" y="1820"/>
                </a:lnTo>
                <a:lnTo>
                  <a:pt x="2139" y="1804"/>
                </a:lnTo>
                <a:lnTo>
                  <a:pt x="2135" y="1788"/>
                </a:lnTo>
                <a:lnTo>
                  <a:pt x="2132" y="1772"/>
                </a:lnTo>
                <a:lnTo>
                  <a:pt x="2129" y="1756"/>
                </a:lnTo>
                <a:lnTo>
                  <a:pt x="2126" y="1738"/>
                </a:lnTo>
                <a:lnTo>
                  <a:pt x="2124" y="1720"/>
                </a:lnTo>
                <a:lnTo>
                  <a:pt x="2121" y="1701"/>
                </a:lnTo>
                <a:lnTo>
                  <a:pt x="2120" y="1681"/>
                </a:lnTo>
                <a:lnTo>
                  <a:pt x="2118" y="1661"/>
                </a:lnTo>
                <a:lnTo>
                  <a:pt x="2117" y="1641"/>
                </a:lnTo>
                <a:lnTo>
                  <a:pt x="2115" y="1597"/>
                </a:lnTo>
                <a:lnTo>
                  <a:pt x="2114" y="1575"/>
                </a:lnTo>
                <a:lnTo>
                  <a:pt x="2114" y="1551"/>
                </a:lnTo>
                <a:lnTo>
                  <a:pt x="2115" y="1505"/>
                </a:lnTo>
                <a:lnTo>
                  <a:pt x="2117" y="1461"/>
                </a:lnTo>
                <a:lnTo>
                  <a:pt x="2118" y="1441"/>
                </a:lnTo>
                <a:lnTo>
                  <a:pt x="2120" y="1421"/>
                </a:lnTo>
                <a:lnTo>
                  <a:pt x="2124" y="1383"/>
                </a:lnTo>
                <a:lnTo>
                  <a:pt x="2126" y="1363"/>
                </a:lnTo>
                <a:lnTo>
                  <a:pt x="2129" y="1347"/>
                </a:lnTo>
                <a:lnTo>
                  <a:pt x="2135" y="1313"/>
                </a:lnTo>
                <a:lnTo>
                  <a:pt x="2139" y="1297"/>
                </a:lnTo>
                <a:lnTo>
                  <a:pt x="2143" y="1283"/>
                </a:lnTo>
                <a:lnTo>
                  <a:pt x="2147" y="1269"/>
                </a:lnTo>
                <a:lnTo>
                  <a:pt x="2151" y="1255"/>
                </a:lnTo>
                <a:lnTo>
                  <a:pt x="2156" y="1243"/>
                </a:lnTo>
                <a:lnTo>
                  <a:pt x="2161" y="1231"/>
                </a:lnTo>
                <a:lnTo>
                  <a:pt x="2166" y="1220"/>
                </a:lnTo>
                <a:lnTo>
                  <a:pt x="2172" y="1210"/>
                </a:lnTo>
                <a:lnTo>
                  <a:pt x="2178" y="1200"/>
                </a:lnTo>
                <a:lnTo>
                  <a:pt x="2184" y="1192"/>
                </a:lnTo>
                <a:lnTo>
                  <a:pt x="2197" y="1176"/>
                </a:lnTo>
                <a:lnTo>
                  <a:pt x="2204" y="1170"/>
                </a:lnTo>
                <a:lnTo>
                  <a:pt x="2211" y="1164"/>
                </a:lnTo>
                <a:lnTo>
                  <a:pt x="2218" y="1160"/>
                </a:lnTo>
                <a:lnTo>
                  <a:pt x="2226" y="1156"/>
                </a:lnTo>
                <a:lnTo>
                  <a:pt x="2234" y="1152"/>
                </a:lnTo>
                <a:lnTo>
                  <a:pt x="2242" y="1150"/>
                </a:lnTo>
                <a:lnTo>
                  <a:pt x="2251" y="1148"/>
                </a:lnTo>
                <a:lnTo>
                  <a:pt x="2260" y="1148"/>
                </a:lnTo>
                <a:lnTo>
                  <a:pt x="2268" y="1148"/>
                </a:lnTo>
                <a:lnTo>
                  <a:pt x="2277" y="1150"/>
                </a:lnTo>
                <a:lnTo>
                  <a:pt x="2285" y="1152"/>
                </a:lnTo>
                <a:lnTo>
                  <a:pt x="2293" y="1156"/>
                </a:lnTo>
                <a:lnTo>
                  <a:pt x="2301" y="1160"/>
                </a:lnTo>
                <a:lnTo>
                  <a:pt x="2308" y="1164"/>
                </a:lnTo>
                <a:lnTo>
                  <a:pt x="2316" y="1170"/>
                </a:lnTo>
                <a:lnTo>
                  <a:pt x="2323" y="1176"/>
                </a:lnTo>
                <a:lnTo>
                  <a:pt x="2329" y="1184"/>
                </a:lnTo>
                <a:lnTo>
                  <a:pt x="2336" y="1192"/>
                </a:lnTo>
                <a:lnTo>
                  <a:pt x="2342" y="1200"/>
                </a:lnTo>
                <a:lnTo>
                  <a:pt x="2348" y="1210"/>
                </a:lnTo>
                <a:lnTo>
                  <a:pt x="2353" y="1220"/>
                </a:lnTo>
                <a:lnTo>
                  <a:pt x="2359" y="1229"/>
                </a:lnTo>
                <a:lnTo>
                  <a:pt x="2364" y="1241"/>
                </a:lnTo>
                <a:lnTo>
                  <a:pt x="2368" y="1255"/>
                </a:lnTo>
                <a:lnTo>
                  <a:pt x="2377" y="1283"/>
                </a:lnTo>
                <a:lnTo>
                  <a:pt x="2381" y="1297"/>
                </a:lnTo>
                <a:lnTo>
                  <a:pt x="2385" y="1313"/>
                </a:lnTo>
                <a:lnTo>
                  <a:pt x="2391" y="1345"/>
                </a:lnTo>
                <a:lnTo>
                  <a:pt x="2394" y="1363"/>
                </a:lnTo>
                <a:lnTo>
                  <a:pt x="2396" y="1381"/>
                </a:lnTo>
                <a:lnTo>
                  <a:pt x="2398" y="1401"/>
                </a:lnTo>
                <a:lnTo>
                  <a:pt x="2400" y="1421"/>
                </a:lnTo>
                <a:lnTo>
                  <a:pt x="2402" y="1441"/>
                </a:lnTo>
                <a:lnTo>
                  <a:pt x="2403" y="1461"/>
                </a:lnTo>
                <a:lnTo>
                  <a:pt x="2404" y="1483"/>
                </a:lnTo>
                <a:lnTo>
                  <a:pt x="2405" y="1505"/>
                </a:lnTo>
                <a:lnTo>
                  <a:pt x="2405" y="1527"/>
                </a:lnTo>
                <a:lnTo>
                  <a:pt x="2406" y="1551"/>
                </a:lnTo>
                <a:lnTo>
                  <a:pt x="2405" y="1597"/>
                </a:lnTo>
                <a:lnTo>
                  <a:pt x="2403" y="1641"/>
                </a:lnTo>
                <a:lnTo>
                  <a:pt x="2402" y="1663"/>
                </a:lnTo>
                <a:lnTo>
                  <a:pt x="2400" y="1683"/>
                </a:lnTo>
                <a:lnTo>
                  <a:pt x="2396" y="1720"/>
                </a:lnTo>
                <a:lnTo>
                  <a:pt x="2394" y="1738"/>
                </a:lnTo>
                <a:lnTo>
                  <a:pt x="2391" y="1756"/>
                </a:lnTo>
                <a:lnTo>
                  <a:pt x="2388" y="1772"/>
                </a:lnTo>
                <a:lnTo>
                  <a:pt x="2385" y="1790"/>
                </a:lnTo>
                <a:lnTo>
                  <a:pt x="2381" y="1804"/>
                </a:lnTo>
                <a:lnTo>
                  <a:pt x="2377" y="1820"/>
                </a:lnTo>
                <a:lnTo>
                  <a:pt x="2373" y="1834"/>
                </a:lnTo>
                <a:lnTo>
                  <a:pt x="2368" y="1846"/>
                </a:lnTo>
                <a:lnTo>
                  <a:pt x="2364" y="1860"/>
                </a:lnTo>
                <a:lnTo>
                  <a:pt x="2359" y="1872"/>
                </a:lnTo>
                <a:lnTo>
                  <a:pt x="2353" y="1882"/>
                </a:lnTo>
                <a:lnTo>
                  <a:pt x="2348" y="1894"/>
                </a:lnTo>
                <a:lnTo>
                  <a:pt x="2342" y="1902"/>
                </a:lnTo>
                <a:lnTo>
                  <a:pt x="2336" y="1912"/>
                </a:lnTo>
                <a:lnTo>
                  <a:pt x="2329" y="1920"/>
                </a:lnTo>
                <a:lnTo>
                  <a:pt x="2323" y="1926"/>
                </a:lnTo>
                <a:lnTo>
                  <a:pt x="2316" y="1934"/>
                </a:lnTo>
                <a:lnTo>
                  <a:pt x="2308" y="1938"/>
                </a:lnTo>
                <a:lnTo>
                  <a:pt x="2301" y="1944"/>
                </a:lnTo>
                <a:lnTo>
                  <a:pt x="2293" y="1948"/>
                </a:lnTo>
                <a:lnTo>
                  <a:pt x="2285" y="1950"/>
                </a:lnTo>
                <a:lnTo>
                  <a:pt x="2277" y="1952"/>
                </a:lnTo>
                <a:lnTo>
                  <a:pt x="2268" y="1954"/>
                </a:lnTo>
                <a:lnTo>
                  <a:pt x="2260" y="1954"/>
                </a:lnTo>
                <a:close/>
                <a:moveTo>
                  <a:pt x="2260" y="1257"/>
                </a:moveTo>
                <a:lnTo>
                  <a:pt x="2251" y="1257"/>
                </a:lnTo>
                <a:lnTo>
                  <a:pt x="2246" y="1259"/>
                </a:lnTo>
                <a:lnTo>
                  <a:pt x="2242" y="1259"/>
                </a:lnTo>
                <a:lnTo>
                  <a:pt x="2234" y="1265"/>
                </a:lnTo>
                <a:lnTo>
                  <a:pt x="2227" y="1271"/>
                </a:lnTo>
                <a:lnTo>
                  <a:pt x="2223" y="1275"/>
                </a:lnTo>
                <a:lnTo>
                  <a:pt x="2220" y="1281"/>
                </a:lnTo>
                <a:lnTo>
                  <a:pt x="2216" y="1287"/>
                </a:lnTo>
                <a:lnTo>
                  <a:pt x="2213" y="1293"/>
                </a:lnTo>
                <a:lnTo>
                  <a:pt x="2210" y="1299"/>
                </a:lnTo>
                <a:lnTo>
                  <a:pt x="2207" y="1307"/>
                </a:lnTo>
                <a:lnTo>
                  <a:pt x="2201" y="1323"/>
                </a:lnTo>
                <a:lnTo>
                  <a:pt x="2199" y="1331"/>
                </a:lnTo>
                <a:lnTo>
                  <a:pt x="2196" y="1341"/>
                </a:lnTo>
                <a:lnTo>
                  <a:pt x="2192" y="1363"/>
                </a:lnTo>
                <a:lnTo>
                  <a:pt x="2188" y="1387"/>
                </a:lnTo>
                <a:lnTo>
                  <a:pt x="2187" y="1399"/>
                </a:lnTo>
                <a:lnTo>
                  <a:pt x="2185" y="1413"/>
                </a:lnTo>
                <a:lnTo>
                  <a:pt x="2183" y="1443"/>
                </a:lnTo>
                <a:lnTo>
                  <a:pt x="2181" y="1477"/>
                </a:lnTo>
                <a:lnTo>
                  <a:pt x="2180" y="1513"/>
                </a:lnTo>
                <a:lnTo>
                  <a:pt x="2180" y="1551"/>
                </a:lnTo>
                <a:lnTo>
                  <a:pt x="2180" y="1591"/>
                </a:lnTo>
                <a:lnTo>
                  <a:pt x="2181" y="1627"/>
                </a:lnTo>
                <a:lnTo>
                  <a:pt x="2183" y="1659"/>
                </a:lnTo>
                <a:lnTo>
                  <a:pt x="2185" y="1689"/>
                </a:lnTo>
                <a:lnTo>
                  <a:pt x="2188" y="1714"/>
                </a:lnTo>
                <a:lnTo>
                  <a:pt x="2192" y="1738"/>
                </a:lnTo>
                <a:lnTo>
                  <a:pt x="2196" y="1760"/>
                </a:lnTo>
                <a:lnTo>
                  <a:pt x="2201" y="1780"/>
                </a:lnTo>
                <a:lnTo>
                  <a:pt x="2207" y="1796"/>
                </a:lnTo>
                <a:lnTo>
                  <a:pt x="2213" y="1810"/>
                </a:lnTo>
                <a:lnTo>
                  <a:pt x="2220" y="1820"/>
                </a:lnTo>
                <a:lnTo>
                  <a:pt x="2227" y="1830"/>
                </a:lnTo>
                <a:lnTo>
                  <a:pt x="2234" y="1836"/>
                </a:lnTo>
                <a:lnTo>
                  <a:pt x="2242" y="1842"/>
                </a:lnTo>
                <a:lnTo>
                  <a:pt x="2251" y="1844"/>
                </a:lnTo>
                <a:lnTo>
                  <a:pt x="2260" y="1846"/>
                </a:lnTo>
                <a:lnTo>
                  <a:pt x="2269" y="1844"/>
                </a:lnTo>
                <a:lnTo>
                  <a:pt x="2273" y="1844"/>
                </a:lnTo>
                <a:lnTo>
                  <a:pt x="2277" y="1842"/>
                </a:lnTo>
                <a:lnTo>
                  <a:pt x="2285" y="1836"/>
                </a:lnTo>
                <a:lnTo>
                  <a:pt x="2293" y="1830"/>
                </a:lnTo>
                <a:lnTo>
                  <a:pt x="2296" y="1826"/>
                </a:lnTo>
                <a:lnTo>
                  <a:pt x="2300" y="1820"/>
                </a:lnTo>
                <a:lnTo>
                  <a:pt x="2306" y="1808"/>
                </a:lnTo>
                <a:lnTo>
                  <a:pt x="2309" y="1802"/>
                </a:lnTo>
                <a:lnTo>
                  <a:pt x="2312" y="1796"/>
                </a:lnTo>
                <a:lnTo>
                  <a:pt x="2318" y="1778"/>
                </a:lnTo>
                <a:lnTo>
                  <a:pt x="2320" y="1770"/>
                </a:lnTo>
                <a:lnTo>
                  <a:pt x="2323" y="1760"/>
                </a:lnTo>
                <a:lnTo>
                  <a:pt x="2327" y="1738"/>
                </a:lnTo>
                <a:lnTo>
                  <a:pt x="2331" y="1714"/>
                </a:lnTo>
                <a:lnTo>
                  <a:pt x="2332" y="1703"/>
                </a:lnTo>
                <a:lnTo>
                  <a:pt x="2334" y="1689"/>
                </a:lnTo>
                <a:lnTo>
                  <a:pt x="2336" y="1659"/>
                </a:lnTo>
                <a:lnTo>
                  <a:pt x="2338" y="1625"/>
                </a:lnTo>
                <a:lnTo>
                  <a:pt x="2339" y="1591"/>
                </a:lnTo>
                <a:lnTo>
                  <a:pt x="2340" y="1551"/>
                </a:lnTo>
                <a:lnTo>
                  <a:pt x="2339" y="1513"/>
                </a:lnTo>
                <a:lnTo>
                  <a:pt x="2338" y="1477"/>
                </a:lnTo>
                <a:lnTo>
                  <a:pt x="2336" y="1443"/>
                </a:lnTo>
                <a:lnTo>
                  <a:pt x="2334" y="1415"/>
                </a:lnTo>
                <a:lnTo>
                  <a:pt x="2331" y="1387"/>
                </a:lnTo>
                <a:lnTo>
                  <a:pt x="2327" y="1363"/>
                </a:lnTo>
                <a:lnTo>
                  <a:pt x="2323" y="1341"/>
                </a:lnTo>
                <a:lnTo>
                  <a:pt x="2318" y="1323"/>
                </a:lnTo>
                <a:lnTo>
                  <a:pt x="2312" y="1307"/>
                </a:lnTo>
                <a:lnTo>
                  <a:pt x="2306" y="1293"/>
                </a:lnTo>
                <a:lnTo>
                  <a:pt x="2300" y="1281"/>
                </a:lnTo>
                <a:lnTo>
                  <a:pt x="2293" y="1271"/>
                </a:lnTo>
                <a:lnTo>
                  <a:pt x="2285" y="1265"/>
                </a:lnTo>
                <a:lnTo>
                  <a:pt x="2277" y="1259"/>
                </a:lnTo>
                <a:lnTo>
                  <a:pt x="2273" y="1259"/>
                </a:lnTo>
                <a:lnTo>
                  <a:pt x="2269" y="1257"/>
                </a:lnTo>
                <a:lnTo>
                  <a:pt x="2260" y="1257"/>
                </a:lnTo>
                <a:close/>
                <a:moveTo>
                  <a:pt x="2485" y="1936"/>
                </a:moveTo>
                <a:lnTo>
                  <a:pt x="2485" y="1166"/>
                </a:lnTo>
                <a:lnTo>
                  <a:pt x="2549" y="1166"/>
                </a:lnTo>
                <a:lnTo>
                  <a:pt x="2549" y="1828"/>
                </a:lnTo>
                <a:lnTo>
                  <a:pt x="2709" y="1828"/>
                </a:lnTo>
                <a:lnTo>
                  <a:pt x="2709" y="1936"/>
                </a:lnTo>
                <a:lnTo>
                  <a:pt x="2485" y="1936"/>
                </a:lnTo>
                <a:close/>
                <a:moveTo>
                  <a:pt x="2769" y="1936"/>
                </a:moveTo>
                <a:lnTo>
                  <a:pt x="2769" y="1166"/>
                </a:lnTo>
                <a:lnTo>
                  <a:pt x="2835" y="1166"/>
                </a:lnTo>
                <a:lnTo>
                  <a:pt x="2835" y="1828"/>
                </a:lnTo>
                <a:lnTo>
                  <a:pt x="2994" y="1828"/>
                </a:lnTo>
                <a:lnTo>
                  <a:pt x="2994" y="1936"/>
                </a:lnTo>
                <a:lnTo>
                  <a:pt x="2769" y="1936"/>
                </a:lnTo>
                <a:close/>
                <a:moveTo>
                  <a:pt x="3055" y="1166"/>
                </a:moveTo>
                <a:lnTo>
                  <a:pt x="3120" y="1166"/>
                </a:lnTo>
                <a:lnTo>
                  <a:pt x="3120" y="1936"/>
                </a:lnTo>
                <a:lnTo>
                  <a:pt x="3055" y="1936"/>
                </a:lnTo>
                <a:lnTo>
                  <a:pt x="3055" y="1166"/>
                </a:lnTo>
                <a:close/>
                <a:moveTo>
                  <a:pt x="3337" y="1954"/>
                </a:moveTo>
                <a:lnTo>
                  <a:pt x="3321" y="1954"/>
                </a:lnTo>
                <a:lnTo>
                  <a:pt x="3305" y="1950"/>
                </a:lnTo>
                <a:lnTo>
                  <a:pt x="3291" y="1944"/>
                </a:lnTo>
                <a:lnTo>
                  <a:pt x="3284" y="1940"/>
                </a:lnTo>
                <a:lnTo>
                  <a:pt x="3278" y="1936"/>
                </a:lnTo>
                <a:lnTo>
                  <a:pt x="3266" y="1928"/>
                </a:lnTo>
                <a:lnTo>
                  <a:pt x="3260" y="1922"/>
                </a:lnTo>
                <a:lnTo>
                  <a:pt x="3255" y="1916"/>
                </a:lnTo>
                <a:lnTo>
                  <a:pt x="3245" y="1902"/>
                </a:lnTo>
                <a:lnTo>
                  <a:pt x="3241" y="1896"/>
                </a:lnTo>
                <a:lnTo>
                  <a:pt x="3236" y="1888"/>
                </a:lnTo>
                <a:lnTo>
                  <a:pt x="3232" y="1880"/>
                </a:lnTo>
                <a:lnTo>
                  <a:pt x="3229" y="1872"/>
                </a:lnTo>
                <a:lnTo>
                  <a:pt x="3225" y="1864"/>
                </a:lnTo>
                <a:lnTo>
                  <a:pt x="3222" y="1854"/>
                </a:lnTo>
                <a:lnTo>
                  <a:pt x="3216" y="1834"/>
                </a:lnTo>
                <a:lnTo>
                  <a:pt x="3211" y="1814"/>
                </a:lnTo>
                <a:lnTo>
                  <a:pt x="3210" y="1804"/>
                </a:lnTo>
                <a:lnTo>
                  <a:pt x="3208" y="1792"/>
                </a:lnTo>
                <a:lnTo>
                  <a:pt x="3205" y="1770"/>
                </a:lnTo>
                <a:lnTo>
                  <a:pt x="3203" y="1746"/>
                </a:lnTo>
                <a:lnTo>
                  <a:pt x="3203" y="1732"/>
                </a:lnTo>
                <a:lnTo>
                  <a:pt x="3203" y="1720"/>
                </a:lnTo>
                <a:lnTo>
                  <a:pt x="3265" y="1693"/>
                </a:lnTo>
                <a:lnTo>
                  <a:pt x="3266" y="1714"/>
                </a:lnTo>
                <a:lnTo>
                  <a:pt x="3267" y="1734"/>
                </a:lnTo>
                <a:lnTo>
                  <a:pt x="3269" y="1750"/>
                </a:lnTo>
                <a:lnTo>
                  <a:pt x="3271" y="1766"/>
                </a:lnTo>
                <a:lnTo>
                  <a:pt x="3273" y="1774"/>
                </a:lnTo>
                <a:lnTo>
                  <a:pt x="3274" y="1782"/>
                </a:lnTo>
                <a:lnTo>
                  <a:pt x="3278" y="1794"/>
                </a:lnTo>
                <a:lnTo>
                  <a:pt x="3282" y="1804"/>
                </a:lnTo>
                <a:lnTo>
                  <a:pt x="3286" y="1814"/>
                </a:lnTo>
                <a:lnTo>
                  <a:pt x="3291" y="1824"/>
                </a:lnTo>
                <a:lnTo>
                  <a:pt x="3297" y="1830"/>
                </a:lnTo>
                <a:lnTo>
                  <a:pt x="3303" y="1836"/>
                </a:lnTo>
                <a:lnTo>
                  <a:pt x="3310" y="1840"/>
                </a:lnTo>
                <a:lnTo>
                  <a:pt x="3317" y="1844"/>
                </a:lnTo>
                <a:lnTo>
                  <a:pt x="3324" y="1846"/>
                </a:lnTo>
                <a:lnTo>
                  <a:pt x="3332" y="1848"/>
                </a:lnTo>
                <a:lnTo>
                  <a:pt x="3341" y="1848"/>
                </a:lnTo>
                <a:lnTo>
                  <a:pt x="3348" y="1848"/>
                </a:lnTo>
                <a:lnTo>
                  <a:pt x="3355" y="1846"/>
                </a:lnTo>
                <a:lnTo>
                  <a:pt x="3362" y="1844"/>
                </a:lnTo>
                <a:lnTo>
                  <a:pt x="3368" y="1842"/>
                </a:lnTo>
                <a:lnTo>
                  <a:pt x="3374" y="1838"/>
                </a:lnTo>
                <a:lnTo>
                  <a:pt x="3380" y="1832"/>
                </a:lnTo>
                <a:lnTo>
                  <a:pt x="3385" y="1826"/>
                </a:lnTo>
                <a:lnTo>
                  <a:pt x="3390" y="1820"/>
                </a:lnTo>
                <a:lnTo>
                  <a:pt x="3394" y="1812"/>
                </a:lnTo>
                <a:lnTo>
                  <a:pt x="3398" y="1804"/>
                </a:lnTo>
                <a:lnTo>
                  <a:pt x="3401" y="1796"/>
                </a:lnTo>
                <a:lnTo>
                  <a:pt x="3404" y="1786"/>
                </a:lnTo>
                <a:lnTo>
                  <a:pt x="3406" y="1774"/>
                </a:lnTo>
                <a:lnTo>
                  <a:pt x="3407" y="1770"/>
                </a:lnTo>
                <a:lnTo>
                  <a:pt x="3408" y="1764"/>
                </a:lnTo>
                <a:lnTo>
                  <a:pt x="3409" y="1752"/>
                </a:lnTo>
                <a:lnTo>
                  <a:pt x="3409" y="1738"/>
                </a:lnTo>
                <a:lnTo>
                  <a:pt x="3409" y="1728"/>
                </a:lnTo>
                <a:lnTo>
                  <a:pt x="3408" y="1718"/>
                </a:lnTo>
                <a:lnTo>
                  <a:pt x="3407" y="1711"/>
                </a:lnTo>
                <a:lnTo>
                  <a:pt x="3406" y="1701"/>
                </a:lnTo>
                <a:lnTo>
                  <a:pt x="3404" y="1693"/>
                </a:lnTo>
                <a:lnTo>
                  <a:pt x="3402" y="1685"/>
                </a:lnTo>
                <a:lnTo>
                  <a:pt x="3400" y="1677"/>
                </a:lnTo>
                <a:lnTo>
                  <a:pt x="3396" y="1669"/>
                </a:lnTo>
                <a:lnTo>
                  <a:pt x="3389" y="1653"/>
                </a:lnTo>
                <a:lnTo>
                  <a:pt x="3385" y="1645"/>
                </a:lnTo>
                <a:lnTo>
                  <a:pt x="3380" y="1639"/>
                </a:lnTo>
                <a:lnTo>
                  <a:pt x="3369" y="1625"/>
                </a:lnTo>
                <a:lnTo>
                  <a:pt x="3356" y="1613"/>
                </a:lnTo>
                <a:lnTo>
                  <a:pt x="3292" y="1555"/>
                </a:lnTo>
                <a:lnTo>
                  <a:pt x="3282" y="1547"/>
                </a:lnTo>
                <a:lnTo>
                  <a:pt x="3273" y="1537"/>
                </a:lnTo>
                <a:lnTo>
                  <a:pt x="3257" y="1517"/>
                </a:lnTo>
                <a:lnTo>
                  <a:pt x="3243" y="1497"/>
                </a:lnTo>
                <a:lnTo>
                  <a:pt x="3237" y="1485"/>
                </a:lnTo>
                <a:lnTo>
                  <a:pt x="3232" y="1473"/>
                </a:lnTo>
                <a:lnTo>
                  <a:pt x="3227" y="1461"/>
                </a:lnTo>
                <a:lnTo>
                  <a:pt x="3223" y="1447"/>
                </a:lnTo>
                <a:lnTo>
                  <a:pt x="3220" y="1433"/>
                </a:lnTo>
                <a:lnTo>
                  <a:pt x="3217" y="1417"/>
                </a:lnTo>
                <a:lnTo>
                  <a:pt x="3215" y="1401"/>
                </a:lnTo>
                <a:lnTo>
                  <a:pt x="3214" y="1393"/>
                </a:lnTo>
                <a:lnTo>
                  <a:pt x="3213" y="1385"/>
                </a:lnTo>
                <a:lnTo>
                  <a:pt x="3212" y="1367"/>
                </a:lnTo>
                <a:lnTo>
                  <a:pt x="3212" y="1347"/>
                </a:lnTo>
                <a:lnTo>
                  <a:pt x="3212" y="1335"/>
                </a:lnTo>
                <a:lnTo>
                  <a:pt x="3213" y="1323"/>
                </a:lnTo>
                <a:lnTo>
                  <a:pt x="3214" y="1311"/>
                </a:lnTo>
                <a:lnTo>
                  <a:pt x="3215" y="1299"/>
                </a:lnTo>
                <a:lnTo>
                  <a:pt x="3216" y="1289"/>
                </a:lnTo>
                <a:lnTo>
                  <a:pt x="3218" y="1279"/>
                </a:lnTo>
                <a:lnTo>
                  <a:pt x="3222" y="1259"/>
                </a:lnTo>
                <a:lnTo>
                  <a:pt x="3225" y="1249"/>
                </a:lnTo>
                <a:lnTo>
                  <a:pt x="3228" y="1241"/>
                </a:lnTo>
                <a:lnTo>
                  <a:pt x="3234" y="1225"/>
                </a:lnTo>
                <a:lnTo>
                  <a:pt x="3241" y="1210"/>
                </a:lnTo>
                <a:lnTo>
                  <a:pt x="3245" y="1204"/>
                </a:lnTo>
                <a:lnTo>
                  <a:pt x="3250" y="1198"/>
                </a:lnTo>
                <a:lnTo>
                  <a:pt x="3259" y="1186"/>
                </a:lnTo>
                <a:lnTo>
                  <a:pt x="3269" y="1176"/>
                </a:lnTo>
                <a:lnTo>
                  <a:pt x="3279" y="1166"/>
                </a:lnTo>
                <a:lnTo>
                  <a:pt x="3290" y="1160"/>
                </a:lnTo>
                <a:lnTo>
                  <a:pt x="3302" y="1154"/>
                </a:lnTo>
                <a:lnTo>
                  <a:pt x="3314" y="1150"/>
                </a:lnTo>
                <a:lnTo>
                  <a:pt x="3327" y="1148"/>
                </a:lnTo>
                <a:lnTo>
                  <a:pt x="3340" y="1148"/>
                </a:lnTo>
                <a:lnTo>
                  <a:pt x="3355" y="1150"/>
                </a:lnTo>
                <a:lnTo>
                  <a:pt x="3370" y="1152"/>
                </a:lnTo>
                <a:lnTo>
                  <a:pt x="3383" y="1158"/>
                </a:lnTo>
                <a:lnTo>
                  <a:pt x="3389" y="1162"/>
                </a:lnTo>
                <a:lnTo>
                  <a:pt x="3395" y="1166"/>
                </a:lnTo>
                <a:lnTo>
                  <a:pt x="3407" y="1174"/>
                </a:lnTo>
                <a:lnTo>
                  <a:pt x="3417" y="1186"/>
                </a:lnTo>
                <a:lnTo>
                  <a:pt x="3426" y="1198"/>
                </a:lnTo>
                <a:lnTo>
                  <a:pt x="3434" y="1212"/>
                </a:lnTo>
                <a:lnTo>
                  <a:pt x="3438" y="1218"/>
                </a:lnTo>
                <a:lnTo>
                  <a:pt x="3441" y="1225"/>
                </a:lnTo>
                <a:lnTo>
                  <a:pt x="3444" y="1233"/>
                </a:lnTo>
                <a:lnTo>
                  <a:pt x="3447" y="1241"/>
                </a:lnTo>
                <a:lnTo>
                  <a:pt x="3452" y="1259"/>
                </a:lnTo>
                <a:lnTo>
                  <a:pt x="3457" y="1275"/>
                </a:lnTo>
                <a:lnTo>
                  <a:pt x="3460" y="1293"/>
                </a:lnTo>
                <a:lnTo>
                  <a:pt x="3462" y="1313"/>
                </a:lnTo>
                <a:lnTo>
                  <a:pt x="3464" y="1331"/>
                </a:lnTo>
                <a:lnTo>
                  <a:pt x="3464" y="1349"/>
                </a:lnTo>
                <a:lnTo>
                  <a:pt x="3402" y="1375"/>
                </a:lnTo>
                <a:lnTo>
                  <a:pt x="3402" y="1359"/>
                </a:lnTo>
                <a:lnTo>
                  <a:pt x="3400" y="1345"/>
                </a:lnTo>
                <a:lnTo>
                  <a:pt x="3399" y="1331"/>
                </a:lnTo>
                <a:lnTo>
                  <a:pt x="3397" y="1319"/>
                </a:lnTo>
                <a:lnTo>
                  <a:pt x="3394" y="1309"/>
                </a:lnTo>
                <a:lnTo>
                  <a:pt x="3391" y="1299"/>
                </a:lnTo>
                <a:lnTo>
                  <a:pt x="3388" y="1289"/>
                </a:lnTo>
                <a:lnTo>
                  <a:pt x="3384" y="1281"/>
                </a:lnTo>
                <a:lnTo>
                  <a:pt x="3380" y="1275"/>
                </a:lnTo>
                <a:lnTo>
                  <a:pt x="3375" y="1269"/>
                </a:lnTo>
                <a:lnTo>
                  <a:pt x="3370" y="1265"/>
                </a:lnTo>
                <a:lnTo>
                  <a:pt x="3364" y="1261"/>
                </a:lnTo>
                <a:lnTo>
                  <a:pt x="3358" y="1257"/>
                </a:lnTo>
                <a:lnTo>
                  <a:pt x="3352" y="1255"/>
                </a:lnTo>
                <a:lnTo>
                  <a:pt x="3345" y="1255"/>
                </a:lnTo>
                <a:lnTo>
                  <a:pt x="3337" y="1253"/>
                </a:lnTo>
                <a:lnTo>
                  <a:pt x="3325" y="1255"/>
                </a:lnTo>
                <a:lnTo>
                  <a:pt x="3313" y="1259"/>
                </a:lnTo>
                <a:lnTo>
                  <a:pt x="3308" y="1263"/>
                </a:lnTo>
                <a:lnTo>
                  <a:pt x="3303" y="1267"/>
                </a:lnTo>
                <a:lnTo>
                  <a:pt x="3298" y="1271"/>
                </a:lnTo>
                <a:lnTo>
                  <a:pt x="3294" y="1275"/>
                </a:lnTo>
                <a:lnTo>
                  <a:pt x="3290" y="1281"/>
                </a:lnTo>
                <a:lnTo>
                  <a:pt x="3287" y="1287"/>
                </a:lnTo>
                <a:lnTo>
                  <a:pt x="3284" y="1295"/>
                </a:lnTo>
                <a:lnTo>
                  <a:pt x="3281" y="1303"/>
                </a:lnTo>
                <a:lnTo>
                  <a:pt x="3279" y="1311"/>
                </a:lnTo>
                <a:lnTo>
                  <a:pt x="3278" y="1321"/>
                </a:lnTo>
                <a:lnTo>
                  <a:pt x="3277" y="1331"/>
                </a:lnTo>
                <a:lnTo>
                  <a:pt x="3276" y="1341"/>
                </a:lnTo>
                <a:lnTo>
                  <a:pt x="3277" y="1351"/>
                </a:lnTo>
                <a:lnTo>
                  <a:pt x="3277" y="1361"/>
                </a:lnTo>
                <a:lnTo>
                  <a:pt x="3278" y="1371"/>
                </a:lnTo>
                <a:lnTo>
                  <a:pt x="3279" y="1379"/>
                </a:lnTo>
                <a:lnTo>
                  <a:pt x="3281" y="1387"/>
                </a:lnTo>
                <a:lnTo>
                  <a:pt x="3283" y="1395"/>
                </a:lnTo>
                <a:lnTo>
                  <a:pt x="3286" y="1403"/>
                </a:lnTo>
                <a:lnTo>
                  <a:pt x="3288" y="1409"/>
                </a:lnTo>
                <a:lnTo>
                  <a:pt x="3292" y="1415"/>
                </a:lnTo>
                <a:lnTo>
                  <a:pt x="3295" y="1421"/>
                </a:lnTo>
                <a:lnTo>
                  <a:pt x="3304" y="1433"/>
                </a:lnTo>
                <a:lnTo>
                  <a:pt x="3314" y="1445"/>
                </a:lnTo>
                <a:lnTo>
                  <a:pt x="3326" y="1457"/>
                </a:lnTo>
                <a:lnTo>
                  <a:pt x="3388" y="1511"/>
                </a:lnTo>
                <a:lnTo>
                  <a:pt x="3398" y="1521"/>
                </a:lnTo>
                <a:lnTo>
                  <a:pt x="3408" y="1531"/>
                </a:lnTo>
                <a:lnTo>
                  <a:pt x="3418" y="1541"/>
                </a:lnTo>
                <a:lnTo>
                  <a:pt x="3426" y="1553"/>
                </a:lnTo>
                <a:lnTo>
                  <a:pt x="3434" y="1565"/>
                </a:lnTo>
                <a:lnTo>
                  <a:pt x="3441" y="1575"/>
                </a:lnTo>
                <a:lnTo>
                  <a:pt x="3447" y="1589"/>
                </a:lnTo>
                <a:lnTo>
                  <a:pt x="3453" y="1601"/>
                </a:lnTo>
                <a:lnTo>
                  <a:pt x="3458" y="1615"/>
                </a:lnTo>
                <a:lnTo>
                  <a:pt x="3462" y="1629"/>
                </a:lnTo>
                <a:lnTo>
                  <a:pt x="3466" y="1643"/>
                </a:lnTo>
                <a:lnTo>
                  <a:pt x="3469" y="1659"/>
                </a:lnTo>
                <a:lnTo>
                  <a:pt x="3471" y="1675"/>
                </a:lnTo>
                <a:lnTo>
                  <a:pt x="3472" y="1685"/>
                </a:lnTo>
                <a:lnTo>
                  <a:pt x="3472" y="1693"/>
                </a:lnTo>
                <a:lnTo>
                  <a:pt x="3473" y="1711"/>
                </a:lnTo>
                <a:lnTo>
                  <a:pt x="3474" y="1730"/>
                </a:lnTo>
                <a:lnTo>
                  <a:pt x="3473" y="1756"/>
                </a:lnTo>
                <a:lnTo>
                  <a:pt x="3471" y="1780"/>
                </a:lnTo>
                <a:lnTo>
                  <a:pt x="3470" y="1792"/>
                </a:lnTo>
                <a:lnTo>
                  <a:pt x="3468" y="1802"/>
                </a:lnTo>
                <a:lnTo>
                  <a:pt x="3466" y="1814"/>
                </a:lnTo>
                <a:lnTo>
                  <a:pt x="3464" y="1824"/>
                </a:lnTo>
                <a:lnTo>
                  <a:pt x="3461" y="1834"/>
                </a:lnTo>
                <a:lnTo>
                  <a:pt x="3459" y="1844"/>
                </a:lnTo>
                <a:lnTo>
                  <a:pt x="3452" y="1862"/>
                </a:lnTo>
                <a:lnTo>
                  <a:pt x="3449" y="1870"/>
                </a:lnTo>
                <a:lnTo>
                  <a:pt x="3445" y="1880"/>
                </a:lnTo>
                <a:lnTo>
                  <a:pt x="3437" y="1894"/>
                </a:lnTo>
                <a:lnTo>
                  <a:pt x="3432" y="1902"/>
                </a:lnTo>
                <a:lnTo>
                  <a:pt x="3427" y="1908"/>
                </a:lnTo>
                <a:lnTo>
                  <a:pt x="3422" y="1914"/>
                </a:lnTo>
                <a:lnTo>
                  <a:pt x="3417" y="1920"/>
                </a:lnTo>
                <a:lnTo>
                  <a:pt x="3406" y="1930"/>
                </a:lnTo>
                <a:lnTo>
                  <a:pt x="3394" y="1938"/>
                </a:lnTo>
                <a:lnTo>
                  <a:pt x="3381" y="1946"/>
                </a:lnTo>
                <a:lnTo>
                  <a:pt x="3367" y="1950"/>
                </a:lnTo>
                <a:lnTo>
                  <a:pt x="3360" y="1952"/>
                </a:lnTo>
                <a:lnTo>
                  <a:pt x="3353" y="1952"/>
                </a:lnTo>
                <a:lnTo>
                  <a:pt x="3337" y="1954"/>
                </a:lnTo>
                <a:close/>
                <a:moveTo>
                  <a:pt x="3582" y="1882"/>
                </a:moveTo>
                <a:lnTo>
                  <a:pt x="3574" y="1866"/>
                </a:lnTo>
                <a:lnTo>
                  <a:pt x="3567" y="1848"/>
                </a:lnTo>
                <a:lnTo>
                  <a:pt x="3562" y="1828"/>
                </a:lnTo>
                <a:lnTo>
                  <a:pt x="3559" y="1816"/>
                </a:lnTo>
                <a:lnTo>
                  <a:pt x="3557" y="1806"/>
                </a:lnTo>
                <a:lnTo>
                  <a:pt x="3554" y="1782"/>
                </a:lnTo>
                <a:lnTo>
                  <a:pt x="3551" y="1756"/>
                </a:lnTo>
                <a:lnTo>
                  <a:pt x="3550" y="1742"/>
                </a:lnTo>
                <a:lnTo>
                  <a:pt x="3550" y="1726"/>
                </a:lnTo>
                <a:lnTo>
                  <a:pt x="3549" y="1697"/>
                </a:lnTo>
                <a:lnTo>
                  <a:pt x="3549" y="1166"/>
                </a:lnTo>
                <a:lnTo>
                  <a:pt x="3615" y="1166"/>
                </a:lnTo>
                <a:lnTo>
                  <a:pt x="3615" y="1691"/>
                </a:lnTo>
                <a:lnTo>
                  <a:pt x="3615" y="1711"/>
                </a:lnTo>
                <a:lnTo>
                  <a:pt x="3616" y="1728"/>
                </a:lnTo>
                <a:lnTo>
                  <a:pt x="3617" y="1744"/>
                </a:lnTo>
                <a:lnTo>
                  <a:pt x="3618" y="1758"/>
                </a:lnTo>
                <a:lnTo>
                  <a:pt x="3620" y="1772"/>
                </a:lnTo>
                <a:lnTo>
                  <a:pt x="3623" y="1784"/>
                </a:lnTo>
                <a:lnTo>
                  <a:pt x="3625" y="1796"/>
                </a:lnTo>
                <a:lnTo>
                  <a:pt x="3629" y="1804"/>
                </a:lnTo>
                <a:lnTo>
                  <a:pt x="3633" y="1814"/>
                </a:lnTo>
                <a:lnTo>
                  <a:pt x="3637" y="1822"/>
                </a:lnTo>
                <a:lnTo>
                  <a:pt x="3643" y="1830"/>
                </a:lnTo>
                <a:lnTo>
                  <a:pt x="3649" y="1836"/>
                </a:lnTo>
                <a:lnTo>
                  <a:pt x="3652" y="1838"/>
                </a:lnTo>
                <a:lnTo>
                  <a:pt x="3655" y="1840"/>
                </a:lnTo>
                <a:lnTo>
                  <a:pt x="3662" y="1844"/>
                </a:lnTo>
                <a:lnTo>
                  <a:pt x="3670" y="1846"/>
                </a:lnTo>
                <a:lnTo>
                  <a:pt x="3678" y="1846"/>
                </a:lnTo>
                <a:lnTo>
                  <a:pt x="3686" y="1846"/>
                </a:lnTo>
                <a:lnTo>
                  <a:pt x="3694" y="1844"/>
                </a:lnTo>
                <a:lnTo>
                  <a:pt x="3701" y="1840"/>
                </a:lnTo>
                <a:lnTo>
                  <a:pt x="3708" y="1836"/>
                </a:lnTo>
                <a:lnTo>
                  <a:pt x="3713" y="1830"/>
                </a:lnTo>
                <a:lnTo>
                  <a:pt x="3719" y="1822"/>
                </a:lnTo>
                <a:lnTo>
                  <a:pt x="3723" y="1814"/>
                </a:lnTo>
                <a:lnTo>
                  <a:pt x="3728" y="1804"/>
                </a:lnTo>
                <a:lnTo>
                  <a:pt x="3731" y="1796"/>
                </a:lnTo>
                <a:lnTo>
                  <a:pt x="3734" y="1784"/>
                </a:lnTo>
                <a:lnTo>
                  <a:pt x="3736" y="1772"/>
                </a:lnTo>
                <a:lnTo>
                  <a:pt x="3738" y="1758"/>
                </a:lnTo>
                <a:lnTo>
                  <a:pt x="3740" y="1744"/>
                </a:lnTo>
                <a:lnTo>
                  <a:pt x="3741" y="1728"/>
                </a:lnTo>
                <a:lnTo>
                  <a:pt x="3741" y="1711"/>
                </a:lnTo>
                <a:lnTo>
                  <a:pt x="3741" y="1691"/>
                </a:lnTo>
                <a:lnTo>
                  <a:pt x="3741" y="1166"/>
                </a:lnTo>
                <a:lnTo>
                  <a:pt x="3807" y="1166"/>
                </a:lnTo>
                <a:lnTo>
                  <a:pt x="3807" y="1697"/>
                </a:lnTo>
                <a:lnTo>
                  <a:pt x="3806" y="1726"/>
                </a:lnTo>
                <a:lnTo>
                  <a:pt x="3805" y="1742"/>
                </a:lnTo>
                <a:lnTo>
                  <a:pt x="3805" y="1756"/>
                </a:lnTo>
                <a:lnTo>
                  <a:pt x="3802" y="1782"/>
                </a:lnTo>
                <a:lnTo>
                  <a:pt x="3798" y="1806"/>
                </a:lnTo>
                <a:lnTo>
                  <a:pt x="3796" y="1816"/>
                </a:lnTo>
                <a:lnTo>
                  <a:pt x="3794" y="1828"/>
                </a:lnTo>
                <a:lnTo>
                  <a:pt x="3788" y="1848"/>
                </a:lnTo>
                <a:lnTo>
                  <a:pt x="3785" y="1856"/>
                </a:lnTo>
                <a:lnTo>
                  <a:pt x="3782" y="1866"/>
                </a:lnTo>
                <a:lnTo>
                  <a:pt x="3779" y="1874"/>
                </a:lnTo>
                <a:lnTo>
                  <a:pt x="3775" y="1882"/>
                </a:lnTo>
                <a:lnTo>
                  <a:pt x="3771" y="1890"/>
                </a:lnTo>
                <a:lnTo>
                  <a:pt x="3766" y="1898"/>
                </a:lnTo>
                <a:lnTo>
                  <a:pt x="3756" y="1914"/>
                </a:lnTo>
                <a:lnTo>
                  <a:pt x="3745" y="1926"/>
                </a:lnTo>
                <a:lnTo>
                  <a:pt x="3739" y="1930"/>
                </a:lnTo>
                <a:lnTo>
                  <a:pt x="3733" y="1936"/>
                </a:lnTo>
                <a:lnTo>
                  <a:pt x="3720" y="1944"/>
                </a:lnTo>
                <a:lnTo>
                  <a:pt x="3714" y="1946"/>
                </a:lnTo>
                <a:lnTo>
                  <a:pt x="3707" y="1950"/>
                </a:lnTo>
                <a:lnTo>
                  <a:pt x="3693" y="1952"/>
                </a:lnTo>
                <a:lnTo>
                  <a:pt x="3685" y="1954"/>
                </a:lnTo>
                <a:lnTo>
                  <a:pt x="3678" y="1954"/>
                </a:lnTo>
                <a:lnTo>
                  <a:pt x="3663" y="1952"/>
                </a:lnTo>
                <a:lnTo>
                  <a:pt x="3649" y="1950"/>
                </a:lnTo>
                <a:lnTo>
                  <a:pt x="3643" y="1946"/>
                </a:lnTo>
                <a:lnTo>
                  <a:pt x="3636" y="1944"/>
                </a:lnTo>
                <a:lnTo>
                  <a:pt x="3624" y="1936"/>
                </a:lnTo>
                <a:lnTo>
                  <a:pt x="3612" y="1926"/>
                </a:lnTo>
                <a:lnTo>
                  <a:pt x="3601" y="1914"/>
                </a:lnTo>
                <a:lnTo>
                  <a:pt x="3591" y="1898"/>
                </a:lnTo>
                <a:lnTo>
                  <a:pt x="3586" y="1890"/>
                </a:lnTo>
                <a:lnTo>
                  <a:pt x="3582" y="1882"/>
                </a:lnTo>
                <a:close/>
                <a:moveTo>
                  <a:pt x="3934" y="1882"/>
                </a:moveTo>
                <a:lnTo>
                  <a:pt x="3927" y="1866"/>
                </a:lnTo>
                <a:lnTo>
                  <a:pt x="3920" y="1848"/>
                </a:lnTo>
                <a:lnTo>
                  <a:pt x="3915" y="1828"/>
                </a:lnTo>
                <a:lnTo>
                  <a:pt x="3912" y="1816"/>
                </a:lnTo>
                <a:lnTo>
                  <a:pt x="3910" y="1806"/>
                </a:lnTo>
                <a:lnTo>
                  <a:pt x="3907" y="1782"/>
                </a:lnTo>
                <a:lnTo>
                  <a:pt x="3904" y="1756"/>
                </a:lnTo>
                <a:lnTo>
                  <a:pt x="3903" y="1742"/>
                </a:lnTo>
                <a:lnTo>
                  <a:pt x="3903" y="1726"/>
                </a:lnTo>
                <a:lnTo>
                  <a:pt x="3902" y="1697"/>
                </a:lnTo>
                <a:lnTo>
                  <a:pt x="3902" y="1166"/>
                </a:lnTo>
                <a:lnTo>
                  <a:pt x="3968" y="1166"/>
                </a:lnTo>
                <a:lnTo>
                  <a:pt x="3968" y="1691"/>
                </a:lnTo>
                <a:lnTo>
                  <a:pt x="3968" y="1711"/>
                </a:lnTo>
                <a:lnTo>
                  <a:pt x="3969" y="1728"/>
                </a:lnTo>
                <a:lnTo>
                  <a:pt x="3970" y="1744"/>
                </a:lnTo>
                <a:lnTo>
                  <a:pt x="3972" y="1758"/>
                </a:lnTo>
                <a:lnTo>
                  <a:pt x="3973" y="1772"/>
                </a:lnTo>
                <a:lnTo>
                  <a:pt x="3976" y="1784"/>
                </a:lnTo>
                <a:lnTo>
                  <a:pt x="3979" y="1796"/>
                </a:lnTo>
                <a:lnTo>
                  <a:pt x="3982" y="1804"/>
                </a:lnTo>
                <a:lnTo>
                  <a:pt x="3986" y="1814"/>
                </a:lnTo>
                <a:lnTo>
                  <a:pt x="3991" y="1822"/>
                </a:lnTo>
                <a:lnTo>
                  <a:pt x="3996" y="1830"/>
                </a:lnTo>
                <a:lnTo>
                  <a:pt x="4002" y="1836"/>
                </a:lnTo>
                <a:lnTo>
                  <a:pt x="4005" y="1838"/>
                </a:lnTo>
                <a:lnTo>
                  <a:pt x="4008" y="1840"/>
                </a:lnTo>
                <a:lnTo>
                  <a:pt x="4015" y="1844"/>
                </a:lnTo>
                <a:lnTo>
                  <a:pt x="4023" y="1846"/>
                </a:lnTo>
                <a:lnTo>
                  <a:pt x="4031" y="1846"/>
                </a:lnTo>
                <a:lnTo>
                  <a:pt x="4040" y="1846"/>
                </a:lnTo>
                <a:lnTo>
                  <a:pt x="4047" y="1844"/>
                </a:lnTo>
                <a:lnTo>
                  <a:pt x="4054" y="1840"/>
                </a:lnTo>
                <a:lnTo>
                  <a:pt x="4061" y="1836"/>
                </a:lnTo>
                <a:lnTo>
                  <a:pt x="4067" y="1830"/>
                </a:lnTo>
                <a:lnTo>
                  <a:pt x="4072" y="1822"/>
                </a:lnTo>
                <a:lnTo>
                  <a:pt x="4077" y="1814"/>
                </a:lnTo>
                <a:lnTo>
                  <a:pt x="4081" y="1804"/>
                </a:lnTo>
                <a:lnTo>
                  <a:pt x="4084" y="1796"/>
                </a:lnTo>
                <a:lnTo>
                  <a:pt x="4087" y="1784"/>
                </a:lnTo>
                <a:lnTo>
                  <a:pt x="4090" y="1772"/>
                </a:lnTo>
                <a:lnTo>
                  <a:pt x="4091" y="1758"/>
                </a:lnTo>
                <a:lnTo>
                  <a:pt x="4093" y="1744"/>
                </a:lnTo>
                <a:lnTo>
                  <a:pt x="4094" y="1728"/>
                </a:lnTo>
                <a:lnTo>
                  <a:pt x="4094" y="1711"/>
                </a:lnTo>
                <a:lnTo>
                  <a:pt x="4094" y="1691"/>
                </a:lnTo>
                <a:lnTo>
                  <a:pt x="4094" y="1166"/>
                </a:lnTo>
                <a:lnTo>
                  <a:pt x="4160" y="1166"/>
                </a:lnTo>
                <a:lnTo>
                  <a:pt x="4160" y="1697"/>
                </a:lnTo>
                <a:lnTo>
                  <a:pt x="4159" y="1726"/>
                </a:lnTo>
                <a:lnTo>
                  <a:pt x="4159" y="1742"/>
                </a:lnTo>
                <a:lnTo>
                  <a:pt x="4158" y="1756"/>
                </a:lnTo>
                <a:lnTo>
                  <a:pt x="4155" y="1782"/>
                </a:lnTo>
                <a:lnTo>
                  <a:pt x="4152" y="1806"/>
                </a:lnTo>
                <a:lnTo>
                  <a:pt x="4149" y="1816"/>
                </a:lnTo>
                <a:lnTo>
                  <a:pt x="4147" y="1828"/>
                </a:lnTo>
                <a:lnTo>
                  <a:pt x="4142" y="1848"/>
                </a:lnTo>
                <a:lnTo>
                  <a:pt x="4139" y="1856"/>
                </a:lnTo>
                <a:lnTo>
                  <a:pt x="4135" y="1866"/>
                </a:lnTo>
                <a:lnTo>
                  <a:pt x="4132" y="1874"/>
                </a:lnTo>
                <a:lnTo>
                  <a:pt x="4128" y="1882"/>
                </a:lnTo>
                <a:lnTo>
                  <a:pt x="4124" y="1890"/>
                </a:lnTo>
                <a:lnTo>
                  <a:pt x="4119" y="1898"/>
                </a:lnTo>
                <a:lnTo>
                  <a:pt x="4109" y="1914"/>
                </a:lnTo>
                <a:lnTo>
                  <a:pt x="4098" y="1926"/>
                </a:lnTo>
                <a:lnTo>
                  <a:pt x="4092" y="1930"/>
                </a:lnTo>
                <a:lnTo>
                  <a:pt x="4086" y="1936"/>
                </a:lnTo>
                <a:lnTo>
                  <a:pt x="4073" y="1944"/>
                </a:lnTo>
                <a:lnTo>
                  <a:pt x="4067" y="1946"/>
                </a:lnTo>
                <a:lnTo>
                  <a:pt x="4060" y="1950"/>
                </a:lnTo>
                <a:lnTo>
                  <a:pt x="4046" y="1952"/>
                </a:lnTo>
                <a:lnTo>
                  <a:pt x="4039" y="1954"/>
                </a:lnTo>
                <a:lnTo>
                  <a:pt x="4031" y="1954"/>
                </a:lnTo>
                <a:lnTo>
                  <a:pt x="4017" y="1952"/>
                </a:lnTo>
                <a:lnTo>
                  <a:pt x="4003" y="1950"/>
                </a:lnTo>
                <a:lnTo>
                  <a:pt x="3996" y="1946"/>
                </a:lnTo>
                <a:lnTo>
                  <a:pt x="3989" y="1944"/>
                </a:lnTo>
                <a:lnTo>
                  <a:pt x="3977" y="1936"/>
                </a:lnTo>
                <a:lnTo>
                  <a:pt x="3965" y="1926"/>
                </a:lnTo>
                <a:lnTo>
                  <a:pt x="3954" y="1914"/>
                </a:lnTo>
                <a:lnTo>
                  <a:pt x="3943" y="1898"/>
                </a:lnTo>
                <a:lnTo>
                  <a:pt x="3938" y="1890"/>
                </a:lnTo>
                <a:lnTo>
                  <a:pt x="3934" y="1882"/>
                </a:lnTo>
                <a:close/>
                <a:moveTo>
                  <a:pt x="4370" y="1954"/>
                </a:moveTo>
                <a:lnTo>
                  <a:pt x="4354" y="1954"/>
                </a:lnTo>
                <a:lnTo>
                  <a:pt x="4339" y="1950"/>
                </a:lnTo>
                <a:lnTo>
                  <a:pt x="4324" y="1944"/>
                </a:lnTo>
                <a:lnTo>
                  <a:pt x="4317" y="1940"/>
                </a:lnTo>
                <a:lnTo>
                  <a:pt x="4310" y="1936"/>
                </a:lnTo>
                <a:lnTo>
                  <a:pt x="4298" y="1928"/>
                </a:lnTo>
                <a:lnTo>
                  <a:pt x="4292" y="1922"/>
                </a:lnTo>
                <a:lnTo>
                  <a:pt x="4287" y="1916"/>
                </a:lnTo>
                <a:lnTo>
                  <a:pt x="4277" y="1902"/>
                </a:lnTo>
                <a:lnTo>
                  <a:pt x="4273" y="1896"/>
                </a:lnTo>
                <a:lnTo>
                  <a:pt x="4268" y="1888"/>
                </a:lnTo>
                <a:lnTo>
                  <a:pt x="4264" y="1880"/>
                </a:lnTo>
                <a:lnTo>
                  <a:pt x="4261" y="1872"/>
                </a:lnTo>
                <a:lnTo>
                  <a:pt x="4257" y="1864"/>
                </a:lnTo>
                <a:lnTo>
                  <a:pt x="4254" y="1854"/>
                </a:lnTo>
                <a:lnTo>
                  <a:pt x="4248" y="1834"/>
                </a:lnTo>
                <a:lnTo>
                  <a:pt x="4244" y="1814"/>
                </a:lnTo>
                <a:lnTo>
                  <a:pt x="4242" y="1804"/>
                </a:lnTo>
                <a:lnTo>
                  <a:pt x="4240" y="1792"/>
                </a:lnTo>
                <a:lnTo>
                  <a:pt x="4237" y="1770"/>
                </a:lnTo>
                <a:lnTo>
                  <a:pt x="4236" y="1746"/>
                </a:lnTo>
                <a:lnTo>
                  <a:pt x="4235" y="1732"/>
                </a:lnTo>
                <a:lnTo>
                  <a:pt x="4235" y="1720"/>
                </a:lnTo>
                <a:lnTo>
                  <a:pt x="4298" y="1693"/>
                </a:lnTo>
                <a:lnTo>
                  <a:pt x="4298" y="1714"/>
                </a:lnTo>
                <a:lnTo>
                  <a:pt x="4299" y="1734"/>
                </a:lnTo>
                <a:lnTo>
                  <a:pt x="4301" y="1750"/>
                </a:lnTo>
                <a:lnTo>
                  <a:pt x="4303" y="1766"/>
                </a:lnTo>
                <a:lnTo>
                  <a:pt x="4305" y="1774"/>
                </a:lnTo>
                <a:lnTo>
                  <a:pt x="4306" y="1782"/>
                </a:lnTo>
                <a:lnTo>
                  <a:pt x="4310" y="1794"/>
                </a:lnTo>
                <a:lnTo>
                  <a:pt x="4314" y="1804"/>
                </a:lnTo>
                <a:lnTo>
                  <a:pt x="4318" y="1814"/>
                </a:lnTo>
                <a:lnTo>
                  <a:pt x="4324" y="1824"/>
                </a:lnTo>
                <a:lnTo>
                  <a:pt x="4330" y="1830"/>
                </a:lnTo>
                <a:lnTo>
                  <a:pt x="4336" y="1836"/>
                </a:lnTo>
                <a:lnTo>
                  <a:pt x="4343" y="1840"/>
                </a:lnTo>
                <a:lnTo>
                  <a:pt x="4350" y="1844"/>
                </a:lnTo>
                <a:lnTo>
                  <a:pt x="4357" y="1846"/>
                </a:lnTo>
                <a:lnTo>
                  <a:pt x="4365" y="1848"/>
                </a:lnTo>
                <a:lnTo>
                  <a:pt x="4374" y="1848"/>
                </a:lnTo>
                <a:lnTo>
                  <a:pt x="4381" y="1848"/>
                </a:lnTo>
                <a:lnTo>
                  <a:pt x="4388" y="1846"/>
                </a:lnTo>
                <a:lnTo>
                  <a:pt x="4395" y="1844"/>
                </a:lnTo>
                <a:lnTo>
                  <a:pt x="4401" y="1842"/>
                </a:lnTo>
                <a:lnTo>
                  <a:pt x="4407" y="1838"/>
                </a:lnTo>
                <a:lnTo>
                  <a:pt x="4413" y="1832"/>
                </a:lnTo>
                <a:lnTo>
                  <a:pt x="4418" y="1826"/>
                </a:lnTo>
                <a:lnTo>
                  <a:pt x="4423" y="1820"/>
                </a:lnTo>
                <a:lnTo>
                  <a:pt x="4427" y="1812"/>
                </a:lnTo>
                <a:lnTo>
                  <a:pt x="4431" y="1804"/>
                </a:lnTo>
                <a:lnTo>
                  <a:pt x="4434" y="1796"/>
                </a:lnTo>
                <a:lnTo>
                  <a:pt x="4437" y="1786"/>
                </a:lnTo>
                <a:lnTo>
                  <a:pt x="4439" y="1774"/>
                </a:lnTo>
                <a:lnTo>
                  <a:pt x="4440" y="1770"/>
                </a:lnTo>
                <a:lnTo>
                  <a:pt x="4441" y="1764"/>
                </a:lnTo>
                <a:lnTo>
                  <a:pt x="4442" y="1752"/>
                </a:lnTo>
                <a:lnTo>
                  <a:pt x="4442" y="1738"/>
                </a:lnTo>
                <a:lnTo>
                  <a:pt x="4442" y="1728"/>
                </a:lnTo>
                <a:lnTo>
                  <a:pt x="4442" y="1718"/>
                </a:lnTo>
                <a:lnTo>
                  <a:pt x="4441" y="1711"/>
                </a:lnTo>
                <a:lnTo>
                  <a:pt x="4439" y="1701"/>
                </a:lnTo>
                <a:lnTo>
                  <a:pt x="4437" y="1693"/>
                </a:lnTo>
                <a:lnTo>
                  <a:pt x="4435" y="1685"/>
                </a:lnTo>
                <a:lnTo>
                  <a:pt x="4433" y="1677"/>
                </a:lnTo>
                <a:lnTo>
                  <a:pt x="4430" y="1669"/>
                </a:lnTo>
                <a:lnTo>
                  <a:pt x="4422" y="1653"/>
                </a:lnTo>
                <a:lnTo>
                  <a:pt x="4418" y="1645"/>
                </a:lnTo>
                <a:lnTo>
                  <a:pt x="4413" y="1639"/>
                </a:lnTo>
                <a:lnTo>
                  <a:pt x="4402" y="1625"/>
                </a:lnTo>
                <a:lnTo>
                  <a:pt x="4389" y="1613"/>
                </a:lnTo>
                <a:lnTo>
                  <a:pt x="4325" y="1555"/>
                </a:lnTo>
                <a:lnTo>
                  <a:pt x="4315" y="1547"/>
                </a:lnTo>
                <a:lnTo>
                  <a:pt x="4305" y="1537"/>
                </a:lnTo>
                <a:lnTo>
                  <a:pt x="4289" y="1517"/>
                </a:lnTo>
                <a:lnTo>
                  <a:pt x="4275" y="1497"/>
                </a:lnTo>
                <a:lnTo>
                  <a:pt x="4270" y="1485"/>
                </a:lnTo>
                <a:lnTo>
                  <a:pt x="4264" y="1473"/>
                </a:lnTo>
                <a:lnTo>
                  <a:pt x="4260" y="1461"/>
                </a:lnTo>
                <a:lnTo>
                  <a:pt x="4255" y="1447"/>
                </a:lnTo>
                <a:lnTo>
                  <a:pt x="4252" y="1433"/>
                </a:lnTo>
                <a:lnTo>
                  <a:pt x="4249" y="1417"/>
                </a:lnTo>
                <a:lnTo>
                  <a:pt x="4247" y="1401"/>
                </a:lnTo>
                <a:lnTo>
                  <a:pt x="4246" y="1393"/>
                </a:lnTo>
                <a:lnTo>
                  <a:pt x="4245" y="1385"/>
                </a:lnTo>
                <a:lnTo>
                  <a:pt x="4244" y="1367"/>
                </a:lnTo>
                <a:lnTo>
                  <a:pt x="4244" y="1347"/>
                </a:lnTo>
                <a:lnTo>
                  <a:pt x="4244" y="1335"/>
                </a:lnTo>
                <a:lnTo>
                  <a:pt x="4245" y="1323"/>
                </a:lnTo>
                <a:lnTo>
                  <a:pt x="4246" y="1311"/>
                </a:lnTo>
                <a:lnTo>
                  <a:pt x="4247" y="1299"/>
                </a:lnTo>
                <a:lnTo>
                  <a:pt x="4248" y="1289"/>
                </a:lnTo>
                <a:lnTo>
                  <a:pt x="4250" y="1279"/>
                </a:lnTo>
                <a:lnTo>
                  <a:pt x="4254" y="1259"/>
                </a:lnTo>
                <a:lnTo>
                  <a:pt x="4257" y="1249"/>
                </a:lnTo>
                <a:lnTo>
                  <a:pt x="4260" y="1241"/>
                </a:lnTo>
                <a:lnTo>
                  <a:pt x="4266" y="1225"/>
                </a:lnTo>
                <a:lnTo>
                  <a:pt x="4273" y="1210"/>
                </a:lnTo>
                <a:lnTo>
                  <a:pt x="4277" y="1204"/>
                </a:lnTo>
                <a:lnTo>
                  <a:pt x="4282" y="1198"/>
                </a:lnTo>
                <a:lnTo>
                  <a:pt x="4291" y="1186"/>
                </a:lnTo>
                <a:lnTo>
                  <a:pt x="4301" y="1176"/>
                </a:lnTo>
                <a:lnTo>
                  <a:pt x="4311" y="1166"/>
                </a:lnTo>
                <a:lnTo>
                  <a:pt x="4323" y="1160"/>
                </a:lnTo>
                <a:lnTo>
                  <a:pt x="4335" y="1154"/>
                </a:lnTo>
                <a:lnTo>
                  <a:pt x="4347" y="1150"/>
                </a:lnTo>
                <a:lnTo>
                  <a:pt x="4360" y="1148"/>
                </a:lnTo>
                <a:lnTo>
                  <a:pt x="4373" y="1148"/>
                </a:lnTo>
                <a:lnTo>
                  <a:pt x="4388" y="1150"/>
                </a:lnTo>
                <a:lnTo>
                  <a:pt x="4403" y="1152"/>
                </a:lnTo>
                <a:lnTo>
                  <a:pt x="4416" y="1158"/>
                </a:lnTo>
                <a:lnTo>
                  <a:pt x="4422" y="1162"/>
                </a:lnTo>
                <a:lnTo>
                  <a:pt x="4428" y="1166"/>
                </a:lnTo>
                <a:lnTo>
                  <a:pt x="4440" y="1174"/>
                </a:lnTo>
                <a:lnTo>
                  <a:pt x="4450" y="1186"/>
                </a:lnTo>
                <a:lnTo>
                  <a:pt x="4459" y="1198"/>
                </a:lnTo>
                <a:lnTo>
                  <a:pt x="4467" y="1212"/>
                </a:lnTo>
                <a:lnTo>
                  <a:pt x="4471" y="1218"/>
                </a:lnTo>
                <a:lnTo>
                  <a:pt x="4474" y="1225"/>
                </a:lnTo>
                <a:lnTo>
                  <a:pt x="4477" y="1233"/>
                </a:lnTo>
                <a:lnTo>
                  <a:pt x="4480" y="1241"/>
                </a:lnTo>
                <a:lnTo>
                  <a:pt x="4485" y="1259"/>
                </a:lnTo>
                <a:lnTo>
                  <a:pt x="4490" y="1275"/>
                </a:lnTo>
                <a:lnTo>
                  <a:pt x="4493" y="1293"/>
                </a:lnTo>
                <a:lnTo>
                  <a:pt x="4495" y="1313"/>
                </a:lnTo>
                <a:lnTo>
                  <a:pt x="4497" y="1331"/>
                </a:lnTo>
                <a:lnTo>
                  <a:pt x="4497" y="1349"/>
                </a:lnTo>
                <a:lnTo>
                  <a:pt x="4435" y="1375"/>
                </a:lnTo>
                <a:lnTo>
                  <a:pt x="4435" y="1359"/>
                </a:lnTo>
                <a:lnTo>
                  <a:pt x="4433" y="1345"/>
                </a:lnTo>
                <a:lnTo>
                  <a:pt x="4432" y="1331"/>
                </a:lnTo>
                <a:lnTo>
                  <a:pt x="4430" y="1319"/>
                </a:lnTo>
                <a:lnTo>
                  <a:pt x="4427" y="1309"/>
                </a:lnTo>
                <a:lnTo>
                  <a:pt x="4426" y="1303"/>
                </a:lnTo>
                <a:lnTo>
                  <a:pt x="4424" y="1299"/>
                </a:lnTo>
                <a:lnTo>
                  <a:pt x="4421" y="1289"/>
                </a:lnTo>
                <a:lnTo>
                  <a:pt x="4417" y="1281"/>
                </a:lnTo>
                <a:lnTo>
                  <a:pt x="4413" y="1275"/>
                </a:lnTo>
                <a:lnTo>
                  <a:pt x="4408" y="1269"/>
                </a:lnTo>
                <a:lnTo>
                  <a:pt x="4403" y="1265"/>
                </a:lnTo>
                <a:lnTo>
                  <a:pt x="4397" y="1261"/>
                </a:lnTo>
                <a:lnTo>
                  <a:pt x="4391" y="1257"/>
                </a:lnTo>
                <a:lnTo>
                  <a:pt x="4385" y="1255"/>
                </a:lnTo>
                <a:lnTo>
                  <a:pt x="4378" y="1255"/>
                </a:lnTo>
                <a:lnTo>
                  <a:pt x="4370" y="1253"/>
                </a:lnTo>
                <a:lnTo>
                  <a:pt x="4358" y="1255"/>
                </a:lnTo>
                <a:lnTo>
                  <a:pt x="4346" y="1259"/>
                </a:lnTo>
                <a:lnTo>
                  <a:pt x="4341" y="1263"/>
                </a:lnTo>
                <a:lnTo>
                  <a:pt x="4336" y="1267"/>
                </a:lnTo>
                <a:lnTo>
                  <a:pt x="4331" y="1271"/>
                </a:lnTo>
                <a:lnTo>
                  <a:pt x="4327" y="1275"/>
                </a:lnTo>
                <a:lnTo>
                  <a:pt x="4323" y="1281"/>
                </a:lnTo>
                <a:lnTo>
                  <a:pt x="4319" y="1287"/>
                </a:lnTo>
                <a:lnTo>
                  <a:pt x="4316" y="1295"/>
                </a:lnTo>
                <a:lnTo>
                  <a:pt x="4313" y="1303"/>
                </a:lnTo>
                <a:lnTo>
                  <a:pt x="4311" y="1311"/>
                </a:lnTo>
                <a:lnTo>
                  <a:pt x="4310" y="1321"/>
                </a:lnTo>
                <a:lnTo>
                  <a:pt x="4309" y="1331"/>
                </a:lnTo>
                <a:lnTo>
                  <a:pt x="4308" y="1341"/>
                </a:lnTo>
                <a:lnTo>
                  <a:pt x="4309" y="1351"/>
                </a:lnTo>
                <a:lnTo>
                  <a:pt x="4309" y="1361"/>
                </a:lnTo>
                <a:lnTo>
                  <a:pt x="4310" y="1371"/>
                </a:lnTo>
                <a:lnTo>
                  <a:pt x="4311" y="1379"/>
                </a:lnTo>
                <a:lnTo>
                  <a:pt x="4313" y="1387"/>
                </a:lnTo>
                <a:lnTo>
                  <a:pt x="4315" y="1395"/>
                </a:lnTo>
                <a:lnTo>
                  <a:pt x="4318" y="1403"/>
                </a:lnTo>
                <a:lnTo>
                  <a:pt x="4321" y="1409"/>
                </a:lnTo>
                <a:lnTo>
                  <a:pt x="4325" y="1415"/>
                </a:lnTo>
                <a:lnTo>
                  <a:pt x="4328" y="1421"/>
                </a:lnTo>
                <a:lnTo>
                  <a:pt x="4337" y="1433"/>
                </a:lnTo>
                <a:lnTo>
                  <a:pt x="4347" y="1445"/>
                </a:lnTo>
                <a:lnTo>
                  <a:pt x="4359" y="1457"/>
                </a:lnTo>
                <a:lnTo>
                  <a:pt x="4421" y="1511"/>
                </a:lnTo>
                <a:lnTo>
                  <a:pt x="4431" y="1521"/>
                </a:lnTo>
                <a:lnTo>
                  <a:pt x="4442" y="1531"/>
                </a:lnTo>
                <a:lnTo>
                  <a:pt x="4451" y="1541"/>
                </a:lnTo>
                <a:lnTo>
                  <a:pt x="4459" y="1553"/>
                </a:lnTo>
                <a:lnTo>
                  <a:pt x="4467" y="1565"/>
                </a:lnTo>
                <a:lnTo>
                  <a:pt x="4474" y="1575"/>
                </a:lnTo>
                <a:lnTo>
                  <a:pt x="4480" y="1589"/>
                </a:lnTo>
                <a:lnTo>
                  <a:pt x="4486" y="1601"/>
                </a:lnTo>
                <a:lnTo>
                  <a:pt x="4491" y="1615"/>
                </a:lnTo>
                <a:lnTo>
                  <a:pt x="4495" y="1629"/>
                </a:lnTo>
                <a:lnTo>
                  <a:pt x="4499" y="1643"/>
                </a:lnTo>
                <a:lnTo>
                  <a:pt x="4502" y="1659"/>
                </a:lnTo>
                <a:lnTo>
                  <a:pt x="4504" y="1675"/>
                </a:lnTo>
                <a:lnTo>
                  <a:pt x="4505" y="1685"/>
                </a:lnTo>
                <a:lnTo>
                  <a:pt x="4505" y="1693"/>
                </a:lnTo>
                <a:lnTo>
                  <a:pt x="4506" y="1711"/>
                </a:lnTo>
                <a:lnTo>
                  <a:pt x="4507" y="1730"/>
                </a:lnTo>
                <a:lnTo>
                  <a:pt x="4506" y="1756"/>
                </a:lnTo>
                <a:lnTo>
                  <a:pt x="4504" y="1780"/>
                </a:lnTo>
                <a:lnTo>
                  <a:pt x="4503" y="1792"/>
                </a:lnTo>
                <a:lnTo>
                  <a:pt x="4501" y="1802"/>
                </a:lnTo>
                <a:lnTo>
                  <a:pt x="4499" y="1814"/>
                </a:lnTo>
                <a:lnTo>
                  <a:pt x="4497" y="1824"/>
                </a:lnTo>
                <a:lnTo>
                  <a:pt x="4494" y="1834"/>
                </a:lnTo>
                <a:lnTo>
                  <a:pt x="4492" y="1844"/>
                </a:lnTo>
                <a:lnTo>
                  <a:pt x="4485" y="1862"/>
                </a:lnTo>
                <a:lnTo>
                  <a:pt x="4482" y="1870"/>
                </a:lnTo>
                <a:lnTo>
                  <a:pt x="4478" y="1880"/>
                </a:lnTo>
                <a:lnTo>
                  <a:pt x="4470" y="1894"/>
                </a:lnTo>
                <a:lnTo>
                  <a:pt x="4465" y="1902"/>
                </a:lnTo>
                <a:lnTo>
                  <a:pt x="4460" y="1908"/>
                </a:lnTo>
                <a:lnTo>
                  <a:pt x="4455" y="1914"/>
                </a:lnTo>
                <a:lnTo>
                  <a:pt x="4450" y="1920"/>
                </a:lnTo>
                <a:lnTo>
                  <a:pt x="4439" y="1930"/>
                </a:lnTo>
                <a:lnTo>
                  <a:pt x="4427" y="1938"/>
                </a:lnTo>
                <a:lnTo>
                  <a:pt x="4414" y="1946"/>
                </a:lnTo>
                <a:lnTo>
                  <a:pt x="4400" y="1950"/>
                </a:lnTo>
                <a:lnTo>
                  <a:pt x="4393" y="1952"/>
                </a:lnTo>
                <a:lnTo>
                  <a:pt x="4386" y="1952"/>
                </a:lnTo>
                <a:lnTo>
                  <a:pt x="4370" y="19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7DE48D-705B-612C-7DFA-B303012D79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98587" y="5517232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F5A17A4-EA2D-AFFF-38DF-9699B925DC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98587" y="5805264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9327617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6924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Kuvalla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2">
            <a:extLst>
              <a:ext uri="{FF2B5EF4-FFF2-40B4-BE49-F238E27FC236}">
                <a16:creationId xmlns:a16="http://schemas.microsoft.com/office/drawing/2014/main" id="{4623C09F-3FCC-1888-1069-D8D811DF11F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" y="0"/>
            <a:ext cx="12192000" cy="6858000"/>
          </a:xfrm>
          <a:solidFill>
            <a:schemeClr val="tx2"/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en-GB" dirty="0" err="1"/>
              <a:t>Lisää</a:t>
            </a:r>
            <a:r>
              <a:rPr lang="en-GB" dirty="0"/>
              <a:t> </a:t>
            </a:r>
            <a:r>
              <a:rPr lang="en-GB" dirty="0" err="1"/>
              <a:t>kuva</a:t>
            </a:r>
            <a:endParaRPr lang="en-GB" dirty="0"/>
          </a:p>
          <a:p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9682F0-63E3-35DE-D7F2-6CCF56790E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1503213" y="6308625"/>
            <a:ext cx="280800" cy="21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D89CF62-110A-413B-A783-BEEE56312E66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99457" y="1628800"/>
            <a:ext cx="5328592" cy="1231106"/>
          </a:xfrm>
        </p:spPr>
        <p:txBody>
          <a:bodyPr anchor="t" anchorCtr="0">
            <a:sp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99456" y="4365104"/>
            <a:ext cx="5327837" cy="100811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</p:spTree>
    <p:extLst>
      <p:ext uri="{BB962C8B-B14F-4D97-AF65-F5344CB8AC3E}">
        <p14:creationId xmlns:p14="http://schemas.microsoft.com/office/powerpoint/2010/main" val="380186329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EB8C7F-959D-1EEC-7251-45F8A60E42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5BC727-BC31-A840-E8A4-358FAF23D3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1628775"/>
            <a:ext cx="5543996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A31291B-F0CF-B694-1D67-1103E645FEA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0015" y="1628775"/>
            <a:ext cx="5543997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F7D482-2263-43A0-B018-E20EDFEA3471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200358320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01AF6C-A8F2-8B1F-3829-5C11DD5BA4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90" y="1628800"/>
            <a:ext cx="5543994" cy="57633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E17F7F-1433-10E5-04D5-0E673FC18D3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7989" y="2204864"/>
            <a:ext cx="5543995" cy="3887962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668D6B2-8031-5CD8-60CC-0E7AF2B5E77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40015" y="1628800"/>
            <a:ext cx="5543997" cy="57633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91CFEB5-AAD0-D485-43A0-4E88546F685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40015" y="2204864"/>
            <a:ext cx="5543997" cy="3887962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CE647C8-E6F3-DA33-CDFC-03278D1BE7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D49CD0-FEE4-4D4F-9A19-FF0A482AC3E1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9B6C7C1-463A-8E2E-E815-A540C8B20C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CA7C553-4260-5B3C-9349-0A103FEFB0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9393B79B-E381-B636-A806-AF96793F7E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</p:spTree>
    <p:extLst>
      <p:ext uri="{BB962C8B-B14F-4D97-AF65-F5344CB8AC3E}">
        <p14:creationId xmlns:p14="http://schemas.microsoft.com/office/powerpoint/2010/main" val="250785416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väliotsiko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01AF6C-A8F2-8B1F-3829-5C11DD5BA4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90" y="1628800"/>
            <a:ext cx="11376022" cy="57633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E17F7F-1433-10E5-04D5-0E673FC18D3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7989" y="2204864"/>
            <a:ext cx="11376024" cy="3887962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CE647C8-E6F3-DA33-CDFC-03278D1BE7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FA9848-9B92-485F-8B5C-46C7075F6D99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9B6C7C1-463A-8E2E-E815-A540C8B20C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CA7C553-4260-5B3C-9349-0A103FEFB0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9393B79B-E381-B636-A806-AF96793F7E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</p:spTree>
    <p:extLst>
      <p:ext uri="{BB962C8B-B14F-4D97-AF65-F5344CB8AC3E}">
        <p14:creationId xmlns:p14="http://schemas.microsoft.com/office/powerpoint/2010/main" val="350619798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EB8C7F-959D-1EEC-7251-45F8A60E42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5BC727-BC31-A840-E8A4-358FAF23D3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1628775"/>
            <a:ext cx="5111750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AD7B4A-45FF-4412-8282-222EC554E635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B18BA6B-FD37-F710-9ED4-279814FCB04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808663" y="1628775"/>
            <a:ext cx="5975350" cy="446405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fi-FI" noProof="0"/>
              <a:t>Lisää kuva</a:t>
            </a:r>
          </a:p>
          <a:p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8891729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kuvall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EB8C7F-959D-1EEC-7251-45F8A60E42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637C8B-A7D4-44C0-9FFE-6A4E97288743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B18BA6B-FD37-F710-9ED4-279814FCB04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808663" y="1628775"/>
            <a:ext cx="5975350" cy="446405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fi-FI" noProof="0"/>
              <a:t>Lisää kuva</a:t>
            </a:r>
          </a:p>
          <a:p>
            <a:endParaRPr lang="fi-FI" noProof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B3349D6-A24C-7582-3528-FE72912682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90" y="1628800"/>
            <a:ext cx="5111946" cy="57633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478EB7E6-96D9-B941-05A5-DBD7E4BE8F9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7989" y="2204864"/>
            <a:ext cx="5111947" cy="3887962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14012154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kuvall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5BC727-BC31-A840-E8A4-358FAF23D3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2060575"/>
            <a:ext cx="5111750" cy="40322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FE57AB-E886-4A48-9C36-9308C9C67E1B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B18BA6B-FD37-F710-9ED4-279814FCB04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808663" y="333375"/>
            <a:ext cx="5975350" cy="575945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3673738-0205-57FC-6748-D7BD974C60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4800"/>
            <a:ext cx="5111948" cy="1436220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</p:spTree>
    <p:extLst>
      <p:ext uri="{BB962C8B-B14F-4D97-AF65-F5344CB8AC3E}">
        <p14:creationId xmlns:p14="http://schemas.microsoft.com/office/powerpoint/2010/main" val="1410681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kuvalla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B18BA6B-FD37-F710-9ED4-279814FCB04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7988" y="333375"/>
            <a:ext cx="5975350" cy="575945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EB8C7F-959D-1EEC-7251-45F8A60E4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7501" y="333375"/>
            <a:ext cx="5111948" cy="1439441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5BC727-BC31-A840-E8A4-358FAF23D3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667501" y="2060575"/>
            <a:ext cx="5111750" cy="40322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4830AB-F7CE-4F04-90CA-EC7AF25FE803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3077345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sältö kuvalla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B18BA6B-FD37-F710-9ED4-279814FCB04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808662" y="0"/>
            <a:ext cx="6383337" cy="68580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EB8C7F-959D-1EEC-7251-45F8A60E4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5"/>
            <a:ext cx="5111948" cy="1439441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5BC727-BC31-A840-E8A4-358FAF23D3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2060575"/>
            <a:ext cx="5111750" cy="40322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19B41F-67DE-4CBC-AE10-6D97B2460B37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54C5033-1457-FB5E-5116-A846EFC9618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1503213" y="6308625"/>
            <a:ext cx="280800" cy="21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5971135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kuvalla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B18BA6B-FD37-F710-9ED4-279814FCB04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383338" cy="6857999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EB8C7F-959D-1EEC-7251-45F8A60E4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7501" y="333375"/>
            <a:ext cx="5111948" cy="1439441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5BC727-BC31-A840-E8A4-358FAF23D3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667501" y="2060575"/>
            <a:ext cx="5111750" cy="40322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1D0E22-7B5C-437F-830E-97A1A91F7B50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688916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oitusdia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89437-0A9F-6907-E834-ECE3DB6251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1700" cy="2304529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BA9B7E5-3139-76AA-C2C3-60620F1D9B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4509120"/>
            <a:ext cx="9791700" cy="864096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98F4D-E89B-8263-EB37-8F8B305D4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AAC1A0D-775C-4CFD-A9F1-4E0C15D15414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B5C31-D7B7-0A4A-9FF1-A8910751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9B765-A518-625F-2D82-59131FF13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CD5646D-347F-0693-85B7-82EEFAEE1F7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07368" y="333375"/>
            <a:ext cx="2325003" cy="504000"/>
          </a:xfrm>
          <a:custGeom>
            <a:avLst/>
            <a:gdLst>
              <a:gd name="T0" fmla="*/ 11 w 4507"/>
              <a:gd name="T1" fmla="*/ 18 h 1954"/>
              <a:gd name="T2" fmla="*/ 659 w 4507"/>
              <a:gd name="T3" fmla="*/ 297 h 1954"/>
              <a:gd name="T4" fmla="*/ 666 w 4507"/>
              <a:gd name="T5" fmla="*/ 916 h 1954"/>
              <a:gd name="T6" fmla="*/ 347 w 4507"/>
              <a:gd name="T7" fmla="*/ 880 h 1954"/>
              <a:gd name="T8" fmla="*/ 471 w 4507"/>
              <a:gd name="T9" fmla="*/ 675 h 1954"/>
              <a:gd name="T10" fmla="*/ 375 w 4507"/>
              <a:gd name="T11" fmla="*/ 401 h 1954"/>
              <a:gd name="T12" fmla="*/ 1722 w 4507"/>
              <a:gd name="T13" fmla="*/ 26 h 1954"/>
              <a:gd name="T14" fmla="*/ 1804 w 4507"/>
              <a:gd name="T15" fmla="*/ 309 h 1954"/>
              <a:gd name="T16" fmla="*/ 1741 w 4507"/>
              <a:gd name="T17" fmla="*/ 269 h 1954"/>
              <a:gd name="T18" fmla="*/ 1854 w 4507"/>
              <a:gd name="T19" fmla="*/ 788 h 1954"/>
              <a:gd name="T20" fmla="*/ 2410 w 4507"/>
              <a:gd name="T21" fmla="*/ 18 h 1954"/>
              <a:gd name="T22" fmla="*/ 3053 w 4507"/>
              <a:gd name="T23" fmla="*/ 553 h 1954"/>
              <a:gd name="T24" fmla="*/ 3419 w 4507"/>
              <a:gd name="T25" fmla="*/ 539 h 1954"/>
              <a:gd name="T26" fmla="*/ 3595 w 4507"/>
              <a:gd name="T27" fmla="*/ 659 h 1954"/>
              <a:gd name="T28" fmla="*/ 3699 w 4507"/>
              <a:gd name="T29" fmla="*/ 697 h 1954"/>
              <a:gd name="T30" fmla="*/ 3842 w 4507"/>
              <a:gd name="T31" fmla="*/ 595 h 1954"/>
              <a:gd name="T32" fmla="*/ 3700 w 4507"/>
              <a:gd name="T33" fmla="*/ 806 h 1954"/>
              <a:gd name="T34" fmla="*/ 3943 w 4507"/>
              <a:gd name="T35" fmla="*/ 725 h 1954"/>
              <a:gd name="T36" fmla="*/ 4018 w 4507"/>
              <a:gd name="T37" fmla="*/ 689 h 1954"/>
              <a:gd name="T38" fmla="*/ 4124 w 4507"/>
              <a:gd name="T39" fmla="*/ 581 h 1954"/>
              <a:gd name="T40" fmla="*/ 3931 w 4507"/>
              <a:gd name="T41" fmla="*/ 269 h 1954"/>
              <a:gd name="T42" fmla="*/ 4017 w 4507"/>
              <a:gd name="T43" fmla="*/ 6 h 1954"/>
              <a:gd name="T44" fmla="*/ 4117 w 4507"/>
              <a:gd name="T45" fmla="*/ 228 h 1954"/>
              <a:gd name="T46" fmla="*/ 4005 w 4507"/>
              <a:gd name="T47" fmla="*/ 134 h 1954"/>
              <a:gd name="T48" fmla="*/ 4123 w 4507"/>
              <a:gd name="T49" fmla="*/ 383 h 1954"/>
              <a:gd name="T50" fmla="*/ 4174 w 4507"/>
              <a:gd name="T51" fmla="*/ 697 h 1954"/>
              <a:gd name="T52" fmla="*/ 1767 w 4507"/>
              <a:gd name="T53" fmla="*/ 1273 h 1954"/>
              <a:gd name="T54" fmla="*/ 2197 w 4507"/>
              <a:gd name="T55" fmla="*/ 1926 h 1954"/>
              <a:gd name="T56" fmla="*/ 2114 w 4507"/>
              <a:gd name="T57" fmla="*/ 1551 h 1954"/>
              <a:gd name="T58" fmla="*/ 2226 w 4507"/>
              <a:gd name="T59" fmla="*/ 1156 h 1954"/>
              <a:gd name="T60" fmla="*/ 2385 w 4507"/>
              <a:gd name="T61" fmla="*/ 1313 h 1954"/>
              <a:gd name="T62" fmla="*/ 2373 w 4507"/>
              <a:gd name="T63" fmla="*/ 1834 h 1954"/>
              <a:gd name="T64" fmla="*/ 2227 w 4507"/>
              <a:gd name="T65" fmla="*/ 1271 h 1954"/>
              <a:gd name="T66" fmla="*/ 2192 w 4507"/>
              <a:gd name="T67" fmla="*/ 1738 h 1954"/>
              <a:gd name="T68" fmla="*/ 2323 w 4507"/>
              <a:gd name="T69" fmla="*/ 1760 h 1954"/>
              <a:gd name="T70" fmla="*/ 2273 w 4507"/>
              <a:gd name="T71" fmla="*/ 1259 h 1954"/>
              <a:gd name="T72" fmla="*/ 3321 w 4507"/>
              <a:gd name="T73" fmla="*/ 1954 h 1954"/>
              <a:gd name="T74" fmla="*/ 3265 w 4507"/>
              <a:gd name="T75" fmla="*/ 1693 h 1954"/>
              <a:gd name="T76" fmla="*/ 3380 w 4507"/>
              <a:gd name="T77" fmla="*/ 1832 h 1954"/>
              <a:gd name="T78" fmla="*/ 3369 w 4507"/>
              <a:gd name="T79" fmla="*/ 1625 h 1954"/>
              <a:gd name="T80" fmla="*/ 3218 w 4507"/>
              <a:gd name="T81" fmla="*/ 1279 h 1954"/>
              <a:gd name="T82" fmla="*/ 3426 w 4507"/>
              <a:gd name="T83" fmla="*/ 1198 h 1954"/>
              <a:gd name="T84" fmla="*/ 3370 w 4507"/>
              <a:gd name="T85" fmla="*/ 1265 h 1954"/>
              <a:gd name="T86" fmla="*/ 3279 w 4507"/>
              <a:gd name="T87" fmla="*/ 1379 h 1954"/>
              <a:gd name="T88" fmla="*/ 3471 w 4507"/>
              <a:gd name="T89" fmla="*/ 1675 h 1954"/>
              <a:gd name="T90" fmla="*/ 3381 w 4507"/>
              <a:gd name="T91" fmla="*/ 1946 h 1954"/>
              <a:gd name="T92" fmla="*/ 3620 w 4507"/>
              <a:gd name="T93" fmla="*/ 1772 h 1954"/>
              <a:gd name="T94" fmla="*/ 3736 w 4507"/>
              <a:gd name="T95" fmla="*/ 1772 h 1954"/>
              <a:gd name="T96" fmla="*/ 3756 w 4507"/>
              <a:gd name="T97" fmla="*/ 1914 h 1954"/>
              <a:gd name="T98" fmla="*/ 3915 w 4507"/>
              <a:gd name="T99" fmla="*/ 1828 h 1954"/>
              <a:gd name="T100" fmla="*/ 4005 w 4507"/>
              <a:gd name="T101" fmla="*/ 1838 h 1954"/>
              <a:gd name="T102" fmla="*/ 4160 w 4507"/>
              <a:gd name="T103" fmla="*/ 1697 h 1954"/>
              <a:gd name="T104" fmla="*/ 4039 w 4507"/>
              <a:gd name="T105" fmla="*/ 1954 h 1954"/>
              <a:gd name="T106" fmla="*/ 4268 w 4507"/>
              <a:gd name="T107" fmla="*/ 1888 h 1954"/>
              <a:gd name="T108" fmla="*/ 4324 w 4507"/>
              <a:gd name="T109" fmla="*/ 1824 h 1954"/>
              <a:gd name="T110" fmla="*/ 4442 w 4507"/>
              <a:gd name="T111" fmla="*/ 1752 h 1954"/>
              <a:gd name="T112" fmla="*/ 4255 w 4507"/>
              <a:gd name="T113" fmla="*/ 1447 h 1954"/>
              <a:gd name="T114" fmla="*/ 4311 w 4507"/>
              <a:gd name="T115" fmla="*/ 1166 h 1954"/>
              <a:gd name="T116" fmla="*/ 4497 w 4507"/>
              <a:gd name="T117" fmla="*/ 1331 h 1954"/>
              <a:gd name="T118" fmla="*/ 4336 w 4507"/>
              <a:gd name="T119" fmla="*/ 1267 h 1954"/>
              <a:gd name="T120" fmla="*/ 4359 w 4507"/>
              <a:gd name="T121" fmla="*/ 1457 h 1954"/>
              <a:gd name="T122" fmla="*/ 4499 w 4507"/>
              <a:gd name="T123" fmla="*/ 1814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507" h="1954">
                <a:moveTo>
                  <a:pt x="4307" y="327"/>
                </a:moveTo>
                <a:lnTo>
                  <a:pt x="4377" y="327"/>
                </a:lnTo>
                <a:lnTo>
                  <a:pt x="4377" y="463"/>
                </a:lnTo>
                <a:lnTo>
                  <a:pt x="4307" y="463"/>
                </a:lnTo>
                <a:lnTo>
                  <a:pt x="4307" y="327"/>
                </a:lnTo>
                <a:close/>
                <a:moveTo>
                  <a:pt x="1248" y="18"/>
                </a:moveTo>
                <a:lnTo>
                  <a:pt x="1248" y="473"/>
                </a:lnTo>
                <a:lnTo>
                  <a:pt x="1051" y="473"/>
                </a:lnTo>
                <a:lnTo>
                  <a:pt x="1051" y="1936"/>
                </a:lnTo>
                <a:lnTo>
                  <a:pt x="821" y="1936"/>
                </a:lnTo>
                <a:lnTo>
                  <a:pt x="821" y="473"/>
                </a:lnTo>
                <a:lnTo>
                  <a:pt x="655" y="18"/>
                </a:lnTo>
                <a:lnTo>
                  <a:pt x="1248" y="18"/>
                </a:lnTo>
                <a:close/>
                <a:moveTo>
                  <a:pt x="0" y="1481"/>
                </a:moveTo>
                <a:lnTo>
                  <a:pt x="230" y="1481"/>
                </a:lnTo>
                <a:lnTo>
                  <a:pt x="230" y="1936"/>
                </a:lnTo>
                <a:lnTo>
                  <a:pt x="0" y="1936"/>
                </a:lnTo>
                <a:lnTo>
                  <a:pt x="0" y="1481"/>
                </a:lnTo>
                <a:close/>
                <a:moveTo>
                  <a:pt x="487" y="1186"/>
                </a:moveTo>
                <a:lnTo>
                  <a:pt x="752" y="1936"/>
                </a:lnTo>
                <a:lnTo>
                  <a:pt x="495" y="1936"/>
                </a:lnTo>
                <a:lnTo>
                  <a:pt x="11" y="559"/>
                </a:lnTo>
                <a:lnTo>
                  <a:pt x="11" y="18"/>
                </a:lnTo>
                <a:lnTo>
                  <a:pt x="309" y="18"/>
                </a:lnTo>
                <a:lnTo>
                  <a:pt x="335" y="18"/>
                </a:lnTo>
                <a:lnTo>
                  <a:pt x="359" y="20"/>
                </a:lnTo>
                <a:lnTo>
                  <a:pt x="382" y="24"/>
                </a:lnTo>
                <a:lnTo>
                  <a:pt x="404" y="30"/>
                </a:lnTo>
                <a:lnTo>
                  <a:pt x="426" y="36"/>
                </a:lnTo>
                <a:lnTo>
                  <a:pt x="447" y="44"/>
                </a:lnTo>
                <a:lnTo>
                  <a:pt x="467" y="52"/>
                </a:lnTo>
                <a:lnTo>
                  <a:pt x="476" y="58"/>
                </a:lnTo>
                <a:lnTo>
                  <a:pt x="486" y="62"/>
                </a:lnTo>
                <a:lnTo>
                  <a:pt x="504" y="74"/>
                </a:lnTo>
                <a:lnTo>
                  <a:pt x="521" y="88"/>
                </a:lnTo>
                <a:lnTo>
                  <a:pt x="538" y="102"/>
                </a:lnTo>
                <a:lnTo>
                  <a:pt x="553" y="116"/>
                </a:lnTo>
                <a:lnTo>
                  <a:pt x="569" y="132"/>
                </a:lnTo>
                <a:lnTo>
                  <a:pt x="583" y="150"/>
                </a:lnTo>
                <a:lnTo>
                  <a:pt x="596" y="168"/>
                </a:lnTo>
                <a:lnTo>
                  <a:pt x="609" y="188"/>
                </a:lnTo>
                <a:lnTo>
                  <a:pt x="620" y="208"/>
                </a:lnTo>
                <a:lnTo>
                  <a:pt x="631" y="230"/>
                </a:lnTo>
                <a:lnTo>
                  <a:pt x="641" y="251"/>
                </a:lnTo>
                <a:lnTo>
                  <a:pt x="650" y="273"/>
                </a:lnTo>
                <a:lnTo>
                  <a:pt x="659" y="297"/>
                </a:lnTo>
                <a:lnTo>
                  <a:pt x="666" y="323"/>
                </a:lnTo>
                <a:lnTo>
                  <a:pt x="673" y="349"/>
                </a:lnTo>
                <a:lnTo>
                  <a:pt x="680" y="375"/>
                </a:lnTo>
                <a:lnTo>
                  <a:pt x="685" y="401"/>
                </a:lnTo>
                <a:lnTo>
                  <a:pt x="690" y="429"/>
                </a:lnTo>
                <a:lnTo>
                  <a:pt x="694" y="459"/>
                </a:lnTo>
                <a:lnTo>
                  <a:pt x="697" y="487"/>
                </a:lnTo>
                <a:lnTo>
                  <a:pt x="699" y="517"/>
                </a:lnTo>
                <a:lnTo>
                  <a:pt x="701" y="547"/>
                </a:lnTo>
                <a:lnTo>
                  <a:pt x="702" y="579"/>
                </a:lnTo>
                <a:lnTo>
                  <a:pt x="703" y="611"/>
                </a:lnTo>
                <a:lnTo>
                  <a:pt x="702" y="661"/>
                </a:lnTo>
                <a:lnTo>
                  <a:pt x="701" y="687"/>
                </a:lnTo>
                <a:lnTo>
                  <a:pt x="699" y="711"/>
                </a:lnTo>
                <a:lnTo>
                  <a:pt x="697" y="735"/>
                </a:lnTo>
                <a:lnTo>
                  <a:pt x="695" y="758"/>
                </a:lnTo>
                <a:lnTo>
                  <a:pt x="692" y="782"/>
                </a:lnTo>
                <a:lnTo>
                  <a:pt x="689" y="806"/>
                </a:lnTo>
                <a:lnTo>
                  <a:pt x="685" y="830"/>
                </a:lnTo>
                <a:lnTo>
                  <a:pt x="681" y="852"/>
                </a:lnTo>
                <a:lnTo>
                  <a:pt x="677" y="874"/>
                </a:lnTo>
                <a:lnTo>
                  <a:pt x="672" y="896"/>
                </a:lnTo>
                <a:lnTo>
                  <a:pt x="666" y="916"/>
                </a:lnTo>
                <a:lnTo>
                  <a:pt x="661" y="938"/>
                </a:lnTo>
                <a:lnTo>
                  <a:pt x="655" y="958"/>
                </a:lnTo>
                <a:lnTo>
                  <a:pt x="648" y="976"/>
                </a:lnTo>
                <a:lnTo>
                  <a:pt x="641" y="996"/>
                </a:lnTo>
                <a:lnTo>
                  <a:pt x="634" y="1014"/>
                </a:lnTo>
                <a:lnTo>
                  <a:pt x="626" y="1030"/>
                </a:lnTo>
                <a:lnTo>
                  <a:pt x="618" y="1048"/>
                </a:lnTo>
                <a:lnTo>
                  <a:pt x="609" y="1064"/>
                </a:lnTo>
                <a:lnTo>
                  <a:pt x="600" y="1080"/>
                </a:lnTo>
                <a:lnTo>
                  <a:pt x="591" y="1094"/>
                </a:lnTo>
                <a:lnTo>
                  <a:pt x="581" y="1108"/>
                </a:lnTo>
                <a:lnTo>
                  <a:pt x="571" y="1120"/>
                </a:lnTo>
                <a:lnTo>
                  <a:pt x="559" y="1132"/>
                </a:lnTo>
                <a:lnTo>
                  <a:pt x="548" y="1144"/>
                </a:lnTo>
                <a:lnTo>
                  <a:pt x="537" y="1154"/>
                </a:lnTo>
                <a:lnTo>
                  <a:pt x="525" y="1164"/>
                </a:lnTo>
                <a:lnTo>
                  <a:pt x="513" y="1172"/>
                </a:lnTo>
                <a:lnTo>
                  <a:pt x="500" y="1180"/>
                </a:lnTo>
                <a:lnTo>
                  <a:pt x="487" y="1186"/>
                </a:lnTo>
                <a:close/>
                <a:moveTo>
                  <a:pt x="239" y="391"/>
                </a:moveTo>
                <a:lnTo>
                  <a:pt x="239" y="880"/>
                </a:lnTo>
                <a:lnTo>
                  <a:pt x="337" y="880"/>
                </a:lnTo>
                <a:lnTo>
                  <a:pt x="347" y="880"/>
                </a:lnTo>
                <a:lnTo>
                  <a:pt x="357" y="880"/>
                </a:lnTo>
                <a:lnTo>
                  <a:pt x="367" y="878"/>
                </a:lnTo>
                <a:lnTo>
                  <a:pt x="376" y="874"/>
                </a:lnTo>
                <a:lnTo>
                  <a:pt x="384" y="872"/>
                </a:lnTo>
                <a:lnTo>
                  <a:pt x="392" y="868"/>
                </a:lnTo>
                <a:lnTo>
                  <a:pt x="400" y="862"/>
                </a:lnTo>
                <a:lnTo>
                  <a:pt x="407" y="858"/>
                </a:lnTo>
                <a:lnTo>
                  <a:pt x="413" y="852"/>
                </a:lnTo>
                <a:lnTo>
                  <a:pt x="419" y="844"/>
                </a:lnTo>
                <a:lnTo>
                  <a:pt x="425" y="838"/>
                </a:lnTo>
                <a:lnTo>
                  <a:pt x="430" y="830"/>
                </a:lnTo>
                <a:lnTo>
                  <a:pt x="435" y="822"/>
                </a:lnTo>
                <a:lnTo>
                  <a:pt x="440" y="814"/>
                </a:lnTo>
                <a:lnTo>
                  <a:pt x="444" y="806"/>
                </a:lnTo>
                <a:lnTo>
                  <a:pt x="448" y="796"/>
                </a:lnTo>
                <a:lnTo>
                  <a:pt x="451" y="788"/>
                </a:lnTo>
                <a:lnTo>
                  <a:pt x="454" y="778"/>
                </a:lnTo>
                <a:lnTo>
                  <a:pt x="457" y="768"/>
                </a:lnTo>
                <a:lnTo>
                  <a:pt x="460" y="758"/>
                </a:lnTo>
                <a:lnTo>
                  <a:pt x="464" y="738"/>
                </a:lnTo>
                <a:lnTo>
                  <a:pt x="467" y="717"/>
                </a:lnTo>
                <a:lnTo>
                  <a:pt x="470" y="697"/>
                </a:lnTo>
                <a:lnTo>
                  <a:pt x="471" y="675"/>
                </a:lnTo>
                <a:lnTo>
                  <a:pt x="472" y="655"/>
                </a:lnTo>
                <a:lnTo>
                  <a:pt x="472" y="635"/>
                </a:lnTo>
                <a:lnTo>
                  <a:pt x="472" y="615"/>
                </a:lnTo>
                <a:lnTo>
                  <a:pt x="470" y="593"/>
                </a:lnTo>
                <a:lnTo>
                  <a:pt x="468" y="573"/>
                </a:lnTo>
                <a:lnTo>
                  <a:pt x="464" y="551"/>
                </a:lnTo>
                <a:lnTo>
                  <a:pt x="462" y="541"/>
                </a:lnTo>
                <a:lnTo>
                  <a:pt x="459" y="531"/>
                </a:lnTo>
                <a:lnTo>
                  <a:pt x="457" y="521"/>
                </a:lnTo>
                <a:lnTo>
                  <a:pt x="454" y="511"/>
                </a:lnTo>
                <a:lnTo>
                  <a:pt x="447" y="491"/>
                </a:lnTo>
                <a:lnTo>
                  <a:pt x="443" y="483"/>
                </a:lnTo>
                <a:lnTo>
                  <a:pt x="439" y="473"/>
                </a:lnTo>
                <a:lnTo>
                  <a:pt x="435" y="465"/>
                </a:lnTo>
                <a:lnTo>
                  <a:pt x="430" y="457"/>
                </a:lnTo>
                <a:lnTo>
                  <a:pt x="420" y="441"/>
                </a:lnTo>
                <a:lnTo>
                  <a:pt x="414" y="433"/>
                </a:lnTo>
                <a:lnTo>
                  <a:pt x="408" y="427"/>
                </a:lnTo>
                <a:lnTo>
                  <a:pt x="402" y="421"/>
                </a:lnTo>
                <a:lnTo>
                  <a:pt x="396" y="415"/>
                </a:lnTo>
                <a:lnTo>
                  <a:pt x="389" y="409"/>
                </a:lnTo>
                <a:lnTo>
                  <a:pt x="382" y="405"/>
                </a:lnTo>
                <a:lnTo>
                  <a:pt x="375" y="401"/>
                </a:lnTo>
                <a:lnTo>
                  <a:pt x="367" y="397"/>
                </a:lnTo>
                <a:lnTo>
                  <a:pt x="359" y="395"/>
                </a:lnTo>
                <a:lnTo>
                  <a:pt x="351" y="393"/>
                </a:lnTo>
                <a:lnTo>
                  <a:pt x="333" y="391"/>
                </a:lnTo>
                <a:lnTo>
                  <a:pt x="239" y="391"/>
                </a:lnTo>
                <a:close/>
                <a:moveTo>
                  <a:pt x="1780" y="395"/>
                </a:moveTo>
                <a:lnTo>
                  <a:pt x="1776" y="403"/>
                </a:lnTo>
                <a:lnTo>
                  <a:pt x="1772" y="411"/>
                </a:lnTo>
                <a:lnTo>
                  <a:pt x="1763" y="423"/>
                </a:lnTo>
                <a:lnTo>
                  <a:pt x="1754" y="433"/>
                </a:lnTo>
                <a:lnTo>
                  <a:pt x="1743" y="443"/>
                </a:lnTo>
                <a:lnTo>
                  <a:pt x="1814" y="788"/>
                </a:lnTo>
                <a:lnTo>
                  <a:pt x="1742" y="788"/>
                </a:lnTo>
                <a:lnTo>
                  <a:pt x="1683" y="465"/>
                </a:lnTo>
                <a:lnTo>
                  <a:pt x="1607" y="465"/>
                </a:lnTo>
                <a:lnTo>
                  <a:pt x="1607" y="788"/>
                </a:lnTo>
                <a:lnTo>
                  <a:pt x="1543" y="788"/>
                </a:lnTo>
                <a:lnTo>
                  <a:pt x="1543" y="18"/>
                </a:lnTo>
                <a:lnTo>
                  <a:pt x="1681" y="18"/>
                </a:lnTo>
                <a:lnTo>
                  <a:pt x="1696" y="18"/>
                </a:lnTo>
                <a:lnTo>
                  <a:pt x="1703" y="20"/>
                </a:lnTo>
                <a:lnTo>
                  <a:pt x="1710" y="22"/>
                </a:lnTo>
                <a:lnTo>
                  <a:pt x="1722" y="26"/>
                </a:lnTo>
                <a:lnTo>
                  <a:pt x="1734" y="32"/>
                </a:lnTo>
                <a:lnTo>
                  <a:pt x="1745" y="40"/>
                </a:lnTo>
                <a:lnTo>
                  <a:pt x="1755" y="50"/>
                </a:lnTo>
                <a:lnTo>
                  <a:pt x="1765" y="62"/>
                </a:lnTo>
                <a:lnTo>
                  <a:pt x="1769" y="68"/>
                </a:lnTo>
                <a:lnTo>
                  <a:pt x="1773" y="76"/>
                </a:lnTo>
                <a:lnTo>
                  <a:pt x="1781" y="92"/>
                </a:lnTo>
                <a:lnTo>
                  <a:pt x="1788" y="108"/>
                </a:lnTo>
                <a:lnTo>
                  <a:pt x="1791" y="118"/>
                </a:lnTo>
                <a:lnTo>
                  <a:pt x="1794" y="126"/>
                </a:lnTo>
                <a:lnTo>
                  <a:pt x="1799" y="146"/>
                </a:lnTo>
                <a:lnTo>
                  <a:pt x="1803" y="168"/>
                </a:lnTo>
                <a:lnTo>
                  <a:pt x="1805" y="178"/>
                </a:lnTo>
                <a:lnTo>
                  <a:pt x="1806" y="190"/>
                </a:lnTo>
                <a:lnTo>
                  <a:pt x="1807" y="200"/>
                </a:lnTo>
                <a:lnTo>
                  <a:pt x="1808" y="212"/>
                </a:lnTo>
                <a:lnTo>
                  <a:pt x="1808" y="224"/>
                </a:lnTo>
                <a:lnTo>
                  <a:pt x="1808" y="236"/>
                </a:lnTo>
                <a:lnTo>
                  <a:pt x="1808" y="263"/>
                </a:lnTo>
                <a:lnTo>
                  <a:pt x="1807" y="275"/>
                </a:lnTo>
                <a:lnTo>
                  <a:pt x="1806" y="287"/>
                </a:lnTo>
                <a:lnTo>
                  <a:pt x="1805" y="299"/>
                </a:lnTo>
                <a:lnTo>
                  <a:pt x="1804" y="309"/>
                </a:lnTo>
                <a:lnTo>
                  <a:pt x="1801" y="331"/>
                </a:lnTo>
                <a:lnTo>
                  <a:pt x="1797" y="349"/>
                </a:lnTo>
                <a:lnTo>
                  <a:pt x="1792" y="367"/>
                </a:lnTo>
                <a:lnTo>
                  <a:pt x="1786" y="381"/>
                </a:lnTo>
                <a:lnTo>
                  <a:pt x="1780" y="395"/>
                </a:lnTo>
                <a:close/>
                <a:moveTo>
                  <a:pt x="1678" y="122"/>
                </a:moveTo>
                <a:lnTo>
                  <a:pt x="1607" y="122"/>
                </a:lnTo>
                <a:lnTo>
                  <a:pt x="1607" y="365"/>
                </a:lnTo>
                <a:lnTo>
                  <a:pt x="1678" y="365"/>
                </a:lnTo>
                <a:lnTo>
                  <a:pt x="1686" y="363"/>
                </a:lnTo>
                <a:lnTo>
                  <a:pt x="1694" y="361"/>
                </a:lnTo>
                <a:lnTo>
                  <a:pt x="1700" y="359"/>
                </a:lnTo>
                <a:lnTo>
                  <a:pt x="1707" y="355"/>
                </a:lnTo>
                <a:lnTo>
                  <a:pt x="1712" y="351"/>
                </a:lnTo>
                <a:lnTo>
                  <a:pt x="1717" y="345"/>
                </a:lnTo>
                <a:lnTo>
                  <a:pt x="1722" y="339"/>
                </a:lnTo>
                <a:lnTo>
                  <a:pt x="1726" y="331"/>
                </a:lnTo>
                <a:lnTo>
                  <a:pt x="1730" y="323"/>
                </a:lnTo>
                <a:lnTo>
                  <a:pt x="1733" y="313"/>
                </a:lnTo>
                <a:lnTo>
                  <a:pt x="1736" y="303"/>
                </a:lnTo>
                <a:lnTo>
                  <a:pt x="1738" y="293"/>
                </a:lnTo>
                <a:lnTo>
                  <a:pt x="1740" y="281"/>
                </a:lnTo>
                <a:lnTo>
                  <a:pt x="1741" y="269"/>
                </a:lnTo>
                <a:lnTo>
                  <a:pt x="1742" y="257"/>
                </a:lnTo>
                <a:lnTo>
                  <a:pt x="1742" y="244"/>
                </a:lnTo>
                <a:lnTo>
                  <a:pt x="1742" y="230"/>
                </a:lnTo>
                <a:lnTo>
                  <a:pt x="1742" y="218"/>
                </a:lnTo>
                <a:lnTo>
                  <a:pt x="1740" y="206"/>
                </a:lnTo>
                <a:lnTo>
                  <a:pt x="1739" y="194"/>
                </a:lnTo>
                <a:lnTo>
                  <a:pt x="1737" y="184"/>
                </a:lnTo>
                <a:lnTo>
                  <a:pt x="1734" y="174"/>
                </a:lnTo>
                <a:lnTo>
                  <a:pt x="1731" y="164"/>
                </a:lnTo>
                <a:lnTo>
                  <a:pt x="1728" y="156"/>
                </a:lnTo>
                <a:lnTo>
                  <a:pt x="1723" y="148"/>
                </a:lnTo>
                <a:lnTo>
                  <a:pt x="1719" y="142"/>
                </a:lnTo>
                <a:lnTo>
                  <a:pt x="1713" y="136"/>
                </a:lnTo>
                <a:lnTo>
                  <a:pt x="1708" y="132"/>
                </a:lnTo>
                <a:lnTo>
                  <a:pt x="1701" y="128"/>
                </a:lnTo>
                <a:lnTo>
                  <a:pt x="1694" y="124"/>
                </a:lnTo>
                <a:lnTo>
                  <a:pt x="1686" y="122"/>
                </a:lnTo>
                <a:lnTo>
                  <a:pt x="1678" y="122"/>
                </a:lnTo>
                <a:close/>
                <a:moveTo>
                  <a:pt x="2090" y="788"/>
                </a:moveTo>
                <a:lnTo>
                  <a:pt x="2069" y="635"/>
                </a:lnTo>
                <a:lnTo>
                  <a:pt x="1942" y="635"/>
                </a:lnTo>
                <a:lnTo>
                  <a:pt x="1921" y="788"/>
                </a:lnTo>
                <a:lnTo>
                  <a:pt x="1854" y="788"/>
                </a:lnTo>
                <a:lnTo>
                  <a:pt x="1975" y="18"/>
                </a:lnTo>
                <a:lnTo>
                  <a:pt x="2037" y="18"/>
                </a:lnTo>
                <a:lnTo>
                  <a:pt x="2160" y="788"/>
                </a:lnTo>
                <a:lnTo>
                  <a:pt x="2090" y="788"/>
                </a:lnTo>
                <a:close/>
                <a:moveTo>
                  <a:pt x="2026" y="323"/>
                </a:moveTo>
                <a:lnTo>
                  <a:pt x="2015" y="250"/>
                </a:lnTo>
                <a:lnTo>
                  <a:pt x="2010" y="210"/>
                </a:lnTo>
                <a:lnTo>
                  <a:pt x="2006" y="170"/>
                </a:lnTo>
                <a:lnTo>
                  <a:pt x="2001" y="210"/>
                </a:lnTo>
                <a:lnTo>
                  <a:pt x="1996" y="250"/>
                </a:lnTo>
                <a:lnTo>
                  <a:pt x="1986" y="325"/>
                </a:lnTo>
                <a:lnTo>
                  <a:pt x="1957" y="529"/>
                </a:lnTo>
                <a:lnTo>
                  <a:pt x="2053" y="529"/>
                </a:lnTo>
                <a:lnTo>
                  <a:pt x="2026" y="323"/>
                </a:lnTo>
                <a:close/>
                <a:moveTo>
                  <a:pt x="2419" y="788"/>
                </a:moveTo>
                <a:lnTo>
                  <a:pt x="2323" y="431"/>
                </a:lnTo>
                <a:lnTo>
                  <a:pt x="2285" y="527"/>
                </a:lnTo>
                <a:lnTo>
                  <a:pt x="2285" y="788"/>
                </a:lnTo>
                <a:lnTo>
                  <a:pt x="2220" y="788"/>
                </a:lnTo>
                <a:lnTo>
                  <a:pt x="2220" y="18"/>
                </a:lnTo>
                <a:lnTo>
                  <a:pt x="2285" y="18"/>
                </a:lnTo>
                <a:lnTo>
                  <a:pt x="2285" y="347"/>
                </a:lnTo>
                <a:lnTo>
                  <a:pt x="2410" y="18"/>
                </a:lnTo>
                <a:lnTo>
                  <a:pt x="2492" y="18"/>
                </a:lnTo>
                <a:lnTo>
                  <a:pt x="2363" y="333"/>
                </a:lnTo>
                <a:lnTo>
                  <a:pt x="2498" y="788"/>
                </a:lnTo>
                <a:lnTo>
                  <a:pt x="2419" y="788"/>
                </a:lnTo>
                <a:close/>
                <a:moveTo>
                  <a:pt x="2558" y="788"/>
                </a:moveTo>
                <a:lnTo>
                  <a:pt x="2558" y="18"/>
                </a:lnTo>
                <a:lnTo>
                  <a:pt x="2786" y="18"/>
                </a:lnTo>
                <a:lnTo>
                  <a:pt x="2786" y="126"/>
                </a:lnTo>
                <a:lnTo>
                  <a:pt x="2623" y="126"/>
                </a:lnTo>
                <a:lnTo>
                  <a:pt x="2623" y="341"/>
                </a:lnTo>
                <a:lnTo>
                  <a:pt x="2756" y="341"/>
                </a:lnTo>
                <a:lnTo>
                  <a:pt x="2756" y="445"/>
                </a:lnTo>
                <a:lnTo>
                  <a:pt x="2623" y="445"/>
                </a:lnTo>
                <a:lnTo>
                  <a:pt x="2623" y="683"/>
                </a:lnTo>
                <a:lnTo>
                  <a:pt x="2786" y="683"/>
                </a:lnTo>
                <a:lnTo>
                  <a:pt x="2786" y="788"/>
                </a:lnTo>
                <a:lnTo>
                  <a:pt x="2558" y="788"/>
                </a:lnTo>
                <a:close/>
                <a:moveTo>
                  <a:pt x="2939" y="18"/>
                </a:moveTo>
                <a:lnTo>
                  <a:pt x="3030" y="439"/>
                </a:lnTo>
                <a:lnTo>
                  <a:pt x="3038" y="477"/>
                </a:lnTo>
                <a:lnTo>
                  <a:pt x="3042" y="495"/>
                </a:lnTo>
                <a:lnTo>
                  <a:pt x="3046" y="515"/>
                </a:lnTo>
                <a:lnTo>
                  <a:pt x="3053" y="553"/>
                </a:lnTo>
                <a:lnTo>
                  <a:pt x="3060" y="595"/>
                </a:lnTo>
                <a:lnTo>
                  <a:pt x="3060" y="509"/>
                </a:lnTo>
                <a:lnTo>
                  <a:pt x="3059" y="421"/>
                </a:lnTo>
                <a:lnTo>
                  <a:pt x="3059" y="18"/>
                </a:lnTo>
                <a:lnTo>
                  <a:pt x="3124" y="18"/>
                </a:lnTo>
                <a:lnTo>
                  <a:pt x="3124" y="788"/>
                </a:lnTo>
                <a:lnTo>
                  <a:pt x="3046" y="788"/>
                </a:lnTo>
                <a:lnTo>
                  <a:pt x="2954" y="369"/>
                </a:lnTo>
                <a:lnTo>
                  <a:pt x="2946" y="331"/>
                </a:lnTo>
                <a:lnTo>
                  <a:pt x="2938" y="293"/>
                </a:lnTo>
                <a:lnTo>
                  <a:pt x="2931" y="255"/>
                </a:lnTo>
                <a:lnTo>
                  <a:pt x="2923" y="214"/>
                </a:lnTo>
                <a:lnTo>
                  <a:pt x="2924" y="389"/>
                </a:lnTo>
                <a:lnTo>
                  <a:pt x="2924" y="790"/>
                </a:lnTo>
                <a:lnTo>
                  <a:pt x="2859" y="790"/>
                </a:lnTo>
                <a:lnTo>
                  <a:pt x="2859" y="18"/>
                </a:lnTo>
                <a:lnTo>
                  <a:pt x="2939" y="18"/>
                </a:lnTo>
                <a:close/>
                <a:moveTo>
                  <a:pt x="3306" y="18"/>
                </a:moveTo>
                <a:lnTo>
                  <a:pt x="3396" y="425"/>
                </a:lnTo>
                <a:lnTo>
                  <a:pt x="3404" y="463"/>
                </a:lnTo>
                <a:lnTo>
                  <a:pt x="3408" y="481"/>
                </a:lnTo>
                <a:lnTo>
                  <a:pt x="3412" y="501"/>
                </a:lnTo>
                <a:lnTo>
                  <a:pt x="3419" y="539"/>
                </a:lnTo>
                <a:lnTo>
                  <a:pt x="3426" y="581"/>
                </a:lnTo>
                <a:lnTo>
                  <a:pt x="3426" y="495"/>
                </a:lnTo>
                <a:lnTo>
                  <a:pt x="3426" y="407"/>
                </a:lnTo>
                <a:lnTo>
                  <a:pt x="3426" y="18"/>
                </a:lnTo>
                <a:lnTo>
                  <a:pt x="3491" y="18"/>
                </a:lnTo>
                <a:lnTo>
                  <a:pt x="3491" y="788"/>
                </a:lnTo>
                <a:lnTo>
                  <a:pt x="3412" y="788"/>
                </a:lnTo>
                <a:lnTo>
                  <a:pt x="3320" y="383"/>
                </a:lnTo>
                <a:lnTo>
                  <a:pt x="3312" y="345"/>
                </a:lnTo>
                <a:lnTo>
                  <a:pt x="3305" y="307"/>
                </a:lnTo>
                <a:lnTo>
                  <a:pt x="3297" y="269"/>
                </a:lnTo>
                <a:lnTo>
                  <a:pt x="3290" y="228"/>
                </a:lnTo>
                <a:lnTo>
                  <a:pt x="3290" y="403"/>
                </a:lnTo>
                <a:lnTo>
                  <a:pt x="3290" y="788"/>
                </a:lnTo>
                <a:lnTo>
                  <a:pt x="3226" y="788"/>
                </a:lnTo>
                <a:lnTo>
                  <a:pt x="3226" y="18"/>
                </a:lnTo>
                <a:lnTo>
                  <a:pt x="3306" y="18"/>
                </a:lnTo>
                <a:close/>
                <a:moveTo>
                  <a:pt x="3618" y="735"/>
                </a:moveTo>
                <a:lnTo>
                  <a:pt x="3611" y="719"/>
                </a:lnTo>
                <a:lnTo>
                  <a:pt x="3605" y="701"/>
                </a:lnTo>
                <a:lnTo>
                  <a:pt x="3599" y="681"/>
                </a:lnTo>
                <a:lnTo>
                  <a:pt x="3597" y="669"/>
                </a:lnTo>
                <a:lnTo>
                  <a:pt x="3595" y="659"/>
                </a:lnTo>
                <a:lnTo>
                  <a:pt x="3591" y="635"/>
                </a:lnTo>
                <a:lnTo>
                  <a:pt x="3589" y="609"/>
                </a:lnTo>
                <a:lnTo>
                  <a:pt x="3588" y="595"/>
                </a:lnTo>
                <a:lnTo>
                  <a:pt x="3587" y="581"/>
                </a:lnTo>
                <a:lnTo>
                  <a:pt x="3587" y="549"/>
                </a:lnTo>
                <a:lnTo>
                  <a:pt x="3587" y="18"/>
                </a:lnTo>
                <a:lnTo>
                  <a:pt x="3652" y="18"/>
                </a:lnTo>
                <a:lnTo>
                  <a:pt x="3652" y="543"/>
                </a:lnTo>
                <a:lnTo>
                  <a:pt x="3652" y="563"/>
                </a:lnTo>
                <a:lnTo>
                  <a:pt x="3652" y="581"/>
                </a:lnTo>
                <a:lnTo>
                  <a:pt x="3653" y="597"/>
                </a:lnTo>
                <a:lnTo>
                  <a:pt x="3655" y="611"/>
                </a:lnTo>
                <a:lnTo>
                  <a:pt x="3657" y="625"/>
                </a:lnTo>
                <a:lnTo>
                  <a:pt x="3659" y="637"/>
                </a:lnTo>
                <a:lnTo>
                  <a:pt x="3662" y="649"/>
                </a:lnTo>
                <a:lnTo>
                  <a:pt x="3665" y="659"/>
                </a:lnTo>
                <a:lnTo>
                  <a:pt x="3669" y="667"/>
                </a:lnTo>
                <a:lnTo>
                  <a:pt x="3674" y="675"/>
                </a:lnTo>
                <a:lnTo>
                  <a:pt x="3679" y="683"/>
                </a:lnTo>
                <a:lnTo>
                  <a:pt x="3685" y="689"/>
                </a:lnTo>
                <a:lnTo>
                  <a:pt x="3688" y="691"/>
                </a:lnTo>
                <a:lnTo>
                  <a:pt x="3692" y="693"/>
                </a:lnTo>
                <a:lnTo>
                  <a:pt x="3699" y="697"/>
                </a:lnTo>
                <a:lnTo>
                  <a:pt x="3706" y="699"/>
                </a:lnTo>
                <a:lnTo>
                  <a:pt x="3715" y="699"/>
                </a:lnTo>
                <a:lnTo>
                  <a:pt x="3723" y="699"/>
                </a:lnTo>
                <a:lnTo>
                  <a:pt x="3731" y="697"/>
                </a:lnTo>
                <a:lnTo>
                  <a:pt x="3738" y="693"/>
                </a:lnTo>
                <a:lnTo>
                  <a:pt x="3744" y="689"/>
                </a:lnTo>
                <a:lnTo>
                  <a:pt x="3750" y="683"/>
                </a:lnTo>
                <a:lnTo>
                  <a:pt x="3755" y="675"/>
                </a:lnTo>
                <a:lnTo>
                  <a:pt x="3760" y="667"/>
                </a:lnTo>
                <a:lnTo>
                  <a:pt x="3764" y="659"/>
                </a:lnTo>
                <a:lnTo>
                  <a:pt x="3768" y="649"/>
                </a:lnTo>
                <a:lnTo>
                  <a:pt x="3770" y="637"/>
                </a:lnTo>
                <a:lnTo>
                  <a:pt x="3773" y="625"/>
                </a:lnTo>
                <a:lnTo>
                  <a:pt x="3775" y="613"/>
                </a:lnTo>
                <a:lnTo>
                  <a:pt x="3776" y="597"/>
                </a:lnTo>
                <a:lnTo>
                  <a:pt x="3777" y="581"/>
                </a:lnTo>
                <a:lnTo>
                  <a:pt x="3778" y="563"/>
                </a:lnTo>
                <a:lnTo>
                  <a:pt x="3778" y="543"/>
                </a:lnTo>
                <a:lnTo>
                  <a:pt x="3778" y="18"/>
                </a:lnTo>
                <a:lnTo>
                  <a:pt x="3843" y="18"/>
                </a:lnTo>
                <a:lnTo>
                  <a:pt x="3843" y="549"/>
                </a:lnTo>
                <a:lnTo>
                  <a:pt x="3843" y="581"/>
                </a:lnTo>
                <a:lnTo>
                  <a:pt x="3842" y="595"/>
                </a:lnTo>
                <a:lnTo>
                  <a:pt x="3841" y="609"/>
                </a:lnTo>
                <a:lnTo>
                  <a:pt x="3838" y="635"/>
                </a:lnTo>
                <a:lnTo>
                  <a:pt x="3835" y="659"/>
                </a:lnTo>
                <a:lnTo>
                  <a:pt x="3833" y="669"/>
                </a:lnTo>
                <a:lnTo>
                  <a:pt x="3830" y="681"/>
                </a:lnTo>
                <a:lnTo>
                  <a:pt x="3825" y="701"/>
                </a:lnTo>
                <a:lnTo>
                  <a:pt x="3822" y="709"/>
                </a:lnTo>
                <a:lnTo>
                  <a:pt x="3819" y="719"/>
                </a:lnTo>
                <a:lnTo>
                  <a:pt x="3815" y="727"/>
                </a:lnTo>
                <a:lnTo>
                  <a:pt x="3812" y="735"/>
                </a:lnTo>
                <a:lnTo>
                  <a:pt x="3807" y="744"/>
                </a:lnTo>
                <a:lnTo>
                  <a:pt x="3802" y="752"/>
                </a:lnTo>
                <a:lnTo>
                  <a:pt x="3792" y="766"/>
                </a:lnTo>
                <a:lnTo>
                  <a:pt x="3781" y="778"/>
                </a:lnTo>
                <a:lnTo>
                  <a:pt x="3775" y="784"/>
                </a:lnTo>
                <a:lnTo>
                  <a:pt x="3769" y="788"/>
                </a:lnTo>
                <a:lnTo>
                  <a:pt x="3757" y="796"/>
                </a:lnTo>
                <a:lnTo>
                  <a:pt x="3750" y="800"/>
                </a:lnTo>
                <a:lnTo>
                  <a:pt x="3743" y="802"/>
                </a:lnTo>
                <a:lnTo>
                  <a:pt x="3729" y="806"/>
                </a:lnTo>
                <a:lnTo>
                  <a:pt x="3722" y="806"/>
                </a:lnTo>
                <a:lnTo>
                  <a:pt x="3715" y="806"/>
                </a:lnTo>
                <a:lnTo>
                  <a:pt x="3700" y="806"/>
                </a:lnTo>
                <a:lnTo>
                  <a:pt x="3686" y="802"/>
                </a:lnTo>
                <a:lnTo>
                  <a:pt x="3679" y="800"/>
                </a:lnTo>
                <a:lnTo>
                  <a:pt x="3673" y="796"/>
                </a:lnTo>
                <a:lnTo>
                  <a:pt x="3660" y="788"/>
                </a:lnTo>
                <a:lnTo>
                  <a:pt x="3648" y="778"/>
                </a:lnTo>
                <a:lnTo>
                  <a:pt x="3637" y="766"/>
                </a:lnTo>
                <a:lnTo>
                  <a:pt x="3627" y="750"/>
                </a:lnTo>
                <a:lnTo>
                  <a:pt x="3623" y="742"/>
                </a:lnTo>
                <a:lnTo>
                  <a:pt x="3618" y="735"/>
                </a:lnTo>
                <a:close/>
                <a:moveTo>
                  <a:pt x="4052" y="806"/>
                </a:moveTo>
                <a:lnTo>
                  <a:pt x="4036" y="806"/>
                </a:lnTo>
                <a:lnTo>
                  <a:pt x="4020" y="802"/>
                </a:lnTo>
                <a:lnTo>
                  <a:pt x="4006" y="796"/>
                </a:lnTo>
                <a:lnTo>
                  <a:pt x="4000" y="792"/>
                </a:lnTo>
                <a:lnTo>
                  <a:pt x="3993" y="788"/>
                </a:lnTo>
                <a:lnTo>
                  <a:pt x="3981" y="780"/>
                </a:lnTo>
                <a:lnTo>
                  <a:pt x="3975" y="774"/>
                </a:lnTo>
                <a:lnTo>
                  <a:pt x="3970" y="768"/>
                </a:lnTo>
                <a:lnTo>
                  <a:pt x="3960" y="756"/>
                </a:lnTo>
                <a:lnTo>
                  <a:pt x="3956" y="748"/>
                </a:lnTo>
                <a:lnTo>
                  <a:pt x="3951" y="740"/>
                </a:lnTo>
                <a:lnTo>
                  <a:pt x="3947" y="733"/>
                </a:lnTo>
                <a:lnTo>
                  <a:pt x="3943" y="725"/>
                </a:lnTo>
                <a:lnTo>
                  <a:pt x="3939" y="717"/>
                </a:lnTo>
                <a:lnTo>
                  <a:pt x="3936" y="707"/>
                </a:lnTo>
                <a:lnTo>
                  <a:pt x="3930" y="687"/>
                </a:lnTo>
                <a:lnTo>
                  <a:pt x="3926" y="667"/>
                </a:lnTo>
                <a:lnTo>
                  <a:pt x="3924" y="657"/>
                </a:lnTo>
                <a:lnTo>
                  <a:pt x="3922" y="645"/>
                </a:lnTo>
                <a:lnTo>
                  <a:pt x="3919" y="623"/>
                </a:lnTo>
                <a:lnTo>
                  <a:pt x="3918" y="599"/>
                </a:lnTo>
                <a:lnTo>
                  <a:pt x="3917" y="585"/>
                </a:lnTo>
                <a:lnTo>
                  <a:pt x="3917" y="573"/>
                </a:lnTo>
                <a:lnTo>
                  <a:pt x="3980" y="545"/>
                </a:lnTo>
                <a:lnTo>
                  <a:pt x="3981" y="567"/>
                </a:lnTo>
                <a:lnTo>
                  <a:pt x="3982" y="587"/>
                </a:lnTo>
                <a:lnTo>
                  <a:pt x="3984" y="603"/>
                </a:lnTo>
                <a:lnTo>
                  <a:pt x="3986" y="619"/>
                </a:lnTo>
                <a:lnTo>
                  <a:pt x="3988" y="627"/>
                </a:lnTo>
                <a:lnTo>
                  <a:pt x="3989" y="635"/>
                </a:lnTo>
                <a:lnTo>
                  <a:pt x="3993" y="647"/>
                </a:lnTo>
                <a:lnTo>
                  <a:pt x="3997" y="659"/>
                </a:lnTo>
                <a:lnTo>
                  <a:pt x="4001" y="667"/>
                </a:lnTo>
                <a:lnTo>
                  <a:pt x="4006" y="677"/>
                </a:lnTo>
                <a:lnTo>
                  <a:pt x="4012" y="683"/>
                </a:lnTo>
                <a:lnTo>
                  <a:pt x="4018" y="689"/>
                </a:lnTo>
                <a:lnTo>
                  <a:pt x="4025" y="693"/>
                </a:lnTo>
                <a:lnTo>
                  <a:pt x="4032" y="697"/>
                </a:lnTo>
                <a:lnTo>
                  <a:pt x="4039" y="699"/>
                </a:lnTo>
                <a:lnTo>
                  <a:pt x="4047" y="701"/>
                </a:lnTo>
                <a:lnTo>
                  <a:pt x="4056" y="701"/>
                </a:lnTo>
                <a:lnTo>
                  <a:pt x="4063" y="701"/>
                </a:lnTo>
                <a:lnTo>
                  <a:pt x="4070" y="699"/>
                </a:lnTo>
                <a:lnTo>
                  <a:pt x="4077" y="697"/>
                </a:lnTo>
                <a:lnTo>
                  <a:pt x="4083" y="695"/>
                </a:lnTo>
                <a:lnTo>
                  <a:pt x="4089" y="691"/>
                </a:lnTo>
                <a:lnTo>
                  <a:pt x="4095" y="685"/>
                </a:lnTo>
                <a:lnTo>
                  <a:pt x="4100" y="679"/>
                </a:lnTo>
                <a:lnTo>
                  <a:pt x="4105" y="673"/>
                </a:lnTo>
                <a:lnTo>
                  <a:pt x="4109" y="665"/>
                </a:lnTo>
                <a:lnTo>
                  <a:pt x="4113" y="657"/>
                </a:lnTo>
                <a:lnTo>
                  <a:pt x="4116" y="649"/>
                </a:lnTo>
                <a:lnTo>
                  <a:pt x="4119" y="639"/>
                </a:lnTo>
                <a:lnTo>
                  <a:pt x="4121" y="627"/>
                </a:lnTo>
                <a:lnTo>
                  <a:pt x="4122" y="623"/>
                </a:lnTo>
                <a:lnTo>
                  <a:pt x="4123" y="617"/>
                </a:lnTo>
                <a:lnTo>
                  <a:pt x="4124" y="605"/>
                </a:lnTo>
                <a:lnTo>
                  <a:pt x="4124" y="591"/>
                </a:lnTo>
                <a:lnTo>
                  <a:pt x="4124" y="581"/>
                </a:lnTo>
                <a:lnTo>
                  <a:pt x="4123" y="571"/>
                </a:lnTo>
                <a:lnTo>
                  <a:pt x="4122" y="563"/>
                </a:lnTo>
                <a:lnTo>
                  <a:pt x="4121" y="553"/>
                </a:lnTo>
                <a:lnTo>
                  <a:pt x="4119" y="545"/>
                </a:lnTo>
                <a:lnTo>
                  <a:pt x="4117" y="537"/>
                </a:lnTo>
                <a:lnTo>
                  <a:pt x="4115" y="529"/>
                </a:lnTo>
                <a:lnTo>
                  <a:pt x="4112" y="521"/>
                </a:lnTo>
                <a:lnTo>
                  <a:pt x="4104" y="505"/>
                </a:lnTo>
                <a:lnTo>
                  <a:pt x="4100" y="497"/>
                </a:lnTo>
                <a:lnTo>
                  <a:pt x="4095" y="491"/>
                </a:lnTo>
                <a:lnTo>
                  <a:pt x="4084" y="477"/>
                </a:lnTo>
                <a:lnTo>
                  <a:pt x="4071" y="465"/>
                </a:lnTo>
                <a:lnTo>
                  <a:pt x="4007" y="407"/>
                </a:lnTo>
                <a:lnTo>
                  <a:pt x="3998" y="399"/>
                </a:lnTo>
                <a:lnTo>
                  <a:pt x="3988" y="389"/>
                </a:lnTo>
                <a:lnTo>
                  <a:pt x="3972" y="369"/>
                </a:lnTo>
                <a:lnTo>
                  <a:pt x="3958" y="349"/>
                </a:lnTo>
                <a:lnTo>
                  <a:pt x="3953" y="337"/>
                </a:lnTo>
                <a:lnTo>
                  <a:pt x="3947" y="325"/>
                </a:lnTo>
                <a:lnTo>
                  <a:pt x="3942" y="313"/>
                </a:lnTo>
                <a:lnTo>
                  <a:pt x="3937" y="299"/>
                </a:lnTo>
                <a:lnTo>
                  <a:pt x="3934" y="285"/>
                </a:lnTo>
                <a:lnTo>
                  <a:pt x="3931" y="269"/>
                </a:lnTo>
                <a:lnTo>
                  <a:pt x="3929" y="253"/>
                </a:lnTo>
                <a:lnTo>
                  <a:pt x="3928" y="246"/>
                </a:lnTo>
                <a:lnTo>
                  <a:pt x="3927" y="238"/>
                </a:lnTo>
                <a:lnTo>
                  <a:pt x="3927" y="220"/>
                </a:lnTo>
                <a:lnTo>
                  <a:pt x="3926" y="200"/>
                </a:lnTo>
                <a:lnTo>
                  <a:pt x="3926" y="188"/>
                </a:lnTo>
                <a:lnTo>
                  <a:pt x="3927" y="176"/>
                </a:lnTo>
                <a:lnTo>
                  <a:pt x="3928" y="164"/>
                </a:lnTo>
                <a:lnTo>
                  <a:pt x="3929" y="152"/>
                </a:lnTo>
                <a:lnTo>
                  <a:pt x="3930" y="142"/>
                </a:lnTo>
                <a:lnTo>
                  <a:pt x="3932" y="132"/>
                </a:lnTo>
                <a:lnTo>
                  <a:pt x="3936" y="112"/>
                </a:lnTo>
                <a:lnTo>
                  <a:pt x="3939" y="102"/>
                </a:lnTo>
                <a:lnTo>
                  <a:pt x="3942" y="94"/>
                </a:lnTo>
                <a:lnTo>
                  <a:pt x="3949" y="78"/>
                </a:lnTo>
                <a:lnTo>
                  <a:pt x="3957" y="62"/>
                </a:lnTo>
                <a:lnTo>
                  <a:pt x="3961" y="56"/>
                </a:lnTo>
                <a:lnTo>
                  <a:pt x="3965" y="50"/>
                </a:lnTo>
                <a:lnTo>
                  <a:pt x="3974" y="38"/>
                </a:lnTo>
                <a:lnTo>
                  <a:pt x="3984" y="28"/>
                </a:lnTo>
                <a:lnTo>
                  <a:pt x="3994" y="20"/>
                </a:lnTo>
                <a:lnTo>
                  <a:pt x="4005" y="12"/>
                </a:lnTo>
                <a:lnTo>
                  <a:pt x="4017" y="6"/>
                </a:lnTo>
                <a:lnTo>
                  <a:pt x="4029" y="4"/>
                </a:lnTo>
                <a:lnTo>
                  <a:pt x="4042" y="0"/>
                </a:lnTo>
                <a:lnTo>
                  <a:pt x="4055" y="0"/>
                </a:lnTo>
                <a:lnTo>
                  <a:pt x="4070" y="2"/>
                </a:lnTo>
                <a:lnTo>
                  <a:pt x="4085" y="4"/>
                </a:lnTo>
                <a:lnTo>
                  <a:pt x="4098" y="10"/>
                </a:lnTo>
                <a:lnTo>
                  <a:pt x="4104" y="14"/>
                </a:lnTo>
                <a:lnTo>
                  <a:pt x="4110" y="18"/>
                </a:lnTo>
                <a:lnTo>
                  <a:pt x="4122" y="26"/>
                </a:lnTo>
                <a:lnTo>
                  <a:pt x="4132" y="38"/>
                </a:lnTo>
                <a:lnTo>
                  <a:pt x="4141" y="50"/>
                </a:lnTo>
                <a:lnTo>
                  <a:pt x="4149" y="64"/>
                </a:lnTo>
                <a:lnTo>
                  <a:pt x="4153" y="72"/>
                </a:lnTo>
                <a:lnTo>
                  <a:pt x="4156" y="78"/>
                </a:lnTo>
                <a:lnTo>
                  <a:pt x="4159" y="86"/>
                </a:lnTo>
                <a:lnTo>
                  <a:pt x="4162" y="94"/>
                </a:lnTo>
                <a:lnTo>
                  <a:pt x="4167" y="112"/>
                </a:lnTo>
                <a:lnTo>
                  <a:pt x="4172" y="128"/>
                </a:lnTo>
                <a:lnTo>
                  <a:pt x="4175" y="146"/>
                </a:lnTo>
                <a:lnTo>
                  <a:pt x="4177" y="166"/>
                </a:lnTo>
                <a:lnTo>
                  <a:pt x="4179" y="184"/>
                </a:lnTo>
                <a:lnTo>
                  <a:pt x="4179" y="202"/>
                </a:lnTo>
                <a:lnTo>
                  <a:pt x="4117" y="228"/>
                </a:lnTo>
                <a:lnTo>
                  <a:pt x="4117" y="212"/>
                </a:lnTo>
                <a:lnTo>
                  <a:pt x="4115" y="198"/>
                </a:lnTo>
                <a:lnTo>
                  <a:pt x="4114" y="186"/>
                </a:lnTo>
                <a:lnTo>
                  <a:pt x="4112" y="172"/>
                </a:lnTo>
                <a:lnTo>
                  <a:pt x="4109" y="162"/>
                </a:lnTo>
                <a:lnTo>
                  <a:pt x="4106" y="152"/>
                </a:lnTo>
                <a:lnTo>
                  <a:pt x="4103" y="142"/>
                </a:lnTo>
                <a:lnTo>
                  <a:pt x="4099" y="136"/>
                </a:lnTo>
                <a:lnTo>
                  <a:pt x="4095" y="128"/>
                </a:lnTo>
                <a:lnTo>
                  <a:pt x="4090" y="122"/>
                </a:lnTo>
                <a:lnTo>
                  <a:pt x="4085" y="118"/>
                </a:lnTo>
                <a:lnTo>
                  <a:pt x="4079" y="114"/>
                </a:lnTo>
                <a:lnTo>
                  <a:pt x="4073" y="110"/>
                </a:lnTo>
                <a:lnTo>
                  <a:pt x="4067" y="108"/>
                </a:lnTo>
                <a:lnTo>
                  <a:pt x="4060" y="108"/>
                </a:lnTo>
                <a:lnTo>
                  <a:pt x="4052" y="106"/>
                </a:lnTo>
                <a:lnTo>
                  <a:pt x="4040" y="108"/>
                </a:lnTo>
                <a:lnTo>
                  <a:pt x="4028" y="112"/>
                </a:lnTo>
                <a:lnTo>
                  <a:pt x="4023" y="116"/>
                </a:lnTo>
                <a:lnTo>
                  <a:pt x="4018" y="120"/>
                </a:lnTo>
                <a:lnTo>
                  <a:pt x="4013" y="124"/>
                </a:lnTo>
                <a:lnTo>
                  <a:pt x="4009" y="128"/>
                </a:lnTo>
                <a:lnTo>
                  <a:pt x="4005" y="134"/>
                </a:lnTo>
                <a:lnTo>
                  <a:pt x="4002" y="140"/>
                </a:lnTo>
                <a:lnTo>
                  <a:pt x="3999" y="148"/>
                </a:lnTo>
                <a:lnTo>
                  <a:pt x="3996" y="156"/>
                </a:lnTo>
                <a:lnTo>
                  <a:pt x="3994" y="164"/>
                </a:lnTo>
                <a:lnTo>
                  <a:pt x="3993" y="174"/>
                </a:lnTo>
                <a:lnTo>
                  <a:pt x="3992" y="184"/>
                </a:lnTo>
                <a:lnTo>
                  <a:pt x="3992" y="194"/>
                </a:lnTo>
                <a:lnTo>
                  <a:pt x="3992" y="204"/>
                </a:lnTo>
                <a:lnTo>
                  <a:pt x="3992" y="214"/>
                </a:lnTo>
                <a:lnTo>
                  <a:pt x="3993" y="224"/>
                </a:lnTo>
                <a:lnTo>
                  <a:pt x="3994" y="232"/>
                </a:lnTo>
                <a:lnTo>
                  <a:pt x="3996" y="240"/>
                </a:lnTo>
                <a:lnTo>
                  <a:pt x="3998" y="248"/>
                </a:lnTo>
                <a:lnTo>
                  <a:pt x="4001" y="255"/>
                </a:lnTo>
                <a:lnTo>
                  <a:pt x="4003" y="261"/>
                </a:lnTo>
                <a:lnTo>
                  <a:pt x="4007" y="267"/>
                </a:lnTo>
                <a:lnTo>
                  <a:pt x="4010" y="273"/>
                </a:lnTo>
                <a:lnTo>
                  <a:pt x="4019" y="285"/>
                </a:lnTo>
                <a:lnTo>
                  <a:pt x="4029" y="297"/>
                </a:lnTo>
                <a:lnTo>
                  <a:pt x="4041" y="309"/>
                </a:lnTo>
                <a:lnTo>
                  <a:pt x="4103" y="363"/>
                </a:lnTo>
                <a:lnTo>
                  <a:pt x="4113" y="373"/>
                </a:lnTo>
                <a:lnTo>
                  <a:pt x="4123" y="383"/>
                </a:lnTo>
                <a:lnTo>
                  <a:pt x="4133" y="393"/>
                </a:lnTo>
                <a:lnTo>
                  <a:pt x="4141" y="405"/>
                </a:lnTo>
                <a:lnTo>
                  <a:pt x="4149" y="417"/>
                </a:lnTo>
                <a:lnTo>
                  <a:pt x="4156" y="427"/>
                </a:lnTo>
                <a:lnTo>
                  <a:pt x="4162" y="441"/>
                </a:lnTo>
                <a:lnTo>
                  <a:pt x="4168" y="453"/>
                </a:lnTo>
                <a:lnTo>
                  <a:pt x="4173" y="467"/>
                </a:lnTo>
                <a:lnTo>
                  <a:pt x="4177" y="481"/>
                </a:lnTo>
                <a:lnTo>
                  <a:pt x="4181" y="495"/>
                </a:lnTo>
                <a:lnTo>
                  <a:pt x="4184" y="511"/>
                </a:lnTo>
                <a:lnTo>
                  <a:pt x="4186" y="527"/>
                </a:lnTo>
                <a:lnTo>
                  <a:pt x="4187" y="537"/>
                </a:lnTo>
                <a:lnTo>
                  <a:pt x="4187" y="545"/>
                </a:lnTo>
                <a:lnTo>
                  <a:pt x="4188" y="563"/>
                </a:lnTo>
                <a:lnTo>
                  <a:pt x="4189" y="583"/>
                </a:lnTo>
                <a:lnTo>
                  <a:pt x="4188" y="609"/>
                </a:lnTo>
                <a:lnTo>
                  <a:pt x="4186" y="633"/>
                </a:lnTo>
                <a:lnTo>
                  <a:pt x="4185" y="645"/>
                </a:lnTo>
                <a:lnTo>
                  <a:pt x="4183" y="655"/>
                </a:lnTo>
                <a:lnTo>
                  <a:pt x="4181" y="667"/>
                </a:lnTo>
                <a:lnTo>
                  <a:pt x="4179" y="677"/>
                </a:lnTo>
                <a:lnTo>
                  <a:pt x="4177" y="687"/>
                </a:lnTo>
                <a:lnTo>
                  <a:pt x="4174" y="697"/>
                </a:lnTo>
                <a:lnTo>
                  <a:pt x="4167" y="715"/>
                </a:lnTo>
                <a:lnTo>
                  <a:pt x="4164" y="723"/>
                </a:lnTo>
                <a:lnTo>
                  <a:pt x="4160" y="733"/>
                </a:lnTo>
                <a:lnTo>
                  <a:pt x="4152" y="746"/>
                </a:lnTo>
                <a:lnTo>
                  <a:pt x="4147" y="754"/>
                </a:lnTo>
                <a:lnTo>
                  <a:pt x="4142" y="760"/>
                </a:lnTo>
                <a:lnTo>
                  <a:pt x="4137" y="766"/>
                </a:lnTo>
                <a:lnTo>
                  <a:pt x="4132" y="772"/>
                </a:lnTo>
                <a:lnTo>
                  <a:pt x="4121" y="782"/>
                </a:lnTo>
                <a:lnTo>
                  <a:pt x="4109" y="790"/>
                </a:lnTo>
                <a:lnTo>
                  <a:pt x="4096" y="798"/>
                </a:lnTo>
                <a:lnTo>
                  <a:pt x="4082" y="802"/>
                </a:lnTo>
                <a:lnTo>
                  <a:pt x="4075" y="804"/>
                </a:lnTo>
                <a:lnTo>
                  <a:pt x="4068" y="804"/>
                </a:lnTo>
                <a:lnTo>
                  <a:pt x="4052" y="806"/>
                </a:lnTo>
                <a:close/>
                <a:moveTo>
                  <a:pt x="1669" y="1273"/>
                </a:moveTo>
                <a:lnTo>
                  <a:pt x="1669" y="1936"/>
                </a:lnTo>
                <a:lnTo>
                  <a:pt x="1604" y="1936"/>
                </a:lnTo>
                <a:lnTo>
                  <a:pt x="1604" y="1273"/>
                </a:lnTo>
                <a:lnTo>
                  <a:pt x="1506" y="1273"/>
                </a:lnTo>
                <a:lnTo>
                  <a:pt x="1506" y="1166"/>
                </a:lnTo>
                <a:lnTo>
                  <a:pt x="1767" y="1166"/>
                </a:lnTo>
                <a:lnTo>
                  <a:pt x="1767" y="1273"/>
                </a:lnTo>
                <a:lnTo>
                  <a:pt x="1669" y="1273"/>
                </a:lnTo>
                <a:close/>
                <a:moveTo>
                  <a:pt x="1832" y="1936"/>
                </a:moveTo>
                <a:lnTo>
                  <a:pt x="1832" y="1166"/>
                </a:lnTo>
                <a:lnTo>
                  <a:pt x="2060" y="1166"/>
                </a:lnTo>
                <a:lnTo>
                  <a:pt x="2060" y="1273"/>
                </a:lnTo>
                <a:lnTo>
                  <a:pt x="1897" y="1273"/>
                </a:lnTo>
                <a:lnTo>
                  <a:pt x="1897" y="1489"/>
                </a:lnTo>
                <a:lnTo>
                  <a:pt x="2030" y="1489"/>
                </a:lnTo>
                <a:lnTo>
                  <a:pt x="2030" y="1593"/>
                </a:lnTo>
                <a:lnTo>
                  <a:pt x="1897" y="1593"/>
                </a:lnTo>
                <a:lnTo>
                  <a:pt x="1897" y="1828"/>
                </a:lnTo>
                <a:lnTo>
                  <a:pt x="2060" y="1828"/>
                </a:lnTo>
                <a:lnTo>
                  <a:pt x="2060" y="1936"/>
                </a:lnTo>
                <a:lnTo>
                  <a:pt x="1832" y="1936"/>
                </a:lnTo>
                <a:close/>
                <a:moveTo>
                  <a:pt x="2260" y="1954"/>
                </a:moveTo>
                <a:lnTo>
                  <a:pt x="2251" y="1954"/>
                </a:lnTo>
                <a:lnTo>
                  <a:pt x="2242" y="1952"/>
                </a:lnTo>
                <a:lnTo>
                  <a:pt x="2234" y="1950"/>
                </a:lnTo>
                <a:lnTo>
                  <a:pt x="2226" y="1948"/>
                </a:lnTo>
                <a:lnTo>
                  <a:pt x="2218" y="1944"/>
                </a:lnTo>
                <a:lnTo>
                  <a:pt x="2211" y="1938"/>
                </a:lnTo>
                <a:lnTo>
                  <a:pt x="2204" y="1932"/>
                </a:lnTo>
                <a:lnTo>
                  <a:pt x="2197" y="1926"/>
                </a:lnTo>
                <a:lnTo>
                  <a:pt x="2190" y="1920"/>
                </a:lnTo>
                <a:lnTo>
                  <a:pt x="2184" y="1912"/>
                </a:lnTo>
                <a:lnTo>
                  <a:pt x="2178" y="1902"/>
                </a:lnTo>
                <a:lnTo>
                  <a:pt x="2172" y="1892"/>
                </a:lnTo>
                <a:lnTo>
                  <a:pt x="2166" y="1882"/>
                </a:lnTo>
                <a:lnTo>
                  <a:pt x="2161" y="1872"/>
                </a:lnTo>
                <a:lnTo>
                  <a:pt x="2156" y="1860"/>
                </a:lnTo>
                <a:lnTo>
                  <a:pt x="2151" y="1846"/>
                </a:lnTo>
                <a:lnTo>
                  <a:pt x="2147" y="1834"/>
                </a:lnTo>
                <a:lnTo>
                  <a:pt x="2143" y="1820"/>
                </a:lnTo>
                <a:lnTo>
                  <a:pt x="2139" y="1804"/>
                </a:lnTo>
                <a:lnTo>
                  <a:pt x="2135" y="1788"/>
                </a:lnTo>
                <a:lnTo>
                  <a:pt x="2132" y="1772"/>
                </a:lnTo>
                <a:lnTo>
                  <a:pt x="2129" y="1756"/>
                </a:lnTo>
                <a:lnTo>
                  <a:pt x="2126" y="1738"/>
                </a:lnTo>
                <a:lnTo>
                  <a:pt x="2124" y="1720"/>
                </a:lnTo>
                <a:lnTo>
                  <a:pt x="2121" y="1701"/>
                </a:lnTo>
                <a:lnTo>
                  <a:pt x="2120" y="1681"/>
                </a:lnTo>
                <a:lnTo>
                  <a:pt x="2118" y="1661"/>
                </a:lnTo>
                <a:lnTo>
                  <a:pt x="2117" y="1641"/>
                </a:lnTo>
                <a:lnTo>
                  <a:pt x="2115" y="1597"/>
                </a:lnTo>
                <a:lnTo>
                  <a:pt x="2114" y="1575"/>
                </a:lnTo>
                <a:lnTo>
                  <a:pt x="2114" y="1551"/>
                </a:lnTo>
                <a:lnTo>
                  <a:pt x="2115" y="1505"/>
                </a:lnTo>
                <a:lnTo>
                  <a:pt x="2117" y="1461"/>
                </a:lnTo>
                <a:lnTo>
                  <a:pt x="2118" y="1441"/>
                </a:lnTo>
                <a:lnTo>
                  <a:pt x="2120" y="1421"/>
                </a:lnTo>
                <a:lnTo>
                  <a:pt x="2124" y="1383"/>
                </a:lnTo>
                <a:lnTo>
                  <a:pt x="2126" y="1363"/>
                </a:lnTo>
                <a:lnTo>
                  <a:pt x="2129" y="1347"/>
                </a:lnTo>
                <a:lnTo>
                  <a:pt x="2135" y="1313"/>
                </a:lnTo>
                <a:lnTo>
                  <a:pt x="2139" y="1297"/>
                </a:lnTo>
                <a:lnTo>
                  <a:pt x="2143" y="1283"/>
                </a:lnTo>
                <a:lnTo>
                  <a:pt x="2147" y="1269"/>
                </a:lnTo>
                <a:lnTo>
                  <a:pt x="2151" y="1255"/>
                </a:lnTo>
                <a:lnTo>
                  <a:pt x="2156" y="1243"/>
                </a:lnTo>
                <a:lnTo>
                  <a:pt x="2161" y="1231"/>
                </a:lnTo>
                <a:lnTo>
                  <a:pt x="2166" y="1220"/>
                </a:lnTo>
                <a:lnTo>
                  <a:pt x="2172" y="1210"/>
                </a:lnTo>
                <a:lnTo>
                  <a:pt x="2178" y="1200"/>
                </a:lnTo>
                <a:lnTo>
                  <a:pt x="2184" y="1192"/>
                </a:lnTo>
                <a:lnTo>
                  <a:pt x="2197" y="1176"/>
                </a:lnTo>
                <a:lnTo>
                  <a:pt x="2204" y="1170"/>
                </a:lnTo>
                <a:lnTo>
                  <a:pt x="2211" y="1164"/>
                </a:lnTo>
                <a:lnTo>
                  <a:pt x="2218" y="1160"/>
                </a:lnTo>
                <a:lnTo>
                  <a:pt x="2226" y="1156"/>
                </a:lnTo>
                <a:lnTo>
                  <a:pt x="2234" y="1152"/>
                </a:lnTo>
                <a:lnTo>
                  <a:pt x="2242" y="1150"/>
                </a:lnTo>
                <a:lnTo>
                  <a:pt x="2251" y="1148"/>
                </a:lnTo>
                <a:lnTo>
                  <a:pt x="2260" y="1148"/>
                </a:lnTo>
                <a:lnTo>
                  <a:pt x="2268" y="1148"/>
                </a:lnTo>
                <a:lnTo>
                  <a:pt x="2277" y="1150"/>
                </a:lnTo>
                <a:lnTo>
                  <a:pt x="2285" y="1152"/>
                </a:lnTo>
                <a:lnTo>
                  <a:pt x="2293" y="1156"/>
                </a:lnTo>
                <a:lnTo>
                  <a:pt x="2301" y="1160"/>
                </a:lnTo>
                <a:lnTo>
                  <a:pt x="2308" y="1164"/>
                </a:lnTo>
                <a:lnTo>
                  <a:pt x="2316" y="1170"/>
                </a:lnTo>
                <a:lnTo>
                  <a:pt x="2323" y="1176"/>
                </a:lnTo>
                <a:lnTo>
                  <a:pt x="2329" y="1184"/>
                </a:lnTo>
                <a:lnTo>
                  <a:pt x="2336" y="1192"/>
                </a:lnTo>
                <a:lnTo>
                  <a:pt x="2342" y="1200"/>
                </a:lnTo>
                <a:lnTo>
                  <a:pt x="2348" y="1210"/>
                </a:lnTo>
                <a:lnTo>
                  <a:pt x="2353" y="1220"/>
                </a:lnTo>
                <a:lnTo>
                  <a:pt x="2359" y="1229"/>
                </a:lnTo>
                <a:lnTo>
                  <a:pt x="2364" y="1241"/>
                </a:lnTo>
                <a:lnTo>
                  <a:pt x="2368" y="1255"/>
                </a:lnTo>
                <a:lnTo>
                  <a:pt x="2377" y="1283"/>
                </a:lnTo>
                <a:lnTo>
                  <a:pt x="2381" y="1297"/>
                </a:lnTo>
                <a:lnTo>
                  <a:pt x="2385" y="1313"/>
                </a:lnTo>
                <a:lnTo>
                  <a:pt x="2391" y="1345"/>
                </a:lnTo>
                <a:lnTo>
                  <a:pt x="2394" y="1363"/>
                </a:lnTo>
                <a:lnTo>
                  <a:pt x="2396" y="1381"/>
                </a:lnTo>
                <a:lnTo>
                  <a:pt x="2398" y="1401"/>
                </a:lnTo>
                <a:lnTo>
                  <a:pt x="2400" y="1421"/>
                </a:lnTo>
                <a:lnTo>
                  <a:pt x="2402" y="1441"/>
                </a:lnTo>
                <a:lnTo>
                  <a:pt x="2403" y="1461"/>
                </a:lnTo>
                <a:lnTo>
                  <a:pt x="2404" y="1483"/>
                </a:lnTo>
                <a:lnTo>
                  <a:pt x="2405" y="1505"/>
                </a:lnTo>
                <a:lnTo>
                  <a:pt x="2405" y="1527"/>
                </a:lnTo>
                <a:lnTo>
                  <a:pt x="2406" y="1551"/>
                </a:lnTo>
                <a:lnTo>
                  <a:pt x="2405" y="1597"/>
                </a:lnTo>
                <a:lnTo>
                  <a:pt x="2403" y="1641"/>
                </a:lnTo>
                <a:lnTo>
                  <a:pt x="2402" y="1663"/>
                </a:lnTo>
                <a:lnTo>
                  <a:pt x="2400" y="1683"/>
                </a:lnTo>
                <a:lnTo>
                  <a:pt x="2396" y="1720"/>
                </a:lnTo>
                <a:lnTo>
                  <a:pt x="2394" y="1738"/>
                </a:lnTo>
                <a:lnTo>
                  <a:pt x="2391" y="1756"/>
                </a:lnTo>
                <a:lnTo>
                  <a:pt x="2388" y="1772"/>
                </a:lnTo>
                <a:lnTo>
                  <a:pt x="2385" y="1790"/>
                </a:lnTo>
                <a:lnTo>
                  <a:pt x="2381" y="1804"/>
                </a:lnTo>
                <a:lnTo>
                  <a:pt x="2377" y="1820"/>
                </a:lnTo>
                <a:lnTo>
                  <a:pt x="2373" y="1834"/>
                </a:lnTo>
                <a:lnTo>
                  <a:pt x="2368" y="1846"/>
                </a:lnTo>
                <a:lnTo>
                  <a:pt x="2364" y="1860"/>
                </a:lnTo>
                <a:lnTo>
                  <a:pt x="2359" y="1872"/>
                </a:lnTo>
                <a:lnTo>
                  <a:pt x="2353" y="1882"/>
                </a:lnTo>
                <a:lnTo>
                  <a:pt x="2348" y="1894"/>
                </a:lnTo>
                <a:lnTo>
                  <a:pt x="2342" y="1902"/>
                </a:lnTo>
                <a:lnTo>
                  <a:pt x="2336" y="1912"/>
                </a:lnTo>
                <a:lnTo>
                  <a:pt x="2329" y="1920"/>
                </a:lnTo>
                <a:lnTo>
                  <a:pt x="2323" y="1926"/>
                </a:lnTo>
                <a:lnTo>
                  <a:pt x="2316" y="1934"/>
                </a:lnTo>
                <a:lnTo>
                  <a:pt x="2308" y="1938"/>
                </a:lnTo>
                <a:lnTo>
                  <a:pt x="2301" y="1944"/>
                </a:lnTo>
                <a:lnTo>
                  <a:pt x="2293" y="1948"/>
                </a:lnTo>
                <a:lnTo>
                  <a:pt x="2285" y="1950"/>
                </a:lnTo>
                <a:lnTo>
                  <a:pt x="2277" y="1952"/>
                </a:lnTo>
                <a:lnTo>
                  <a:pt x="2268" y="1954"/>
                </a:lnTo>
                <a:lnTo>
                  <a:pt x="2260" y="1954"/>
                </a:lnTo>
                <a:close/>
                <a:moveTo>
                  <a:pt x="2260" y="1257"/>
                </a:moveTo>
                <a:lnTo>
                  <a:pt x="2251" y="1257"/>
                </a:lnTo>
                <a:lnTo>
                  <a:pt x="2246" y="1259"/>
                </a:lnTo>
                <a:lnTo>
                  <a:pt x="2242" y="1259"/>
                </a:lnTo>
                <a:lnTo>
                  <a:pt x="2234" y="1265"/>
                </a:lnTo>
                <a:lnTo>
                  <a:pt x="2227" y="1271"/>
                </a:lnTo>
                <a:lnTo>
                  <a:pt x="2223" y="1275"/>
                </a:lnTo>
                <a:lnTo>
                  <a:pt x="2220" y="1281"/>
                </a:lnTo>
                <a:lnTo>
                  <a:pt x="2216" y="1287"/>
                </a:lnTo>
                <a:lnTo>
                  <a:pt x="2213" y="1293"/>
                </a:lnTo>
                <a:lnTo>
                  <a:pt x="2210" y="1299"/>
                </a:lnTo>
                <a:lnTo>
                  <a:pt x="2207" y="1307"/>
                </a:lnTo>
                <a:lnTo>
                  <a:pt x="2201" y="1323"/>
                </a:lnTo>
                <a:lnTo>
                  <a:pt x="2199" y="1331"/>
                </a:lnTo>
                <a:lnTo>
                  <a:pt x="2196" y="1341"/>
                </a:lnTo>
                <a:lnTo>
                  <a:pt x="2192" y="1363"/>
                </a:lnTo>
                <a:lnTo>
                  <a:pt x="2188" y="1387"/>
                </a:lnTo>
                <a:lnTo>
                  <a:pt x="2187" y="1399"/>
                </a:lnTo>
                <a:lnTo>
                  <a:pt x="2185" y="1413"/>
                </a:lnTo>
                <a:lnTo>
                  <a:pt x="2183" y="1443"/>
                </a:lnTo>
                <a:lnTo>
                  <a:pt x="2181" y="1477"/>
                </a:lnTo>
                <a:lnTo>
                  <a:pt x="2180" y="1513"/>
                </a:lnTo>
                <a:lnTo>
                  <a:pt x="2180" y="1551"/>
                </a:lnTo>
                <a:lnTo>
                  <a:pt x="2180" y="1591"/>
                </a:lnTo>
                <a:lnTo>
                  <a:pt x="2181" y="1627"/>
                </a:lnTo>
                <a:lnTo>
                  <a:pt x="2183" y="1659"/>
                </a:lnTo>
                <a:lnTo>
                  <a:pt x="2185" y="1689"/>
                </a:lnTo>
                <a:lnTo>
                  <a:pt x="2188" y="1714"/>
                </a:lnTo>
                <a:lnTo>
                  <a:pt x="2192" y="1738"/>
                </a:lnTo>
                <a:lnTo>
                  <a:pt x="2196" y="1760"/>
                </a:lnTo>
                <a:lnTo>
                  <a:pt x="2201" y="1780"/>
                </a:lnTo>
                <a:lnTo>
                  <a:pt x="2207" y="1796"/>
                </a:lnTo>
                <a:lnTo>
                  <a:pt x="2213" y="1810"/>
                </a:lnTo>
                <a:lnTo>
                  <a:pt x="2220" y="1820"/>
                </a:lnTo>
                <a:lnTo>
                  <a:pt x="2227" y="1830"/>
                </a:lnTo>
                <a:lnTo>
                  <a:pt x="2234" y="1836"/>
                </a:lnTo>
                <a:lnTo>
                  <a:pt x="2242" y="1842"/>
                </a:lnTo>
                <a:lnTo>
                  <a:pt x="2251" y="1844"/>
                </a:lnTo>
                <a:lnTo>
                  <a:pt x="2260" y="1846"/>
                </a:lnTo>
                <a:lnTo>
                  <a:pt x="2269" y="1844"/>
                </a:lnTo>
                <a:lnTo>
                  <a:pt x="2273" y="1844"/>
                </a:lnTo>
                <a:lnTo>
                  <a:pt x="2277" y="1842"/>
                </a:lnTo>
                <a:lnTo>
                  <a:pt x="2285" y="1836"/>
                </a:lnTo>
                <a:lnTo>
                  <a:pt x="2293" y="1830"/>
                </a:lnTo>
                <a:lnTo>
                  <a:pt x="2296" y="1826"/>
                </a:lnTo>
                <a:lnTo>
                  <a:pt x="2300" y="1820"/>
                </a:lnTo>
                <a:lnTo>
                  <a:pt x="2306" y="1808"/>
                </a:lnTo>
                <a:lnTo>
                  <a:pt x="2309" y="1802"/>
                </a:lnTo>
                <a:lnTo>
                  <a:pt x="2312" y="1796"/>
                </a:lnTo>
                <a:lnTo>
                  <a:pt x="2318" y="1778"/>
                </a:lnTo>
                <a:lnTo>
                  <a:pt x="2320" y="1770"/>
                </a:lnTo>
                <a:lnTo>
                  <a:pt x="2323" y="1760"/>
                </a:lnTo>
                <a:lnTo>
                  <a:pt x="2327" y="1738"/>
                </a:lnTo>
                <a:lnTo>
                  <a:pt x="2331" y="1714"/>
                </a:lnTo>
                <a:lnTo>
                  <a:pt x="2332" y="1703"/>
                </a:lnTo>
                <a:lnTo>
                  <a:pt x="2334" y="1689"/>
                </a:lnTo>
                <a:lnTo>
                  <a:pt x="2336" y="1659"/>
                </a:lnTo>
                <a:lnTo>
                  <a:pt x="2338" y="1625"/>
                </a:lnTo>
                <a:lnTo>
                  <a:pt x="2339" y="1591"/>
                </a:lnTo>
                <a:lnTo>
                  <a:pt x="2340" y="1551"/>
                </a:lnTo>
                <a:lnTo>
                  <a:pt x="2339" y="1513"/>
                </a:lnTo>
                <a:lnTo>
                  <a:pt x="2338" y="1477"/>
                </a:lnTo>
                <a:lnTo>
                  <a:pt x="2336" y="1443"/>
                </a:lnTo>
                <a:lnTo>
                  <a:pt x="2334" y="1415"/>
                </a:lnTo>
                <a:lnTo>
                  <a:pt x="2331" y="1387"/>
                </a:lnTo>
                <a:lnTo>
                  <a:pt x="2327" y="1363"/>
                </a:lnTo>
                <a:lnTo>
                  <a:pt x="2323" y="1341"/>
                </a:lnTo>
                <a:lnTo>
                  <a:pt x="2318" y="1323"/>
                </a:lnTo>
                <a:lnTo>
                  <a:pt x="2312" y="1307"/>
                </a:lnTo>
                <a:lnTo>
                  <a:pt x="2306" y="1293"/>
                </a:lnTo>
                <a:lnTo>
                  <a:pt x="2300" y="1281"/>
                </a:lnTo>
                <a:lnTo>
                  <a:pt x="2293" y="1271"/>
                </a:lnTo>
                <a:lnTo>
                  <a:pt x="2285" y="1265"/>
                </a:lnTo>
                <a:lnTo>
                  <a:pt x="2277" y="1259"/>
                </a:lnTo>
                <a:lnTo>
                  <a:pt x="2273" y="1259"/>
                </a:lnTo>
                <a:lnTo>
                  <a:pt x="2269" y="1257"/>
                </a:lnTo>
                <a:lnTo>
                  <a:pt x="2260" y="1257"/>
                </a:lnTo>
                <a:close/>
                <a:moveTo>
                  <a:pt x="2485" y="1936"/>
                </a:moveTo>
                <a:lnTo>
                  <a:pt x="2485" y="1166"/>
                </a:lnTo>
                <a:lnTo>
                  <a:pt x="2549" y="1166"/>
                </a:lnTo>
                <a:lnTo>
                  <a:pt x="2549" y="1828"/>
                </a:lnTo>
                <a:lnTo>
                  <a:pt x="2709" y="1828"/>
                </a:lnTo>
                <a:lnTo>
                  <a:pt x="2709" y="1936"/>
                </a:lnTo>
                <a:lnTo>
                  <a:pt x="2485" y="1936"/>
                </a:lnTo>
                <a:close/>
                <a:moveTo>
                  <a:pt x="2769" y="1936"/>
                </a:moveTo>
                <a:lnTo>
                  <a:pt x="2769" y="1166"/>
                </a:lnTo>
                <a:lnTo>
                  <a:pt x="2835" y="1166"/>
                </a:lnTo>
                <a:lnTo>
                  <a:pt x="2835" y="1828"/>
                </a:lnTo>
                <a:lnTo>
                  <a:pt x="2994" y="1828"/>
                </a:lnTo>
                <a:lnTo>
                  <a:pt x="2994" y="1936"/>
                </a:lnTo>
                <a:lnTo>
                  <a:pt x="2769" y="1936"/>
                </a:lnTo>
                <a:close/>
                <a:moveTo>
                  <a:pt x="3055" y="1166"/>
                </a:moveTo>
                <a:lnTo>
                  <a:pt x="3120" y="1166"/>
                </a:lnTo>
                <a:lnTo>
                  <a:pt x="3120" y="1936"/>
                </a:lnTo>
                <a:lnTo>
                  <a:pt x="3055" y="1936"/>
                </a:lnTo>
                <a:lnTo>
                  <a:pt x="3055" y="1166"/>
                </a:lnTo>
                <a:close/>
                <a:moveTo>
                  <a:pt x="3337" y="1954"/>
                </a:moveTo>
                <a:lnTo>
                  <a:pt x="3321" y="1954"/>
                </a:lnTo>
                <a:lnTo>
                  <a:pt x="3305" y="1950"/>
                </a:lnTo>
                <a:lnTo>
                  <a:pt x="3291" y="1944"/>
                </a:lnTo>
                <a:lnTo>
                  <a:pt x="3284" y="1940"/>
                </a:lnTo>
                <a:lnTo>
                  <a:pt x="3278" y="1936"/>
                </a:lnTo>
                <a:lnTo>
                  <a:pt x="3266" y="1928"/>
                </a:lnTo>
                <a:lnTo>
                  <a:pt x="3260" y="1922"/>
                </a:lnTo>
                <a:lnTo>
                  <a:pt x="3255" y="1916"/>
                </a:lnTo>
                <a:lnTo>
                  <a:pt x="3245" y="1902"/>
                </a:lnTo>
                <a:lnTo>
                  <a:pt x="3241" y="1896"/>
                </a:lnTo>
                <a:lnTo>
                  <a:pt x="3236" y="1888"/>
                </a:lnTo>
                <a:lnTo>
                  <a:pt x="3232" y="1880"/>
                </a:lnTo>
                <a:lnTo>
                  <a:pt x="3229" y="1872"/>
                </a:lnTo>
                <a:lnTo>
                  <a:pt x="3225" y="1864"/>
                </a:lnTo>
                <a:lnTo>
                  <a:pt x="3222" y="1854"/>
                </a:lnTo>
                <a:lnTo>
                  <a:pt x="3216" y="1834"/>
                </a:lnTo>
                <a:lnTo>
                  <a:pt x="3211" y="1814"/>
                </a:lnTo>
                <a:lnTo>
                  <a:pt x="3210" y="1804"/>
                </a:lnTo>
                <a:lnTo>
                  <a:pt x="3208" y="1792"/>
                </a:lnTo>
                <a:lnTo>
                  <a:pt x="3205" y="1770"/>
                </a:lnTo>
                <a:lnTo>
                  <a:pt x="3203" y="1746"/>
                </a:lnTo>
                <a:lnTo>
                  <a:pt x="3203" y="1732"/>
                </a:lnTo>
                <a:lnTo>
                  <a:pt x="3203" y="1720"/>
                </a:lnTo>
                <a:lnTo>
                  <a:pt x="3265" y="1693"/>
                </a:lnTo>
                <a:lnTo>
                  <a:pt x="3266" y="1714"/>
                </a:lnTo>
                <a:lnTo>
                  <a:pt x="3267" y="1734"/>
                </a:lnTo>
                <a:lnTo>
                  <a:pt x="3269" y="1750"/>
                </a:lnTo>
                <a:lnTo>
                  <a:pt x="3271" y="1766"/>
                </a:lnTo>
                <a:lnTo>
                  <a:pt x="3273" y="1774"/>
                </a:lnTo>
                <a:lnTo>
                  <a:pt x="3274" y="1782"/>
                </a:lnTo>
                <a:lnTo>
                  <a:pt x="3278" y="1794"/>
                </a:lnTo>
                <a:lnTo>
                  <a:pt x="3282" y="1804"/>
                </a:lnTo>
                <a:lnTo>
                  <a:pt x="3286" y="1814"/>
                </a:lnTo>
                <a:lnTo>
                  <a:pt x="3291" y="1824"/>
                </a:lnTo>
                <a:lnTo>
                  <a:pt x="3297" y="1830"/>
                </a:lnTo>
                <a:lnTo>
                  <a:pt x="3303" y="1836"/>
                </a:lnTo>
                <a:lnTo>
                  <a:pt x="3310" y="1840"/>
                </a:lnTo>
                <a:lnTo>
                  <a:pt x="3317" y="1844"/>
                </a:lnTo>
                <a:lnTo>
                  <a:pt x="3324" y="1846"/>
                </a:lnTo>
                <a:lnTo>
                  <a:pt x="3332" y="1848"/>
                </a:lnTo>
                <a:lnTo>
                  <a:pt x="3341" y="1848"/>
                </a:lnTo>
                <a:lnTo>
                  <a:pt x="3348" y="1848"/>
                </a:lnTo>
                <a:lnTo>
                  <a:pt x="3355" y="1846"/>
                </a:lnTo>
                <a:lnTo>
                  <a:pt x="3362" y="1844"/>
                </a:lnTo>
                <a:lnTo>
                  <a:pt x="3368" y="1842"/>
                </a:lnTo>
                <a:lnTo>
                  <a:pt x="3374" y="1838"/>
                </a:lnTo>
                <a:lnTo>
                  <a:pt x="3380" y="1832"/>
                </a:lnTo>
                <a:lnTo>
                  <a:pt x="3385" y="1826"/>
                </a:lnTo>
                <a:lnTo>
                  <a:pt x="3390" y="1820"/>
                </a:lnTo>
                <a:lnTo>
                  <a:pt x="3394" y="1812"/>
                </a:lnTo>
                <a:lnTo>
                  <a:pt x="3398" y="1804"/>
                </a:lnTo>
                <a:lnTo>
                  <a:pt x="3401" y="1796"/>
                </a:lnTo>
                <a:lnTo>
                  <a:pt x="3404" y="1786"/>
                </a:lnTo>
                <a:lnTo>
                  <a:pt x="3406" y="1774"/>
                </a:lnTo>
                <a:lnTo>
                  <a:pt x="3407" y="1770"/>
                </a:lnTo>
                <a:lnTo>
                  <a:pt x="3408" y="1764"/>
                </a:lnTo>
                <a:lnTo>
                  <a:pt x="3409" y="1752"/>
                </a:lnTo>
                <a:lnTo>
                  <a:pt x="3409" y="1738"/>
                </a:lnTo>
                <a:lnTo>
                  <a:pt x="3409" y="1728"/>
                </a:lnTo>
                <a:lnTo>
                  <a:pt x="3408" y="1718"/>
                </a:lnTo>
                <a:lnTo>
                  <a:pt x="3407" y="1711"/>
                </a:lnTo>
                <a:lnTo>
                  <a:pt x="3406" y="1701"/>
                </a:lnTo>
                <a:lnTo>
                  <a:pt x="3404" y="1693"/>
                </a:lnTo>
                <a:lnTo>
                  <a:pt x="3402" y="1685"/>
                </a:lnTo>
                <a:lnTo>
                  <a:pt x="3400" y="1677"/>
                </a:lnTo>
                <a:lnTo>
                  <a:pt x="3396" y="1669"/>
                </a:lnTo>
                <a:lnTo>
                  <a:pt x="3389" y="1653"/>
                </a:lnTo>
                <a:lnTo>
                  <a:pt x="3385" y="1645"/>
                </a:lnTo>
                <a:lnTo>
                  <a:pt x="3380" y="1639"/>
                </a:lnTo>
                <a:lnTo>
                  <a:pt x="3369" y="1625"/>
                </a:lnTo>
                <a:lnTo>
                  <a:pt x="3356" y="1613"/>
                </a:lnTo>
                <a:lnTo>
                  <a:pt x="3292" y="1555"/>
                </a:lnTo>
                <a:lnTo>
                  <a:pt x="3282" y="1547"/>
                </a:lnTo>
                <a:lnTo>
                  <a:pt x="3273" y="1537"/>
                </a:lnTo>
                <a:lnTo>
                  <a:pt x="3257" y="1517"/>
                </a:lnTo>
                <a:lnTo>
                  <a:pt x="3243" y="1497"/>
                </a:lnTo>
                <a:lnTo>
                  <a:pt x="3237" y="1485"/>
                </a:lnTo>
                <a:lnTo>
                  <a:pt x="3232" y="1473"/>
                </a:lnTo>
                <a:lnTo>
                  <a:pt x="3227" y="1461"/>
                </a:lnTo>
                <a:lnTo>
                  <a:pt x="3223" y="1447"/>
                </a:lnTo>
                <a:lnTo>
                  <a:pt x="3220" y="1433"/>
                </a:lnTo>
                <a:lnTo>
                  <a:pt x="3217" y="1417"/>
                </a:lnTo>
                <a:lnTo>
                  <a:pt x="3215" y="1401"/>
                </a:lnTo>
                <a:lnTo>
                  <a:pt x="3214" y="1393"/>
                </a:lnTo>
                <a:lnTo>
                  <a:pt x="3213" y="1385"/>
                </a:lnTo>
                <a:lnTo>
                  <a:pt x="3212" y="1367"/>
                </a:lnTo>
                <a:lnTo>
                  <a:pt x="3212" y="1347"/>
                </a:lnTo>
                <a:lnTo>
                  <a:pt x="3212" y="1335"/>
                </a:lnTo>
                <a:lnTo>
                  <a:pt x="3213" y="1323"/>
                </a:lnTo>
                <a:lnTo>
                  <a:pt x="3214" y="1311"/>
                </a:lnTo>
                <a:lnTo>
                  <a:pt x="3215" y="1299"/>
                </a:lnTo>
                <a:lnTo>
                  <a:pt x="3216" y="1289"/>
                </a:lnTo>
                <a:lnTo>
                  <a:pt x="3218" y="1279"/>
                </a:lnTo>
                <a:lnTo>
                  <a:pt x="3222" y="1259"/>
                </a:lnTo>
                <a:lnTo>
                  <a:pt x="3225" y="1249"/>
                </a:lnTo>
                <a:lnTo>
                  <a:pt x="3228" y="1241"/>
                </a:lnTo>
                <a:lnTo>
                  <a:pt x="3234" y="1225"/>
                </a:lnTo>
                <a:lnTo>
                  <a:pt x="3241" y="1210"/>
                </a:lnTo>
                <a:lnTo>
                  <a:pt x="3245" y="1204"/>
                </a:lnTo>
                <a:lnTo>
                  <a:pt x="3250" y="1198"/>
                </a:lnTo>
                <a:lnTo>
                  <a:pt x="3259" y="1186"/>
                </a:lnTo>
                <a:lnTo>
                  <a:pt x="3269" y="1176"/>
                </a:lnTo>
                <a:lnTo>
                  <a:pt x="3279" y="1166"/>
                </a:lnTo>
                <a:lnTo>
                  <a:pt x="3290" y="1160"/>
                </a:lnTo>
                <a:lnTo>
                  <a:pt x="3302" y="1154"/>
                </a:lnTo>
                <a:lnTo>
                  <a:pt x="3314" y="1150"/>
                </a:lnTo>
                <a:lnTo>
                  <a:pt x="3327" y="1148"/>
                </a:lnTo>
                <a:lnTo>
                  <a:pt x="3340" y="1148"/>
                </a:lnTo>
                <a:lnTo>
                  <a:pt x="3355" y="1150"/>
                </a:lnTo>
                <a:lnTo>
                  <a:pt x="3370" y="1152"/>
                </a:lnTo>
                <a:lnTo>
                  <a:pt x="3383" y="1158"/>
                </a:lnTo>
                <a:lnTo>
                  <a:pt x="3389" y="1162"/>
                </a:lnTo>
                <a:lnTo>
                  <a:pt x="3395" y="1166"/>
                </a:lnTo>
                <a:lnTo>
                  <a:pt x="3407" y="1174"/>
                </a:lnTo>
                <a:lnTo>
                  <a:pt x="3417" y="1186"/>
                </a:lnTo>
                <a:lnTo>
                  <a:pt x="3426" y="1198"/>
                </a:lnTo>
                <a:lnTo>
                  <a:pt x="3434" y="1212"/>
                </a:lnTo>
                <a:lnTo>
                  <a:pt x="3438" y="1218"/>
                </a:lnTo>
                <a:lnTo>
                  <a:pt x="3441" y="1225"/>
                </a:lnTo>
                <a:lnTo>
                  <a:pt x="3444" y="1233"/>
                </a:lnTo>
                <a:lnTo>
                  <a:pt x="3447" y="1241"/>
                </a:lnTo>
                <a:lnTo>
                  <a:pt x="3452" y="1259"/>
                </a:lnTo>
                <a:lnTo>
                  <a:pt x="3457" y="1275"/>
                </a:lnTo>
                <a:lnTo>
                  <a:pt x="3460" y="1293"/>
                </a:lnTo>
                <a:lnTo>
                  <a:pt x="3462" y="1313"/>
                </a:lnTo>
                <a:lnTo>
                  <a:pt x="3464" y="1331"/>
                </a:lnTo>
                <a:lnTo>
                  <a:pt x="3464" y="1349"/>
                </a:lnTo>
                <a:lnTo>
                  <a:pt x="3402" y="1375"/>
                </a:lnTo>
                <a:lnTo>
                  <a:pt x="3402" y="1359"/>
                </a:lnTo>
                <a:lnTo>
                  <a:pt x="3400" y="1345"/>
                </a:lnTo>
                <a:lnTo>
                  <a:pt x="3399" y="1331"/>
                </a:lnTo>
                <a:lnTo>
                  <a:pt x="3397" y="1319"/>
                </a:lnTo>
                <a:lnTo>
                  <a:pt x="3394" y="1309"/>
                </a:lnTo>
                <a:lnTo>
                  <a:pt x="3391" y="1299"/>
                </a:lnTo>
                <a:lnTo>
                  <a:pt x="3388" y="1289"/>
                </a:lnTo>
                <a:lnTo>
                  <a:pt x="3384" y="1281"/>
                </a:lnTo>
                <a:lnTo>
                  <a:pt x="3380" y="1275"/>
                </a:lnTo>
                <a:lnTo>
                  <a:pt x="3375" y="1269"/>
                </a:lnTo>
                <a:lnTo>
                  <a:pt x="3370" y="1265"/>
                </a:lnTo>
                <a:lnTo>
                  <a:pt x="3364" y="1261"/>
                </a:lnTo>
                <a:lnTo>
                  <a:pt x="3358" y="1257"/>
                </a:lnTo>
                <a:lnTo>
                  <a:pt x="3352" y="1255"/>
                </a:lnTo>
                <a:lnTo>
                  <a:pt x="3345" y="1255"/>
                </a:lnTo>
                <a:lnTo>
                  <a:pt x="3337" y="1253"/>
                </a:lnTo>
                <a:lnTo>
                  <a:pt x="3325" y="1255"/>
                </a:lnTo>
                <a:lnTo>
                  <a:pt x="3313" y="1259"/>
                </a:lnTo>
                <a:lnTo>
                  <a:pt x="3308" y="1263"/>
                </a:lnTo>
                <a:lnTo>
                  <a:pt x="3303" y="1267"/>
                </a:lnTo>
                <a:lnTo>
                  <a:pt x="3298" y="1271"/>
                </a:lnTo>
                <a:lnTo>
                  <a:pt x="3294" y="1275"/>
                </a:lnTo>
                <a:lnTo>
                  <a:pt x="3290" y="1281"/>
                </a:lnTo>
                <a:lnTo>
                  <a:pt x="3287" y="1287"/>
                </a:lnTo>
                <a:lnTo>
                  <a:pt x="3284" y="1295"/>
                </a:lnTo>
                <a:lnTo>
                  <a:pt x="3281" y="1303"/>
                </a:lnTo>
                <a:lnTo>
                  <a:pt x="3279" y="1311"/>
                </a:lnTo>
                <a:lnTo>
                  <a:pt x="3278" y="1321"/>
                </a:lnTo>
                <a:lnTo>
                  <a:pt x="3277" y="1331"/>
                </a:lnTo>
                <a:lnTo>
                  <a:pt x="3276" y="1341"/>
                </a:lnTo>
                <a:lnTo>
                  <a:pt x="3277" y="1351"/>
                </a:lnTo>
                <a:lnTo>
                  <a:pt x="3277" y="1361"/>
                </a:lnTo>
                <a:lnTo>
                  <a:pt x="3278" y="1371"/>
                </a:lnTo>
                <a:lnTo>
                  <a:pt x="3279" y="1379"/>
                </a:lnTo>
                <a:lnTo>
                  <a:pt x="3281" y="1387"/>
                </a:lnTo>
                <a:lnTo>
                  <a:pt x="3283" y="1395"/>
                </a:lnTo>
                <a:lnTo>
                  <a:pt x="3286" y="1403"/>
                </a:lnTo>
                <a:lnTo>
                  <a:pt x="3288" y="1409"/>
                </a:lnTo>
                <a:lnTo>
                  <a:pt x="3292" y="1415"/>
                </a:lnTo>
                <a:lnTo>
                  <a:pt x="3295" y="1421"/>
                </a:lnTo>
                <a:lnTo>
                  <a:pt x="3304" y="1433"/>
                </a:lnTo>
                <a:lnTo>
                  <a:pt x="3314" y="1445"/>
                </a:lnTo>
                <a:lnTo>
                  <a:pt x="3326" y="1457"/>
                </a:lnTo>
                <a:lnTo>
                  <a:pt x="3388" y="1511"/>
                </a:lnTo>
                <a:lnTo>
                  <a:pt x="3398" y="1521"/>
                </a:lnTo>
                <a:lnTo>
                  <a:pt x="3408" y="1531"/>
                </a:lnTo>
                <a:lnTo>
                  <a:pt x="3418" y="1541"/>
                </a:lnTo>
                <a:lnTo>
                  <a:pt x="3426" y="1553"/>
                </a:lnTo>
                <a:lnTo>
                  <a:pt x="3434" y="1565"/>
                </a:lnTo>
                <a:lnTo>
                  <a:pt x="3441" y="1575"/>
                </a:lnTo>
                <a:lnTo>
                  <a:pt x="3447" y="1589"/>
                </a:lnTo>
                <a:lnTo>
                  <a:pt x="3453" y="1601"/>
                </a:lnTo>
                <a:lnTo>
                  <a:pt x="3458" y="1615"/>
                </a:lnTo>
                <a:lnTo>
                  <a:pt x="3462" y="1629"/>
                </a:lnTo>
                <a:lnTo>
                  <a:pt x="3466" y="1643"/>
                </a:lnTo>
                <a:lnTo>
                  <a:pt x="3469" y="1659"/>
                </a:lnTo>
                <a:lnTo>
                  <a:pt x="3471" y="1675"/>
                </a:lnTo>
                <a:lnTo>
                  <a:pt x="3472" y="1685"/>
                </a:lnTo>
                <a:lnTo>
                  <a:pt x="3472" y="1693"/>
                </a:lnTo>
                <a:lnTo>
                  <a:pt x="3473" y="1711"/>
                </a:lnTo>
                <a:lnTo>
                  <a:pt x="3474" y="1730"/>
                </a:lnTo>
                <a:lnTo>
                  <a:pt x="3473" y="1756"/>
                </a:lnTo>
                <a:lnTo>
                  <a:pt x="3471" y="1780"/>
                </a:lnTo>
                <a:lnTo>
                  <a:pt x="3470" y="1792"/>
                </a:lnTo>
                <a:lnTo>
                  <a:pt x="3468" y="1802"/>
                </a:lnTo>
                <a:lnTo>
                  <a:pt x="3466" y="1814"/>
                </a:lnTo>
                <a:lnTo>
                  <a:pt x="3464" y="1824"/>
                </a:lnTo>
                <a:lnTo>
                  <a:pt x="3461" y="1834"/>
                </a:lnTo>
                <a:lnTo>
                  <a:pt x="3459" y="1844"/>
                </a:lnTo>
                <a:lnTo>
                  <a:pt x="3452" y="1862"/>
                </a:lnTo>
                <a:lnTo>
                  <a:pt x="3449" y="1870"/>
                </a:lnTo>
                <a:lnTo>
                  <a:pt x="3445" y="1880"/>
                </a:lnTo>
                <a:lnTo>
                  <a:pt x="3437" y="1894"/>
                </a:lnTo>
                <a:lnTo>
                  <a:pt x="3432" y="1902"/>
                </a:lnTo>
                <a:lnTo>
                  <a:pt x="3427" y="1908"/>
                </a:lnTo>
                <a:lnTo>
                  <a:pt x="3422" y="1914"/>
                </a:lnTo>
                <a:lnTo>
                  <a:pt x="3417" y="1920"/>
                </a:lnTo>
                <a:lnTo>
                  <a:pt x="3406" y="1930"/>
                </a:lnTo>
                <a:lnTo>
                  <a:pt x="3394" y="1938"/>
                </a:lnTo>
                <a:lnTo>
                  <a:pt x="3381" y="1946"/>
                </a:lnTo>
                <a:lnTo>
                  <a:pt x="3367" y="1950"/>
                </a:lnTo>
                <a:lnTo>
                  <a:pt x="3360" y="1952"/>
                </a:lnTo>
                <a:lnTo>
                  <a:pt x="3353" y="1952"/>
                </a:lnTo>
                <a:lnTo>
                  <a:pt x="3337" y="1954"/>
                </a:lnTo>
                <a:close/>
                <a:moveTo>
                  <a:pt x="3582" y="1882"/>
                </a:moveTo>
                <a:lnTo>
                  <a:pt x="3574" y="1866"/>
                </a:lnTo>
                <a:lnTo>
                  <a:pt x="3567" y="1848"/>
                </a:lnTo>
                <a:lnTo>
                  <a:pt x="3562" y="1828"/>
                </a:lnTo>
                <a:lnTo>
                  <a:pt x="3559" y="1816"/>
                </a:lnTo>
                <a:lnTo>
                  <a:pt x="3557" y="1806"/>
                </a:lnTo>
                <a:lnTo>
                  <a:pt x="3554" y="1782"/>
                </a:lnTo>
                <a:lnTo>
                  <a:pt x="3551" y="1756"/>
                </a:lnTo>
                <a:lnTo>
                  <a:pt x="3550" y="1742"/>
                </a:lnTo>
                <a:lnTo>
                  <a:pt x="3550" y="1726"/>
                </a:lnTo>
                <a:lnTo>
                  <a:pt x="3549" y="1697"/>
                </a:lnTo>
                <a:lnTo>
                  <a:pt x="3549" y="1166"/>
                </a:lnTo>
                <a:lnTo>
                  <a:pt x="3615" y="1166"/>
                </a:lnTo>
                <a:lnTo>
                  <a:pt x="3615" y="1691"/>
                </a:lnTo>
                <a:lnTo>
                  <a:pt x="3615" y="1711"/>
                </a:lnTo>
                <a:lnTo>
                  <a:pt x="3616" y="1728"/>
                </a:lnTo>
                <a:lnTo>
                  <a:pt x="3617" y="1744"/>
                </a:lnTo>
                <a:lnTo>
                  <a:pt x="3618" y="1758"/>
                </a:lnTo>
                <a:lnTo>
                  <a:pt x="3620" y="1772"/>
                </a:lnTo>
                <a:lnTo>
                  <a:pt x="3623" y="1784"/>
                </a:lnTo>
                <a:lnTo>
                  <a:pt x="3625" y="1796"/>
                </a:lnTo>
                <a:lnTo>
                  <a:pt x="3629" y="1804"/>
                </a:lnTo>
                <a:lnTo>
                  <a:pt x="3633" y="1814"/>
                </a:lnTo>
                <a:lnTo>
                  <a:pt x="3637" y="1822"/>
                </a:lnTo>
                <a:lnTo>
                  <a:pt x="3643" y="1830"/>
                </a:lnTo>
                <a:lnTo>
                  <a:pt x="3649" y="1836"/>
                </a:lnTo>
                <a:lnTo>
                  <a:pt x="3652" y="1838"/>
                </a:lnTo>
                <a:lnTo>
                  <a:pt x="3655" y="1840"/>
                </a:lnTo>
                <a:lnTo>
                  <a:pt x="3662" y="1844"/>
                </a:lnTo>
                <a:lnTo>
                  <a:pt x="3670" y="1846"/>
                </a:lnTo>
                <a:lnTo>
                  <a:pt x="3678" y="1846"/>
                </a:lnTo>
                <a:lnTo>
                  <a:pt x="3686" y="1846"/>
                </a:lnTo>
                <a:lnTo>
                  <a:pt x="3694" y="1844"/>
                </a:lnTo>
                <a:lnTo>
                  <a:pt x="3701" y="1840"/>
                </a:lnTo>
                <a:lnTo>
                  <a:pt x="3708" y="1836"/>
                </a:lnTo>
                <a:lnTo>
                  <a:pt x="3713" y="1830"/>
                </a:lnTo>
                <a:lnTo>
                  <a:pt x="3719" y="1822"/>
                </a:lnTo>
                <a:lnTo>
                  <a:pt x="3723" y="1814"/>
                </a:lnTo>
                <a:lnTo>
                  <a:pt x="3728" y="1804"/>
                </a:lnTo>
                <a:lnTo>
                  <a:pt x="3731" y="1796"/>
                </a:lnTo>
                <a:lnTo>
                  <a:pt x="3734" y="1784"/>
                </a:lnTo>
                <a:lnTo>
                  <a:pt x="3736" y="1772"/>
                </a:lnTo>
                <a:lnTo>
                  <a:pt x="3738" y="1758"/>
                </a:lnTo>
                <a:lnTo>
                  <a:pt x="3740" y="1744"/>
                </a:lnTo>
                <a:lnTo>
                  <a:pt x="3741" y="1728"/>
                </a:lnTo>
                <a:lnTo>
                  <a:pt x="3741" y="1711"/>
                </a:lnTo>
                <a:lnTo>
                  <a:pt x="3741" y="1691"/>
                </a:lnTo>
                <a:lnTo>
                  <a:pt x="3741" y="1166"/>
                </a:lnTo>
                <a:lnTo>
                  <a:pt x="3807" y="1166"/>
                </a:lnTo>
                <a:lnTo>
                  <a:pt x="3807" y="1697"/>
                </a:lnTo>
                <a:lnTo>
                  <a:pt x="3806" y="1726"/>
                </a:lnTo>
                <a:lnTo>
                  <a:pt x="3805" y="1742"/>
                </a:lnTo>
                <a:lnTo>
                  <a:pt x="3805" y="1756"/>
                </a:lnTo>
                <a:lnTo>
                  <a:pt x="3802" y="1782"/>
                </a:lnTo>
                <a:lnTo>
                  <a:pt x="3798" y="1806"/>
                </a:lnTo>
                <a:lnTo>
                  <a:pt x="3796" y="1816"/>
                </a:lnTo>
                <a:lnTo>
                  <a:pt x="3794" y="1828"/>
                </a:lnTo>
                <a:lnTo>
                  <a:pt x="3788" y="1848"/>
                </a:lnTo>
                <a:lnTo>
                  <a:pt x="3785" y="1856"/>
                </a:lnTo>
                <a:lnTo>
                  <a:pt x="3782" y="1866"/>
                </a:lnTo>
                <a:lnTo>
                  <a:pt x="3779" y="1874"/>
                </a:lnTo>
                <a:lnTo>
                  <a:pt x="3775" y="1882"/>
                </a:lnTo>
                <a:lnTo>
                  <a:pt x="3771" y="1890"/>
                </a:lnTo>
                <a:lnTo>
                  <a:pt x="3766" y="1898"/>
                </a:lnTo>
                <a:lnTo>
                  <a:pt x="3756" y="1914"/>
                </a:lnTo>
                <a:lnTo>
                  <a:pt x="3745" y="1926"/>
                </a:lnTo>
                <a:lnTo>
                  <a:pt x="3739" y="1930"/>
                </a:lnTo>
                <a:lnTo>
                  <a:pt x="3733" y="1936"/>
                </a:lnTo>
                <a:lnTo>
                  <a:pt x="3720" y="1944"/>
                </a:lnTo>
                <a:lnTo>
                  <a:pt x="3714" y="1946"/>
                </a:lnTo>
                <a:lnTo>
                  <a:pt x="3707" y="1950"/>
                </a:lnTo>
                <a:lnTo>
                  <a:pt x="3693" y="1952"/>
                </a:lnTo>
                <a:lnTo>
                  <a:pt x="3685" y="1954"/>
                </a:lnTo>
                <a:lnTo>
                  <a:pt x="3678" y="1954"/>
                </a:lnTo>
                <a:lnTo>
                  <a:pt x="3663" y="1952"/>
                </a:lnTo>
                <a:lnTo>
                  <a:pt x="3649" y="1950"/>
                </a:lnTo>
                <a:lnTo>
                  <a:pt x="3643" y="1946"/>
                </a:lnTo>
                <a:lnTo>
                  <a:pt x="3636" y="1944"/>
                </a:lnTo>
                <a:lnTo>
                  <a:pt x="3624" y="1936"/>
                </a:lnTo>
                <a:lnTo>
                  <a:pt x="3612" y="1926"/>
                </a:lnTo>
                <a:lnTo>
                  <a:pt x="3601" y="1914"/>
                </a:lnTo>
                <a:lnTo>
                  <a:pt x="3591" y="1898"/>
                </a:lnTo>
                <a:lnTo>
                  <a:pt x="3586" y="1890"/>
                </a:lnTo>
                <a:lnTo>
                  <a:pt x="3582" y="1882"/>
                </a:lnTo>
                <a:close/>
                <a:moveTo>
                  <a:pt x="3934" y="1882"/>
                </a:moveTo>
                <a:lnTo>
                  <a:pt x="3927" y="1866"/>
                </a:lnTo>
                <a:lnTo>
                  <a:pt x="3920" y="1848"/>
                </a:lnTo>
                <a:lnTo>
                  <a:pt x="3915" y="1828"/>
                </a:lnTo>
                <a:lnTo>
                  <a:pt x="3912" y="1816"/>
                </a:lnTo>
                <a:lnTo>
                  <a:pt x="3910" y="1806"/>
                </a:lnTo>
                <a:lnTo>
                  <a:pt x="3907" y="1782"/>
                </a:lnTo>
                <a:lnTo>
                  <a:pt x="3904" y="1756"/>
                </a:lnTo>
                <a:lnTo>
                  <a:pt x="3903" y="1742"/>
                </a:lnTo>
                <a:lnTo>
                  <a:pt x="3903" y="1726"/>
                </a:lnTo>
                <a:lnTo>
                  <a:pt x="3902" y="1697"/>
                </a:lnTo>
                <a:lnTo>
                  <a:pt x="3902" y="1166"/>
                </a:lnTo>
                <a:lnTo>
                  <a:pt x="3968" y="1166"/>
                </a:lnTo>
                <a:lnTo>
                  <a:pt x="3968" y="1691"/>
                </a:lnTo>
                <a:lnTo>
                  <a:pt x="3968" y="1711"/>
                </a:lnTo>
                <a:lnTo>
                  <a:pt x="3969" y="1728"/>
                </a:lnTo>
                <a:lnTo>
                  <a:pt x="3970" y="1744"/>
                </a:lnTo>
                <a:lnTo>
                  <a:pt x="3972" y="1758"/>
                </a:lnTo>
                <a:lnTo>
                  <a:pt x="3973" y="1772"/>
                </a:lnTo>
                <a:lnTo>
                  <a:pt x="3976" y="1784"/>
                </a:lnTo>
                <a:lnTo>
                  <a:pt x="3979" y="1796"/>
                </a:lnTo>
                <a:lnTo>
                  <a:pt x="3982" y="1804"/>
                </a:lnTo>
                <a:lnTo>
                  <a:pt x="3986" y="1814"/>
                </a:lnTo>
                <a:lnTo>
                  <a:pt x="3991" y="1822"/>
                </a:lnTo>
                <a:lnTo>
                  <a:pt x="3996" y="1830"/>
                </a:lnTo>
                <a:lnTo>
                  <a:pt x="4002" y="1836"/>
                </a:lnTo>
                <a:lnTo>
                  <a:pt x="4005" y="1838"/>
                </a:lnTo>
                <a:lnTo>
                  <a:pt x="4008" y="1840"/>
                </a:lnTo>
                <a:lnTo>
                  <a:pt x="4015" y="1844"/>
                </a:lnTo>
                <a:lnTo>
                  <a:pt x="4023" y="1846"/>
                </a:lnTo>
                <a:lnTo>
                  <a:pt x="4031" y="1846"/>
                </a:lnTo>
                <a:lnTo>
                  <a:pt x="4040" y="1846"/>
                </a:lnTo>
                <a:lnTo>
                  <a:pt x="4047" y="1844"/>
                </a:lnTo>
                <a:lnTo>
                  <a:pt x="4054" y="1840"/>
                </a:lnTo>
                <a:lnTo>
                  <a:pt x="4061" y="1836"/>
                </a:lnTo>
                <a:lnTo>
                  <a:pt x="4067" y="1830"/>
                </a:lnTo>
                <a:lnTo>
                  <a:pt x="4072" y="1822"/>
                </a:lnTo>
                <a:lnTo>
                  <a:pt x="4077" y="1814"/>
                </a:lnTo>
                <a:lnTo>
                  <a:pt x="4081" y="1804"/>
                </a:lnTo>
                <a:lnTo>
                  <a:pt x="4084" y="1796"/>
                </a:lnTo>
                <a:lnTo>
                  <a:pt x="4087" y="1784"/>
                </a:lnTo>
                <a:lnTo>
                  <a:pt x="4090" y="1772"/>
                </a:lnTo>
                <a:lnTo>
                  <a:pt x="4091" y="1758"/>
                </a:lnTo>
                <a:lnTo>
                  <a:pt x="4093" y="1744"/>
                </a:lnTo>
                <a:lnTo>
                  <a:pt x="4094" y="1728"/>
                </a:lnTo>
                <a:lnTo>
                  <a:pt x="4094" y="1711"/>
                </a:lnTo>
                <a:lnTo>
                  <a:pt x="4094" y="1691"/>
                </a:lnTo>
                <a:lnTo>
                  <a:pt x="4094" y="1166"/>
                </a:lnTo>
                <a:lnTo>
                  <a:pt x="4160" y="1166"/>
                </a:lnTo>
                <a:lnTo>
                  <a:pt x="4160" y="1697"/>
                </a:lnTo>
                <a:lnTo>
                  <a:pt x="4159" y="1726"/>
                </a:lnTo>
                <a:lnTo>
                  <a:pt x="4159" y="1742"/>
                </a:lnTo>
                <a:lnTo>
                  <a:pt x="4158" y="1756"/>
                </a:lnTo>
                <a:lnTo>
                  <a:pt x="4155" y="1782"/>
                </a:lnTo>
                <a:lnTo>
                  <a:pt x="4152" y="1806"/>
                </a:lnTo>
                <a:lnTo>
                  <a:pt x="4149" y="1816"/>
                </a:lnTo>
                <a:lnTo>
                  <a:pt x="4147" y="1828"/>
                </a:lnTo>
                <a:lnTo>
                  <a:pt x="4142" y="1848"/>
                </a:lnTo>
                <a:lnTo>
                  <a:pt x="4139" y="1856"/>
                </a:lnTo>
                <a:lnTo>
                  <a:pt x="4135" y="1866"/>
                </a:lnTo>
                <a:lnTo>
                  <a:pt x="4132" y="1874"/>
                </a:lnTo>
                <a:lnTo>
                  <a:pt x="4128" y="1882"/>
                </a:lnTo>
                <a:lnTo>
                  <a:pt x="4124" y="1890"/>
                </a:lnTo>
                <a:lnTo>
                  <a:pt x="4119" y="1898"/>
                </a:lnTo>
                <a:lnTo>
                  <a:pt x="4109" y="1914"/>
                </a:lnTo>
                <a:lnTo>
                  <a:pt x="4098" y="1926"/>
                </a:lnTo>
                <a:lnTo>
                  <a:pt x="4092" y="1930"/>
                </a:lnTo>
                <a:lnTo>
                  <a:pt x="4086" y="1936"/>
                </a:lnTo>
                <a:lnTo>
                  <a:pt x="4073" y="1944"/>
                </a:lnTo>
                <a:lnTo>
                  <a:pt x="4067" y="1946"/>
                </a:lnTo>
                <a:lnTo>
                  <a:pt x="4060" y="1950"/>
                </a:lnTo>
                <a:lnTo>
                  <a:pt x="4046" y="1952"/>
                </a:lnTo>
                <a:lnTo>
                  <a:pt x="4039" y="1954"/>
                </a:lnTo>
                <a:lnTo>
                  <a:pt x="4031" y="1954"/>
                </a:lnTo>
                <a:lnTo>
                  <a:pt x="4017" y="1952"/>
                </a:lnTo>
                <a:lnTo>
                  <a:pt x="4003" y="1950"/>
                </a:lnTo>
                <a:lnTo>
                  <a:pt x="3996" y="1946"/>
                </a:lnTo>
                <a:lnTo>
                  <a:pt x="3989" y="1944"/>
                </a:lnTo>
                <a:lnTo>
                  <a:pt x="3977" y="1936"/>
                </a:lnTo>
                <a:lnTo>
                  <a:pt x="3965" y="1926"/>
                </a:lnTo>
                <a:lnTo>
                  <a:pt x="3954" y="1914"/>
                </a:lnTo>
                <a:lnTo>
                  <a:pt x="3943" y="1898"/>
                </a:lnTo>
                <a:lnTo>
                  <a:pt x="3938" y="1890"/>
                </a:lnTo>
                <a:lnTo>
                  <a:pt x="3934" y="1882"/>
                </a:lnTo>
                <a:close/>
                <a:moveTo>
                  <a:pt x="4370" y="1954"/>
                </a:moveTo>
                <a:lnTo>
                  <a:pt x="4354" y="1954"/>
                </a:lnTo>
                <a:lnTo>
                  <a:pt x="4339" y="1950"/>
                </a:lnTo>
                <a:lnTo>
                  <a:pt x="4324" y="1944"/>
                </a:lnTo>
                <a:lnTo>
                  <a:pt x="4317" y="1940"/>
                </a:lnTo>
                <a:lnTo>
                  <a:pt x="4310" y="1936"/>
                </a:lnTo>
                <a:lnTo>
                  <a:pt x="4298" y="1928"/>
                </a:lnTo>
                <a:lnTo>
                  <a:pt x="4292" y="1922"/>
                </a:lnTo>
                <a:lnTo>
                  <a:pt x="4287" y="1916"/>
                </a:lnTo>
                <a:lnTo>
                  <a:pt x="4277" y="1902"/>
                </a:lnTo>
                <a:lnTo>
                  <a:pt x="4273" y="1896"/>
                </a:lnTo>
                <a:lnTo>
                  <a:pt x="4268" y="1888"/>
                </a:lnTo>
                <a:lnTo>
                  <a:pt x="4264" y="1880"/>
                </a:lnTo>
                <a:lnTo>
                  <a:pt x="4261" y="1872"/>
                </a:lnTo>
                <a:lnTo>
                  <a:pt x="4257" y="1864"/>
                </a:lnTo>
                <a:lnTo>
                  <a:pt x="4254" y="1854"/>
                </a:lnTo>
                <a:lnTo>
                  <a:pt x="4248" y="1834"/>
                </a:lnTo>
                <a:lnTo>
                  <a:pt x="4244" y="1814"/>
                </a:lnTo>
                <a:lnTo>
                  <a:pt x="4242" y="1804"/>
                </a:lnTo>
                <a:lnTo>
                  <a:pt x="4240" y="1792"/>
                </a:lnTo>
                <a:lnTo>
                  <a:pt x="4237" y="1770"/>
                </a:lnTo>
                <a:lnTo>
                  <a:pt x="4236" y="1746"/>
                </a:lnTo>
                <a:lnTo>
                  <a:pt x="4235" y="1732"/>
                </a:lnTo>
                <a:lnTo>
                  <a:pt x="4235" y="1720"/>
                </a:lnTo>
                <a:lnTo>
                  <a:pt x="4298" y="1693"/>
                </a:lnTo>
                <a:lnTo>
                  <a:pt x="4298" y="1714"/>
                </a:lnTo>
                <a:lnTo>
                  <a:pt x="4299" y="1734"/>
                </a:lnTo>
                <a:lnTo>
                  <a:pt x="4301" y="1750"/>
                </a:lnTo>
                <a:lnTo>
                  <a:pt x="4303" y="1766"/>
                </a:lnTo>
                <a:lnTo>
                  <a:pt x="4305" y="1774"/>
                </a:lnTo>
                <a:lnTo>
                  <a:pt x="4306" y="1782"/>
                </a:lnTo>
                <a:lnTo>
                  <a:pt x="4310" y="1794"/>
                </a:lnTo>
                <a:lnTo>
                  <a:pt x="4314" y="1804"/>
                </a:lnTo>
                <a:lnTo>
                  <a:pt x="4318" y="1814"/>
                </a:lnTo>
                <a:lnTo>
                  <a:pt x="4324" y="1824"/>
                </a:lnTo>
                <a:lnTo>
                  <a:pt x="4330" y="1830"/>
                </a:lnTo>
                <a:lnTo>
                  <a:pt x="4336" y="1836"/>
                </a:lnTo>
                <a:lnTo>
                  <a:pt x="4343" y="1840"/>
                </a:lnTo>
                <a:lnTo>
                  <a:pt x="4350" y="1844"/>
                </a:lnTo>
                <a:lnTo>
                  <a:pt x="4357" y="1846"/>
                </a:lnTo>
                <a:lnTo>
                  <a:pt x="4365" y="1848"/>
                </a:lnTo>
                <a:lnTo>
                  <a:pt x="4374" y="1848"/>
                </a:lnTo>
                <a:lnTo>
                  <a:pt x="4381" y="1848"/>
                </a:lnTo>
                <a:lnTo>
                  <a:pt x="4388" y="1846"/>
                </a:lnTo>
                <a:lnTo>
                  <a:pt x="4395" y="1844"/>
                </a:lnTo>
                <a:lnTo>
                  <a:pt x="4401" y="1842"/>
                </a:lnTo>
                <a:lnTo>
                  <a:pt x="4407" y="1838"/>
                </a:lnTo>
                <a:lnTo>
                  <a:pt x="4413" y="1832"/>
                </a:lnTo>
                <a:lnTo>
                  <a:pt x="4418" y="1826"/>
                </a:lnTo>
                <a:lnTo>
                  <a:pt x="4423" y="1820"/>
                </a:lnTo>
                <a:lnTo>
                  <a:pt x="4427" y="1812"/>
                </a:lnTo>
                <a:lnTo>
                  <a:pt x="4431" y="1804"/>
                </a:lnTo>
                <a:lnTo>
                  <a:pt x="4434" y="1796"/>
                </a:lnTo>
                <a:lnTo>
                  <a:pt x="4437" y="1786"/>
                </a:lnTo>
                <a:lnTo>
                  <a:pt x="4439" y="1774"/>
                </a:lnTo>
                <a:lnTo>
                  <a:pt x="4440" y="1770"/>
                </a:lnTo>
                <a:lnTo>
                  <a:pt x="4441" y="1764"/>
                </a:lnTo>
                <a:lnTo>
                  <a:pt x="4442" y="1752"/>
                </a:lnTo>
                <a:lnTo>
                  <a:pt x="4442" y="1738"/>
                </a:lnTo>
                <a:lnTo>
                  <a:pt x="4442" y="1728"/>
                </a:lnTo>
                <a:lnTo>
                  <a:pt x="4442" y="1718"/>
                </a:lnTo>
                <a:lnTo>
                  <a:pt x="4441" y="1711"/>
                </a:lnTo>
                <a:lnTo>
                  <a:pt x="4439" y="1701"/>
                </a:lnTo>
                <a:lnTo>
                  <a:pt x="4437" y="1693"/>
                </a:lnTo>
                <a:lnTo>
                  <a:pt x="4435" y="1685"/>
                </a:lnTo>
                <a:lnTo>
                  <a:pt x="4433" y="1677"/>
                </a:lnTo>
                <a:lnTo>
                  <a:pt x="4430" y="1669"/>
                </a:lnTo>
                <a:lnTo>
                  <a:pt x="4422" y="1653"/>
                </a:lnTo>
                <a:lnTo>
                  <a:pt x="4418" y="1645"/>
                </a:lnTo>
                <a:lnTo>
                  <a:pt x="4413" y="1639"/>
                </a:lnTo>
                <a:lnTo>
                  <a:pt x="4402" y="1625"/>
                </a:lnTo>
                <a:lnTo>
                  <a:pt x="4389" y="1613"/>
                </a:lnTo>
                <a:lnTo>
                  <a:pt x="4325" y="1555"/>
                </a:lnTo>
                <a:lnTo>
                  <a:pt x="4315" y="1547"/>
                </a:lnTo>
                <a:lnTo>
                  <a:pt x="4305" y="1537"/>
                </a:lnTo>
                <a:lnTo>
                  <a:pt x="4289" y="1517"/>
                </a:lnTo>
                <a:lnTo>
                  <a:pt x="4275" y="1497"/>
                </a:lnTo>
                <a:lnTo>
                  <a:pt x="4270" y="1485"/>
                </a:lnTo>
                <a:lnTo>
                  <a:pt x="4264" y="1473"/>
                </a:lnTo>
                <a:lnTo>
                  <a:pt x="4260" y="1461"/>
                </a:lnTo>
                <a:lnTo>
                  <a:pt x="4255" y="1447"/>
                </a:lnTo>
                <a:lnTo>
                  <a:pt x="4252" y="1433"/>
                </a:lnTo>
                <a:lnTo>
                  <a:pt x="4249" y="1417"/>
                </a:lnTo>
                <a:lnTo>
                  <a:pt x="4247" y="1401"/>
                </a:lnTo>
                <a:lnTo>
                  <a:pt x="4246" y="1393"/>
                </a:lnTo>
                <a:lnTo>
                  <a:pt x="4245" y="1385"/>
                </a:lnTo>
                <a:lnTo>
                  <a:pt x="4244" y="1367"/>
                </a:lnTo>
                <a:lnTo>
                  <a:pt x="4244" y="1347"/>
                </a:lnTo>
                <a:lnTo>
                  <a:pt x="4244" y="1335"/>
                </a:lnTo>
                <a:lnTo>
                  <a:pt x="4245" y="1323"/>
                </a:lnTo>
                <a:lnTo>
                  <a:pt x="4246" y="1311"/>
                </a:lnTo>
                <a:lnTo>
                  <a:pt x="4247" y="1299"/>
                </a:lnTo>
                <a:lnTo>
                  <a:pt x="4248" y="1289"/>
                </a:lnTo>
                <a:lnTo>
                  <a:pt x="4250" y="1279"/>
                </a:lnTo>
                <a:lnTo>
                  <a:pt x="4254" y="1259"/>
                </a:lnTo>
                <a:lnTo>
                  <a:pt x="4257" y="1249"/>
                </a:lnTo>
                <a:lnTo>
                  <a:pt x="4260" y="1241"/>
                </a:lnTo>
                <a:lnTo>
                  <a:pt x="4266" y="1225"/>
                </a:lnTo>
                <a:lnTo>
                  <a:pt x="4273" y="1210"/>
                </a:lnTo>
                <a:lnTo>
                  <a:pt x="4277" y="1204"/>
                </a:lnTo>
                <a:lnTo>
                  <a:pt x="4282" y="1198"/>
                </a:lnTo>
                <a:lnTo>
                  <a:pt x="4291" y="1186"/>
                </a:lnTo>
                <a:lnTo>
                  <a:pt x="4301" y="1176"/>
                </a:lnTo>
                <a:lnTo>
                  <a:pt x="4311" y="1166"/>
                </a:lnTo>
                <a:lnTo>
                  <a:pt x="4323" y="1160"/>
                </a:lnTo>
                <a:lnTo>
                  <a:pt x="4335" y="1154"/>
                </a:lnTo>
                <a:lnTo>
                  <a:pt x="4347" y="1150"/>
                </a:lnTo>
                <a:lnTo>
                  <a:pt x="4360" y="1148"/>
                </a:lnTo>
                <a:lnTo>
                  <a:pt x="4373" y="1148"/>
                </a:lnTo>
                <a:lnTo>
                  <a:pt x="4388" y="1150"/>
                </a:lnTo>
                <a:lnTo>
                  <a:pt x="4403" y="1152"/>
                </a:lnTo>
                <a:lnTo>
                  <a:pt x="4416" y="1158"/>
                </a:lnTo>
                <a:lnTo>
                  <a:pt x="4422" y="1162"/>
                </a:lnTo>
                <a:lnTo>
                  <a:pt x="4428" y="1166"/>
                </a:lnTo>
                <a:lnTo>
                  <a:pt x="4440" y="1174"/>
                </a:lnTo>
                <a:lnTo>
                  <a:pt x="4450" y="1186"/>
                </a:lnTo>
                <a:lnTo>
                  <a:pt x="4459" y="1198"/>
                </a:lnTo>
                <a:lnTo>
                  <a:pt x="4467" y="1212"/>
                </a:lnTo>
                <a:lnTo>
                  <a:pt x="4471" y="1218"/>
                </a:lnTo>
                <a:lnTo>
                  <a:pt x="4474" y="1225"/>
                </a:lnTo>
                <a:lnTo>
                  <a:pt x="4477" y="1233"/>
                </a:lnTo>
                <a:lnTo>
                  <a:pt x="4480" y="1241"/>
                </a:lnTo>
                <a:lnTo>
                  <a:pt x="4485" y="1259"/>
                </a:lnTo>
                <a:lnTo>
                  <a:pt x="4490" y="1275"/>
                </a:lnTo>
                <a:lnTo>
                  <a:pt x="4493" y="1293"/>
                </a:lnTo>
                <a:lnTo>
                  <a:pt x="4495" y="1313"/>
                </a:lnTo>
                <a:lnTo>
                  <a:pt x="4497" y="1331"/>
                </a:lnTo>
                <a:lnTo>
                  <a:pt x="4497" y="1349"/>
                </a:lnTo>
                <a:lnTo>
                  <a:pt x="4435" y="1375"/>
                </a:lnTo>
                <a:lnTo>
                  <a:pt x="4435" y="1359"/>
                </a:lnTo>
                <a:lnTo>
                  <a:pt x="4433" y="1345"/>
                </a:lnTo>
                <a:lnTo>
                  <a:pt x="4432" y="1331"/>
                </a:lnTo>
                <a:lnTo>
                  <a:pt x="4430" y="1319"/>
                </a:lnTo>
                <a:lnTo>
                  <a:pt x="4427" y="1309"/>
                </a:lnTo>
                <a:lnTo>
                  <a:pt x="4426" y="1303"/>
                </a:lnTo>
                <a:lnTo>
                  <a:pt x="4424" y="1299"/>
                </a:lnTo>
                <a:lnTo>
                  <a:pt x="4421" y="1289"/>
                </a:lnTo>
                <a:lnTo>
                  <a:pt x="4417" y="1281"/>
                </a:lnTo>
                <a:lnTo>
                  <a:pt x="4413" y="1275"/>
                </a:lnTo>
                <a:lnTo>
                  <a:pt x="4408" y="1269"/>
                </a:lnTo>
                <a:lnTo>
                  <a:pt x="4403" y="1265"/>
                </a:lnTo>
                <a:lnTo>
                  <a:pt x="4397" y="1261"/>
                </a:lnTo>
                <a:lnTo>
                  <a:pt x="4391" y="1257"/>
                </a:lnTo>
                <a:lnTo>
                  <a:pt x="4385" y="1255"/>
                </a:lnTo>
                <a:lnTo>
                  <a:pt x="4378" y="1255"/>
                </a:lnTo>
                <a:lnTo>
                  <a:pt x="4370" y="1253"/>
                </a:lnTo>
                <a:lnTo>
                  <a:pt x="4358" y="1255"/>
                </a:lnTo>
                <a:lnTo>
                  <a:pt x="4346" y="1259"/>
                </a:lnTo>
                <a:lnTo>
                  <a:pt x="4341" y="1263"/>
                </a:lnTo>
                <a:lnTo>
                  <a:pt x="4336" y="1267"/>
                </a:lnTo>
                <a:lnTo>
                  <a:pt x="4331" y="1271"/>
                </a:lnTo>
                <a:lnTo>
                  <a:pt x="4327" y="1275"/>
                </a:lnTo>
                <a:lnTo>
                  <a:pt x="4323" y="1281"/>
                </a:lnTo>
                <a:lnTo>
                  <a:pt x="4319" y="1287"/>
                </a:lnTo>
                <a:lnTo>
                  <a:pt x="4316" y="1295"/>
                </a:lnTo>
                <a:lnTo>
                  <a:pt x="4313" y="1303"/>
                </a:lnTo>
                <a:lnTo>
                  <a:pt x="4311" y="1311"/>
                </a:lnTo>
                <a:lnTo>
                  <a:pt x="4310" y="1321"/>
                </a:lnTo>
                <a:lnTo>
                  <a:pt x="4309" y="1331"/>
                </a:lnTo>
                <a:lnTo>
                  <a:pt x="4308" y="1341"/>
                </a:lnTo>
                <a:lnTo>
                  <a:pt x="4309" y="1351"/>
                </a:lnTo>
                <a:lnTo>
                  <a:pt x="4309" y="1361"/>
                </a:lnTo>
                <a:lnTo>
                  <a:pt x="4310" y="1371"/>
                </a:lnTo>
                <a:lnTo>
                  <a:pt x="4311" y="1379"/>
                </a:lnTo>
                <a:lnTo>
                  <a:pt x="4313" y="1387"/>
                </a:lnTo>
                <a:lnTo>
                  <a:pt x="4315" y="1395"/>
                </a:lnTo>
                <a:lnTo>
                  <a:pt x="4318" y="1403"/>
                </a:lnTo>
                <a:lnTo>
                  <a:pt x="4321" y="1409"/>
                </a:lnTo>
                <a:lnTo>
                  <a:pt x="4325" y="1415"/>
                </a:lnTo>
                <a:lnTo>
                  <a:pt x="4328" y="1421"/>
                </a:lnTo>
                <a:lnTo>
                  <a:pt x="4337" y="1433"/>
                </a:lnTo>
                <a:lnTo>
                  <a:pt x="4347" y="1445"/>
                </a:lnTo>
                <a:lnTo>
                  <a:pt x="4359" y="1457"/>
                </a:lnTo>
                <a:lnTo>
                  <a:pt x="4421" y="1511"/>
                </a:lnTo>
                <a:lnTo>
                  <a:pt x="4431" y="1521"/>
                </a:lnTo>
                <a:lnTo>
                  <a:pt x="4442" y="1531"/>
                </a:lnTo>
                <a:lnTo>
                  <a:pt x="4451" y="1541"/>
                </a:lnTo>
                <a:lnTo>
                  <a:pt x="4459" y="1553"/>
                </a:lnTo>
                <a:lnTo>
                  <a:pt x="4467" y="1565"/>
                </a:lnTo>
                <a:lnTo>
                  <a:pt x="4474" y="1575"/>
                </a:lnTo>
                <a:lnTo>
                  <a:pt x="4480" y="1589"/>
                </a:lnTo>
                <a:lnTo>
                  <a:pt x="4486" y="1601"/>
                </a:lnTo>
                <a:lnTo>
                  <a:pt x="4491" y="1615"/>
                </a:lnTo>
                <a:lnTo>
                  <a:pt x="4495" y="1629"/>
                </a:lnTo>
                <a:lnTo>
                  <a:pt x="4499" y="1643"/>
                </a:lnTo>
                <a:lnTo>
                  <a:pt x="4502" y="1659"/>
                </a:lnTo>
                <a:lnTo>
                  <a:pt x="4504" y="1675"/>
                </a:lnTo>
                <a:lnTo>
                  <a:pt x="4505" y="1685"/>
                </a:lnTo>
                <a:lnTo>
                  <a:pt x="4505" y="1693"/>
                </a:lnTo>
                <a:lnTo>
                  <a:pt x="4506" y="1711"/>
                </a:lnTo>
                <a:lnTo>
                  <a:pt x="4507" y="1730"/>
                </a:lnTo>
                <a:lnTo>
                  <a:pt x="4506" y="1756"/>
                </a:lnTo>
                <a:lnTo>
                  <a:pt x="4504" y="1780"/>
                </a:lnTo>
                <a:lnTo>
                  <a:pt x="4503" y="1792"/>
                </a:lnTo>
                <a:lnTo>
                  <a:pt x="4501" y="1802"/>
                </a:lnTo>
                <a:lnTo>
                  <a:pt x="4499" y="1814"/>
                </a:lnTo>
                <a:lnTo>
                  <a:pt x="4497" y="1824"/>
                </a:lnTo>
                <a:lnTo>
                  <a:pt x="4494" y="1834"/>
                </a:lnTo>
                <a:lnTo>
                  <a:pt x="4492" y="1844"/>
                </a:lnTo>
                <a:lnTo>
                  <a:pt x="4485" y="1862"/>
                </a:lnTo>
                <a:lnTo>
                  <a:pt x="4482" y="1870"/>
                </a:lnTo>
                <a:lnTo>
                  <a:pt x="4478" y="1880"/>
                </a:lnTo>
                <a:lnTo>
                  <a:pt x="4470" y="1894"/>
                </a:lnTo>
                <a:lnTo>
                  <a:pt x="4465" y="1902"/>
                </a:lnTo>
                <a:lnTo>
                  <a:pt x="4460" y="1908"/>
                </a:lnTo>
                <a:lnTo>
                  <a:pt x="4455" y="1914"/>
                </a:lnTo>
                <a:lnTo>
                  <a:pt x="4450" y="1920"/>
                </a:lnTo>
                <a:lnTo>
                  <a:pt x="4439" y="1930"/>
                </a:lnTo>
                <a:lnTo>
                  <a:pt x="4427" y="1938"/>
                </a:lnTo>
                <a:lnTo>
                  <a:pt x="4414" y="1946"/>
                </a:lnTo>
                <a:lnTo>
                  <a:pt x="4400" y="1950"/>
                </a:lnTo>
                <a:lnTo>
                  <a:pt x="4393" y="1952"/>
                </a:lnTo>
                <a:lnTo>
                  <a:pt x="4386" y="1952"/>
                </a:lnTo>
                <a:lnTo>
                  <a:pt x="4370" y="19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7DE48D-705B-612C-7DFA-B303012D79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98587" y="5517232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F5A17A4-EA2D-AFFF-38DF-9699B925DC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98587" y="5805264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29968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6924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grafiikk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EB8C7F-959D-1EEC-7251-45F8A60E4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5"/>
            <a:ext cx="5111948" cy="1439441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5BC727-BC31-A840-E8A4-358FAF23D3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2060575"/>
            <a:ext cx="5111750" cy="40322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46E411-CABC-42B8-A1CB-C3140B9C0A06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6284758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grafiikka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EB8C7F-959D-1EEC-7251-45F8A60E4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5"/>
            <a:ext cx="5111948" cy="1439441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5BC727-BC31-A840-E8A4-358FAF23D3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2060575"/>
            <a:ext cx="5111750" cy="40322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AC8B27-647A-4A1B-A68E-2CB8A837DEEA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39302446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grafiikka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EB8C7F-959D-1EEC-7251-45F8A60E4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5"/>
            <a:ext cx="5111948" cy="1439441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5BC727-BC31-A840-E8A4-358FAF23D3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2060575"/>
            <a:ext cx="5111750" cy="40322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087AAE-535D-467F-A0A9-B2CFFCC62FE6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9554892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kuv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EB8C7F-959D-1EEC-7251-45F8A60E42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64E7D6-DE9B-4599-91FA-80C1674260B8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B18BA6B-FD37-F710-9ED4-279814FCB04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7988" y="1628775"/>
            <a:ext cx="11376025" cy="446405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 noProof="0"/>
              <a:t>Lisää kuva napsauttamalla kuvaketta</a:t>
            </a:r>
          </a:p>
        </p:txBody>
      </p:sp>
    </p:spTree>
    <p:extLst>
      <p:ext uri="{BB962C8B-B14F-4D97-AF65-F5344CB8AC3E}">
        <p14:creationId xmlns:p14="http://schemas.microsoft.com/office/powerpoint/2010/main" val="9243940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sessi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EB8C7F-959D-1EEC-7251-45F8A60E42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5BC727-BC31-A840-E8A4-358FAF23D3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1628775"/>
            <a:ext cx="3599780" cy="4464050"/>
          </a:xfrm>
          <a:solidFill>
            <a:srgbClr val="CFD9E2"/>
          </a:solidFill>
        </p:spPr>
        <p:txBody>
          <a:bodyPr lIns="216000" tIns="936000" rIns="216000" bIns="216000"/>
          <a:lstStyle>
            <a:lvl1pPr>
              <a:defRPr sz="1600"/>
            </a:lvl1pPr>
            <a:lvl2pPr>
              <a:defRPr sz="1600"/>
            </a:lvl2pPr>
          </a:lstStyle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A31291B-F0CF-B694-1D67-1103E645FEA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802" y="1628775"/>
            <a:ext cx="3600398" cy="4464050"/>
          </a:xfrm>
          <a:solidFill>
            <a:srgbClr val="CFD9E2"/>
          </a:solidFill>
        </p:spPr>
        <p:txBody>
          <a:bodyPr lIns="216000" tIns="936000" rIns="216000" bIns="216000"/>
          <a:lstStyle>
            <a:lvl1pPr>
              <a:defRPr sz="1600"/>
            </a:lvl1pPr>
            <a:lvl2pPr>
              <a:defRPr sz="1600"/>
            </a:lvl2pPr>
          </a:lstStyle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D890B0-9ABF-4830-BC6A-A99142FEA93F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D0365739-1DC8-C9DA-BDEC-DDC2A6395CCA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184232" y="1628775"/>
            <a:ext cx="3599781" cy="4464050"/>
          </a:xfrm>
          <a:solidFill>
            <a:srgbClr val="CFD9E2"/>
          </a:solidFill>
        </p:spPr>
        <p:txBody>
          <a:bodyPr lIns="216000" tIns="936000" rIns="216000" bIns="216000"/>
          <a:lstStyle>
            <a:lvl1pPr>
              <a:defRPr sz="1600"/>
            </a:lvl1pPr>
            <a:lvl2pPr>
              <a:defRPr sz="1600"/>
            </a:lvl2pPr>
          </a:lstStyle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B9257046-7365-CE0F-5CEA-0410AC025699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23392" y="1844824"/>
            <a:ext cx="3168352" cy="576064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97DCF637-F9C0-1D58-F7C4-84E8D83055D7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4511824" y="1844824"/>
            <a:ext cx="3168352" cy="576064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BC38343-06F5-5344-B173-DE8E4E537803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8400256" y="1844824"/>
            <a:ext cx="3168352" cy="576064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408638168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in otsikk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72A682-F7DD-1E81-4AED-221522F455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A5E549D-7DD7-D2EF-0EA6-2A1DA6A908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690BA3-9F97-4B93-8536-A0FC225721C2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FBFB582-D5BC-AD1E-1505-83B6D08046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127422B-941A-877D-60C4-0B2A653E6B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340661127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E2D486F-EB23-3F8A-8E15-DE5BADB78A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F11111-2759-4FB6-9031-3E243E974B43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124ADB-D299-4DCB-4345-9AEF4E4610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50F52B-64BF-55A1-2E40-332464A3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303895465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iitos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89437-0A9F-6907-E834-ECE3DB6251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00150" y="2060575"/>
            <a:ext cx="9791700" cy="2592561"/>
          </a:xfrm>
        </p:spPr>
        <p:txBody>
          <a:bodyPr anchor="b" anchorCtr="0"/>
          <a:lstStyle>
            <a:lvl1pPr algn="l">
              <a:defRPr sz="80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Lisää kiitos viesti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98F4D-E89B-8263-EB37-8F8B305D4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4ABCB313-720A-4FC8-BE25-2A558222E80E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B5C31-D7B7-0A4A-9FF1-A8910751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9B765-A518-625F-2D82-59131FF13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CD5646D-347F-0693-85B7-82EEFAEE1F7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07368" y="333375"/>
            <a:ext cx="2325003" cy="504000"/>
          </a:xfrm>
          <a:custGeom>
            <a:avLst/>
            <a:gdLst>
              <a:gd name="T0" fmla="*/ 11 w 4507"/>
              <a:gd name="T1" fmla="*/ 18 h 1954"/>
              <a:gd name="T2" fmla="*/ 659 w 4507"/>
              <a:gd name="T3" fmla="*/ 297 h 1954"/>
              <a:gd name="T4" fmla="*/ 666 w 4507"/>
              <a:gd name="T5" fmla="*/ 916 h 1954"/>
              <a:gd name="T6" fmla="*/ 347 w 4507"/>
              <a:gd name="T7" fmla="*/ 880 h 1954"/>
              <a:gd name="T8" fmla="*/ 471 w 4507"/>
              <a:gd name="T9" fmla="*/ 675 h 1954"/>
              <a:gd name="T10" fmla="*/ 375 w 4507"/>
              <a:gd name="T11" fmla="*/ 401 h 1954"/>
              <a:gd name="T12" fmla="*/ 1722 w 4507"/>
              <a:gd name="T13" fmla="*/ 26 h 1954"/>
              <a:gd name="T14" fmla="*/ 1804 w 4507"/>
              <a:gd name="T15" fmla="*/ 309 h 1954"/>
              <a:gd name="T16" fmla="*/ 1741 w 4507"/>
              <a:gd name="T17" fmla="*/ 269 h 1954"/>
              <a:gd name="T18" fmla="*/ 1854 w 4507"/>
              <a:gd name="T19" fmla="*/ 788 h 1954"/>
              <a:gd name="T20" fmla="*/ 2410 w 4507"/>
              <a:gd name="T21" fmla="*/ 18 h 1954"/>
              <a:gd name="T22" fmla="*/ 3053 w 4507"/>
              <a:gd name="T23" fmla="*/ 553 h 1954"/>
              <a:gd name="T24" fmla="*/ 3419 w 4507"/>
              <a:gd name="T25" fmla="*/ 539 h 1954"/>
              <a:gd name="T26" fmla="*/ 3595 w 4507"/>
              <a:gd name="T27" fmla="*/ 659 h 1954"/>
              <a:gd name="T28" fmla="*/ 3699 w 4507"/>
              <a:gd name="T29" fmla="*/ 697 h 1954"/>
              <a:gd name="T30" fmla="*/ 3842 w 4507"/>
              <a:gd name="T31" fmla="*/ 595 h 1954"/>
              <a:gd name="T32" fmla="*/ 3700 w 4507"/>
              <a:gd name="T33" fmla="*/ 806 h 1954"/>
              <a:gd name="T34" fmla="*/ 3943 w 4507"/>
              <a:gd name="T35" fmla="*/ 725 h 1954"/>
              <a:gd name="T36" fmla="*/ 4018 w 4507"/>
              <a:gd name="T37" fmla="*/ 689 h 1954"/>
              <a:gd name="T38" fmla="*/ 4124 w 4507"/>
              <a:gd name="T39" fmla="*/ 581 h 1954"/>
              <a:gd name="T40" fmla="*/ 3931 w 4507"/>
              <a:gd name="T41" fmla="*/ 269 h 1954"/>
              <a:gd name="T42" fmla="*/ 4017 w 4507"/>
              <a:gd name="T43" fmla="*/ 6 h 1954"/>
              <a:gd name="T44" fmla="*/ 4117 w 4507"/>
              <a:gd name="T45" fmla="*/ 228 h 1954"/>
              <a:gd name="T46" fmla="*/ 4005 w 4507"/>
              <a:gd name="T47" fmla="*/ 134 h 1954"/>
              <a:gd name="T48" fmla="*/ 4123 w 4507"/>
              <a:gd name="T49" fmla="*/ 383 h 1954"/>
              <a:gd name="T50" fmla="*/ 4174 w 4507"/>
              <a:gd name="T51" fmla="*/ 697 h 1954"/>
              <a:gd name="T52" fmla="*/ 1767 w 4507"/>
              <a:gd name="T53" fmla="*/ 1273 h 1954"/>
              <a:gd name="T54" fmla="*/ 2197 w 4507"/>
              <a:gd name="T55" fmla="*/ 1926 h 1954"/>
              <a:gd name="T56" fmla="*/ 2114 w 4507"/>
              <a:gd name="T57" fmla="*/ 1551 h 1954"/>
              <a:gd name="T58" fmla="*/ 2226 w 4507"/>
              <a:gd name="T59" fmla="*/ 1156 h 1954"/>
              <a:gd name="T60" fmla="*/ 2385 w 4507"/>
              <a:gd name="T61" fmla="*/ 1313 h 1954"/>
              <a:gd name="T62" fmla="*/ 2373 w 4507"/>
              <a:gd name="T63" fmla="*/ 1834 h 1954"/>
              <a:gd name="T64" fmla="*/ 2227 w 4507"/>
              <a:gd name="T65" fmla="*/ 1271 h 1954"/>
              <a:gd name="T66" fmla="*/ 2192 w 4507"/>
              <a:gd name="T67" fmla="*/ 1738 h 1954"/>
              <a:gd name="T68" fmla="*/ 2323 w 4507"/>
              <a:gd name="T69" fmla="*/ 1760 h 1954"/>
              <a:gd name="T70" fmla="*/ 2273 w 4507"/>
              <a:gd name="T71" fmla="*/ 1259 h 1954"/>
              <a:gd name="T72" fmla="*/ 3321 w 4507"/>
              <a:gd name="T73" fmla="*/ 1954 h 1954"/>
              <a:gd name="T74" fmla="*/ 3265 w 4507"/>
              <a:gd name="T75" fmla="*/ 1693 h 1954"/>
              <a:gd name="T76" fmla="*/ 3380 w 4507"/>
              <a:gd name="T77" fmla="*/ 1832 h 1954"/>
              <a:gd name="T78" fmla="*/ 3369 w 4507"/>
              <a:gd name="T79" fmla="*/ 1625 h 1954"/>
              <a:gd name="T80" fmla="*/ 3218 w 4507"/>
              <a:gd name="T81" fmla="*/ 1279 h 1954"/>
              <a:gd name="T82" fmla="*/ 3426 w 4507"/>
              <a:gd name="T83" fmla="*/ 1198 h 1954"/>
              <a:gd name="T84" fmla="*/ 3370 w 4507"/>
              <a:gd name="T85" fmla="*/ 1265 h 1954"/>
              <a:gd name="T86" fmla="*/ 3279 w 4507"/>
              <a:gd name="T87" fmla="*/ 1379 h 1954"/>
              <a:gd name="T88" fmla="*/ 3471 w 4507"/>
              <a:gd name="T89" fmla="*/ 1675 h 1954"/>
              <a:gd name="T90" fmla="*/ 3381 w 4507"/>
              <a:gd name="T91" fmla="*/ 1946 h 1954"/>
              <a:gd name="T92" fmla="*/ 3620 w 4507"/>
              <a:gd name="T93" fmla="*/ 1772 h 1954"/>
              <a:gd name="T94" fmla="*/ 3736 w 4507"/>
              <a:gd name="T95" fmla="*/ 1772 h 1954"/>
              <a:gd name="T96" fmla="*/ 3756 w 4507"/>
              <a:gd name="T97" fmla="*/ 1914 h 1954"/>
              <a:gd name="T98" fmla="*/ 3915 w 4507"/>
              <a:gd name="T99" fmla="*/ 1828 h 1954"/>
              <a:gd name="T100" fmla="*/ 4005 w 4507"/>
              <a:gd name="T101" fmla="*/ 1838 h 1954"/>
              <a:gd name="T102" fmla="*/ 4160 w 4507"/>
              <a:gd name="T103" fmla="*/ 1697 h 1954"/>
              <a:gd name="T104" fmla="*/ 4039 w 4507"/>
              <a:gd name="T105" fmla="*/ 1954 h 1954"/>
              <a:gd name="T106" fmla="*/ 4268 w 4507"/>
              <a:gd name="T107" fmla="*/ 1888 h 1954"/>
              <a:gd name="T108" fmla="*/ 4324 w 4507"/>
              <a:gd name="T109" fmla="*/ 1824 h 1954"/>
              <a:gd name="T110" fmla="*/ 4442 w 4507"/>
              <a:gd name="T111" fmla="*/ 1752 h 1954"/>
              <a:gd name="T112" fmla="*/ 4255 w 4507"/>
              <a:gd name="T113" fmla="*/ 1447 h 1954"/>
              <a:gd name="T114" fmla="*/ 4311 w 4507"/>
              <a:gd name="T115" fmla="*/ 1166 h 1954"/>
              <a:gd name="T116" fmla="*/ 4497 w 4507"/>
              <a:gd name="T117" fmla="*/ 1331 h 1954"/>
              <a:gd name="T118" fmla="*/ 4336 w 4507"/>
              <a:gd name="T119" fmla="*/ 1267 h 1954"/>
              <a:gd name="T120" fmla="*/ 4359 w 4507"/>
              <a:gd name="T121" fmla="*/ 1457 h 1954"/>
              <a:gd name="T122" fmla="*/ 4499 w 4507"/>
              <a:gd name="T123" fmla="*/ 1814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507" h="1954">
                <a:moveTo>
                  <a:pt x="4307" y="327"/>
                </a:moveTo>
                <a:lnTo>
                  <a:pt x="4377" y="327"/>
                </a:lnTo>
                <a:lnTo>
                  <a:pt x="4377" y="463"/>
                </a:lnTo>
                <a:lnTo>
                  <a:pt x="4307" y="463"/>
                </a:lnTo>
                <a:lnTo>
                  <a:pt x="4307" y="327"/>
                </a:lnTo>
                <a:close/>
                <a:moveTo>
                  <a:pt x="1248" y="18"/>
                </a:moveTo>
                <a:lnTo>
                  <a:pt x="1248" y="473"/>
                </a:lnTo>
                <a:lnTo>
                  <a:pt x="1051" y="473"/>
                </a:lnTo>
                <a:lnTo>
                  <a:pt x="1051" y="1936"/>
                </a:lnTo>
                <a:lnTo>
                  <a:pt x="821" y="1936"/>
                </a:lnTo>
                <a:lnTo>
                  <a:pt x="821" y="473"/>
                </a:lnTo>
                <a:lnTo>
                  <a:pt x="655" y="18"/>
                </a:lnTo>
                <a:lnTo>
                  <a:pt x="1248" y="18"/>
                </a:lnTo>
                <a:close/>
                <a:moveTo>
                  <a:pt x="0" y="1481"/>
                </a:moveTo>
                <a:lnTo>
                  <a:pt x="230" y="1481"/>
                </a:lnTo>
                <a:lnTo>
                  <a:pt x="230" y="1936"/>
                </a:lnTo>
                <a:lnTo>
                  <a:pt x="0" y="1936"/>
                </a:lnTo>
                <a:lnTo>
                  <a:pt x="0" y="1481"/>
                </a:lnTo>
                <a:close/>
                <a:moveTo>
                  <a:pt x="487" y="1186"/>
                </a:moveTo>
                <a:lnTo>
                  <a:pt x="752" y="1936"/>
                </a:lnTo>
                <a:lnTo>
                  <a:pt x="495" y="1936"/>
                </a:lnTo>
                <a:lnTo>
                  <a:pt x="11" y="559"/>
                </a:lnTo>
                <a:lnTo>
                  <a:pt x="11" y="18"/>
                </a:lnTo>
                <a:lnTo>
                  <a:pt x="309" y="18"/>
                </a:lnTo>
                <a:lnTo>
                  <a:pt x="335" y="18"/>
                </a:lnTo>
                <a:lnTo>
                  <a:pt x="359" y="20"/>
                </a:lnTo>
                <a:lnTo>
                  <a:pt x="382" y="24"/>
                </a:lnTo>
                <a:lnTo>
                  <a:pt x="404" y="30"/>
                </a:lnTo>
                <a:lnTo>
                  <a:pt x="426" y="36"/>
                </a:lnTo>
                <a:lnTo>
                  <a:pt x="447" y="44"/>
                </a:lnTo>
                <a:lnTo>
                  <a:pt x="467" y="52"/>
                </a:lnTo>
                <a:lnTo>
                  <a:pt x="476" y="58"/>
                </a:lnTo>
                <a:lnTo>
                  <a:pt x="486" y="62"/>
                </a:lnTo>
                <a:lnTo>
                  <a:pt x="504" y="74"/>
                </a:lnTo>
                <a:lnTo>
                  <a:pt x="521" y="88"/>
                </a:lnTo>
                <a:lnTo>
                  <a:pt x="538" y="102"/>
                </a:lnTo>
                <a:lnTo>
                  <a:pt x="553" y="116"/>
                </a:lnTo>
                <a:lnTo>
                  <a:pt x="569" y="132"/>
                </a:lnTo>
                <a:lnTo>
                  <a:pt x="583" y="150"/>
                </a:lnTo>
                <a:lnTo>
                  <a:pt x="596" y="168"/>
                </a:lnTo>
                <a:lnTo>
                  <a:pt x="609" y="188"/>
                </a:lnTo>
                <a:lnTo>
                  <a:pt x="620" y="208"/>
                </a:lnTo>
                <a:lnTo>
                  <a:pt x="631" y="230"/>
                </a:lnTo>
                <a:lnTo>
                  <a:pt x="641" y="251"/>
                </a:lnTo>
                <a:lnTo>
                  <a:pt x="650" y="273"/>
                </a:lnTo>
                <a:lnTo>
                  <a:pt x="659" y="297"/>
                </a:lnTo>
                <a:lnTo>
                  <a:pt x="666" y="323"/>
                </a:lnTo>
                <a:lnTo>
                  <a:pt x="673" y="349"/>
                </a:lnTo>
                <a:lnTo>
                  <a:pt x="680" y="375"/>
                </a:lnTo>
                <a:lnTo>
                  <a:pt x="685" y="401"/>
                </a:lnTo>
                <a:lnTo>
                  <a:pt x="690" y="429"/>
                </a:lnTo>
                <a:lnTo>
                  <a:pt x="694" y="459"/>
                </a:lnTo>
                <a:lnTo>
                  <a:pt x="697" y="487"/>
                </a:lnTo>
                <a:lnTo>
                  <a:pt x="699" y="517"/>
                </a:lnTo>
                <a:lnTo>
                  <a:pt x="701" y="547"/>
                </a:lnTo>
                <a:lnTo>
                  <a:pt x="702" y="579"/>
                </a:lnTo>
                <a:lnTo>
                  <a:pt x="703" y="611"/>
                </a:lnTo>
                <a:lnTo>
                  <a:pt x="702" y="661"/>
                </a:lnTo>
                <a:lnTo>
                  <a:pt x="701" y="687"/>
                </a:lnTo>
                <a:lnTo>
                  <a:pt x="699" y="711"/>
                </a:lnTo>
                <a:lnTo>
                  <a:pt x="697" y="735"/>
                </a:lnTo>
                <a:lnTo>
                  <a:pt x="695" y="758"/>
                </a:lnTo>
                <a:lnTo>
                  <a:pt x="692" y="782"/>
                </a:lnTo>
                <a:lnTo>
                  <a:pt x="689" y="806"/>
                </a:lnTo>
                <a:lnTo>
                  <a:pt x="685" y="830"/>
                </a:lnTo>
                <a:lnTo>
                  <a:pt x="681" y="852"/>
                </a:lnTo>
                <a:lnTo>
                  <a:pt x="677" y="874"/>
                </a:lnTo>
                <a:lnTo>
                  <a:pt x="672" y="896"/>
                </a:lnTo>
                <a:lnTo>
                  <a:pt x="666" y="916"/>
                </a:lnTo>
                <a:lnTo>
                  <a:pt x="661" y="938"/>
                </a:lnTo>
                <a:lnTo>
                  <a:pt x="655" y="958"/>
                </a:lnTo>
                <a:lnTo>
                  <a:pt x="648" y="976"/>
                </a:lnTo>
                <a:lnTo>
                  <a:pt x="641" y="996"/>
                </a:lnTo>
                <a:lnTo>
                  <a:pt x="634" y="1014"/>
                </a:lnTo>
                <a:lnTo>
                  <a:pt x="626" y="1030"/>
                </a:lnTo>
                <a:lnTo>
                  <a:pt x="618" y="1048"/>
                </a:lnTo>
                <a:lnTo>
                  <a:pt x="609" y="1064"/>
                </a:lnTo>
                <a:lnTo>
                  <a:pt x="600" y="1080"/>
                </a:lnTo>
                <a:lnTo>
                  <a:pt x="591" y="1094"/>
                </a:lnTo>
                <a:lnTo>
                  <a:pt x="581" y="1108"/>
                </a:lnTo>
                <a:lnTo>
                  <a:pt x="571" y="1120"/>
                </a:lnTo>
                <a:lnTo>
                  <a:pt x="559" y="1132"/>
                </a:lnTo>
                <a:lnTo>
                  <a:pt x="548" y="1144"/>
                </a:lnTo>
                <a:lnTo>
                  <a:pt x="537" y="1154"/>
                </a:lnTo>
                <a:lnTo>
                  <a:pt x="525" y="1164"/>
                </a:lnTo>
                <a:lnTo>
                  <a:pt x="513" y="1172"/>
                </a:lnTo>
                <a:lnTo>
                  <a:pt x="500" y="1180"/>
                </a:lnTo>
                <a:lnTo>
                  <a:pt x="487" y="1186"/>
                </a:lnTo>
                <a:close/>
                <a:moveTo>
                  <a:pt x="239" y="391"/>
                </a:moveTo>
                <a:lnTo>
                  <a:pt x="239" y="880"/>
                </a:lnTo>
                <a:lnTo>
                  <a:pt x="337" y="880"/>
                </a:lnTo>
                <a:lnTo>
                  <a:pt x="347" y="880"/>
                </a:lnTo>
                <a:lnTo>
                  <a:pt x="357" y="880"/>
                </a:lnTo>
                <a:lnTo>
                  <a:pt x="367" y="878"/>
                </a:lnTo>
                <a:lnTo>
                  <a:pt x="376" y="874"/>
                </a:lnTo>
                <a:lnTo>
                  <a:pt x="384" y="872"/>
                </a:lnTo>
                <a:lnTo>
                  <a:pt x="392" y="868"/>
                </a:lnTo>
                <a:lnTo>
                  <a:pt x="400" y="862"/>
                </a:lnTo>
                <a:lnTo>
                  <a:pt x="407" y="858"/>
                </a:lnTo>
                <a:lnTo>
                  <a:pt x="413" y="852"/>
                </a:lnTo>
                <a:lnTo>
                  <a:pt x="419" y="844"/>
                </a:lnTo>
                <a:lnTo>
                  <a:pt x="425" y="838"/>
                </a:lnTo>
                <a:lnTo>
                  <a:pt x="430" y="830"/>
                </a:lnTo>
                <a:lnTo>
                  <a:pt x="435" y="822"/>
                </a:lnTo>
                <a:lnTo>
                  <a:pt x="440" y="814"/>
                </a:lnTo>
                <a:lnTo>
                  <a:pt x="444" y="806"/>
                </a:lnTo>
                <a:lnTo>
                  <a:pt x="448" y="796"/>
                </a:lnTo>
                <a:lnTo>
                  <a:pt x="451" y="788"/>
                </a:lnTo>
                <a:lnTo>
                  <a:pt x="454" y="778"/>
                </a:lnTo>
                <a:lnTo>
                  <a:pt x="457" y="768"/>
                </a:lnTo>
                <a:lnTo>
                  <a:pt x="460" y="758"/>
                </a:lnTo>
                <a:lnTo>
                  <a:pt x="464" y="738"/>
                </a:lnTo>
                <a:lnTo>
                  <a:pt x="467" y="717"/>
                </a:lnTo>
                <a:lnTo>
                  <a:pt x="470" y="697"/>
                </a:lnTo>
                <a:lnTo>
                  <a:pt x="471" y="675"/>
                </a:lnTo>
                <a:lnTo>
                  <a:pt x="472" y="655"/>
                </a:lnTo>
                <a:lnTo>
                  <a:pt x="472" y="635"/>
                </a:lnTo>
                <a:lnTo>
                  <a:pt x="472" y="615"/>
                </a:lnTo>
                <a:lnTo>
                  <a:pt x="470" y="593"/>
                </a:lnTo>
                <a:lnTo>
                  <a:pt x="468" y="573"/>
                </a:lnTo>
                <a:lnTo>
                  <a:pt x="464" y="551"/>
                </a:lnTo>
                <a:lnTo>
                  <a:pt x="462" y="541"/>
                </a:lnTo>
                <a:lnTo>
                  <a:pt x="459" y="531"/>
                </a:lnTo>
                <a:lnTo>
                  <a:pt x="457" y="521"/>
                </a:lnTo>
                <a:lnTo>
                  <a:pt x="454" y="511"/>
                </a:lnTo>
                <a:lnTo>
                  <a:pt x="447" y="491"/>
                </a:lnTo>
                <a:lnTo>
                  <a:pt x="443" y="483"/>
                </a:lnTo>
                <a:lnTo>
                  <a:pt x="439" y="473"/>
                </a:lnTo>
                <a:lnTo>
                  <a:pt x="435" y="465"/>
                </a:lnTo>
                <a:lnTo>
                  <a:pt x="430" y="457"/>
                </a:lnTo>
                <a:lnTo>
                  <a:pt x="420" y="441"/>
                </a:lnTo>
                <a:lnTo>
                  <a:pt x="414" y="433"/>
                </a:lnTo>
                <a:lnTo>
                  <a:pt x="408" y="427"/>
                </a:lnTo>
                <a:lnTo>
                  <a:pt x="402" y="421"/>
                </a:lnTo>
                <a:lnTo>
                  <a:pt x="396" y="415"/>
                </a:lnTo>
                <a:lnTo>
                  <a:pt x="389" y="409"/>
                </a:lnTo>
                <a:lnTo>
                  <a:pt x="382" y="405"/>
                </a:lnTo>
                <a:lnTo>
                  <a:pt x="375" y="401"/>
                </a:lnTo>
                <a:lnTo>
                  <a:pt x="367" y="397"/>
                </a:lnTo>
                <a:lnTo>
                  <a:pt x="359" y="395"/>
                </a:lnTo>
                <a:lnTo>
                  <a:pt x="351" y="393"/>
                </a:lnTo>
                <a:lnTo>
                  <a:pt x="333" y="391"/>
                </a:lnTo>
                <a:lnTo>
                  <a:pt x="239" y="391"/>
                </a:lnTo>
                <a:close/>
                <a:moveTo>
                  <a:pt x="1780" y="395"/>
                </a:moveTo>
                <a:lnTo>
                  <a:pt x="1776" y="403"/>
                </a:lnTo>
                <a:lnTo>
                  <a:pt x="1772" y="411"/>
                </a:lnTo>
                <a:lnTo>
                  <a:pt x="1763" y="423"/>
                </a:lnTo>
                <a:lnTo>
                  <a:pt x="1754" y="433"/>
                </a:lnTo>
                <a:lnTo>
                  <a:pt x="1743" y="443"/>
                </a:lnTo>
                <a:lnTo>
                  <a:pt x="1814" y="788"/>
                </a:lnTo>
                <a:lnTo>
                  <a:pt x="1742" y="788"/>
                </a:lnTo>
                <a:lnTo>
                  <a:pt x="1683" y="465"/>
                </a:lnTo>
                <a:lnTo>
                  <a:pt x="1607" y="465"/>
                </a:lnTo>
                <a:lnTo>
                  <a:pt x="1607" y="788"/>
                </a:lnTo>
                <a:lnTo>
                  <a:pt x="1543" y="788"/>
                </a:lnTo>
                <a:lnTo>
                  <a:pt x="1543" y="18"/>
                </a:lnTo>
                <a:lnTo>
                  <a:pt x="1681" y="18"/>
                </a:lnTo>
                <a:lnTo>
                  <a:pt x="1696" y="18"/>
                </a:lnTo>
                <a:lnTo>
                  <a:pt x="1703" y="20"/>
                </a:lnTo>
                <a:lnTo>
                  <a:pt x="1710" y="22"/>
                </a:lnTo>
                <a:lnTo>
                  <a:pt x="1722" y="26"/>
                </a:lnTo>
                <a:lnTo>
                  <a:pt x="1734" y="32"/>
                </a:lnTo>
                <a:lnTo>
                  <a:pt x="1745" y="40"/>
                </a:lnTo>
                <a:lnTo>
                  <a:pt x="1755" y="50"/>
                </a:lnTo>
                <a:lnTo>
                  <a:pt x="1765" y="62"/>
                </a:lnTo>
                <a:lnTo>
                  <a:pt x="1769" y="68"/>
                </a:lnTo>
                <a:lnTo>
                  <a:pt x="1773" y="76"/>
                </a:lnTo>
                <a:lnTo>
                  <a:pt x="1781" y="92"/>
                </a:lnTo>
                <a:lnTo>
                  <a:pt x="1788" y="108"/>
                </a:lnTo>
                <a:lnTo>
                  <a:pt x="1791" y="118"/>
                </a:lnTo>
                <a:lnTo>
                  <a:pt x="1794" y="126"/>
                </a:lnTo>
                <a:lnTo>
                  <a:pt x="1799" y="146"/>
                </a:lnTo>
                <a:lnTo>
                  <a:pt x="1803" y="168"/>
                </a:lnTo>
                <a:lnTo>
                  <a:pt x="1805" y="178"/>
                </a:lnTo>
                <a:lnTo>
                  <a:pt x="1806" y="190"/>
                </a:lnTo>
                <a:lnTo>
                  <a:pt x="1807" y="200"/>
                </a:lnTo>
                <a:lnTo>
                  <a:pt x="1808" y="212"/>
                </a:lnTo>
                <a:lnTo>
                  <a:pt x="1808" y="224"/>
                </a:lnTo>
                <a:lnTo>
                  <a:pt x="1808" y="236"/>
                </a:lnTo>
                <a:lnTo>
                  <a:pt x="1808" y="263"/>
                </a:lnTo>
                <a:lnTo>
                  <a:pt x="1807" y="275"/>
                </a:lnTo>
                <a:lnTo>
                  <a:pt x="1806" y="287"/>
                </a:lnTo>
                <a:lnTo>
                  <a:pt x="1805" y="299"/>
                </a:lnTo>
                <a:lnTo>
                  <a:pt x="1804" y="309"/>
                </a:lnTo>
                <a:lnTo>
                  <a:pt x="1801" y="331"/>
                </a:lnTo>
                <a:lnTo>
                  <a:pt x="1797" y="349"/>
                </a:lnTo>
                <a:lnTo>
                  <a:pt x="1792" y="367"/>
                </a:lnTo>
                <a:lnTo>
                  <a:pt x="1786" y="381"/>
                </a:lnTo>
                <a:lnTo>
                  <a:pt x="1780" y="395"/>
                </a:lnTo>
                <a:close/>
                <a:moveTo>
                  <a:pt x="1678" y="122"/>
                </a:moveTo>
                <a:lnTo>
                  <a:pt x="1607" y="122"/>
                </a:lnTo>
                <a:lnTo>
                  <a:pt x="1607" y="365"/>
                </a:lnTo>
                <a:lnTo>
                  <a:pt x="1678" y="365"/>
                </a:lnTo>
                <a:lnTo>
                  <a:pt x="1686" y="363"/>
                </a:lnTo>
                <a:lnTo>
                  <a:pt x="1694" y="361"/>
                </a:lnTo>
                <a:lnTo>
                  <a:pt x="1700" y="359"/>
                </a:lnTo>
                <a:lnTo>
                  <a:pt x="1707" y="355"/>
                </a:lnTo>
                <a:lnTo>
                  <a:pt x="1712" y="351"/>
                </a:lnTo>
                <a:lnTo>
                  <a:pt x="1717" y="345"/>
                </a:lnTo>
                <a:lnTo>
                  <a:pt x="1722" y="339"/>
                </a:lnTo>
                <a:lnTo>
                  <a:pt x="1726" y="331"/>
                </a:lnTo>
                <a:lnTo>
                  <a:pt x="1730" y="323"/>
                </a:lnTo>
                <a:lnTo>
                  <a:pt x="1733" y="313"/>
                </a:lnTo>
                <a:lnTo>
                  <a:pt x="1736" y="303"/>
                </a:lnTo>
                <a:lnTo>
                  <a:pt x="1738" y="293"/>
                </a:lnTo>
                <a:lnTo>
                  <a:pt x="1740" y="281"/>
                </a:lnTo>
                <a:lnTo>
                  <a:pt x="1741" y="269"/>
                </a:lnTo>
                <a:lnTo>
                  <a:pt x="1742" y="257"/>
                </a:lnTo>
                <a:lnTo>
                  <a:pt x="1742" y="244"/>
                </a:lnTo>
                <a:lnTo>
                  <a:pt x="1742" y="230"/>
                </a:lnTo>
                <a:lnTo>
                  <a:pt x="1742" y="218"/>
                </a:lnTo>
                <a:lnTo>
                  <a:pt x="1740" y="206"/>
                </a:lnTo>
                <a:lnTo>
                  <a:pt x="1739" y="194"/>
                </a:lnTo>
                <a:lnTo>
                  <a:pt x="1737" y="184"/>
                </a:lnTo>
                <a:lnTo>
                  <a:pt x="1734" y="174"/>
                </a:lnTo>
                <a:lnTo>
                  <a:pt x="1731" y="164"/>
                </a:lnTo>
                <a:lnTo>
                  <a:pt x="1728" y="156"/>
                </a:lnTo>
                <a:lnTo>
                  <a:pt x="1723" y="148"/>
                </a:lnTo>
                <a:lnTo>
                  <a:pt x="1719" y="142"/>
                </a:lnTo>
                <a:lnTo>
                  <a:pt x="1713" y="136"/>
                </a:lnTo>
                <a:lnTo>
                  <a:pt x="1708" y="132"/>
                </a:lnTo>
                <a:lnTo>
                  <a:pt x="1701" y="128"/>
                </a:lnTo>
                <a:lnTo>
                  <a:pt x="1694" y="124"/>
                </a:lnTo>
                <a:lnTo>
                  <a:pt x="1686" y="122"/>
                </a:lnTo>
                <a:lnTo>
                  <a:pt x="1678" y="122"/>
                </a:lnTo>
                <a:close/>
                <a:moveTo>
                  <a:pt x="2090" y="788"/>
                </a:moveTo>
                <a:lnTo>
                  <a:pt x="2069" y="635"/>
                </a:lnTo>
                <a:lnTo>
                  <a:pt x="1942" y="635"/>
                </a:lnTo>
                <a:lnTo>
                  <a:pt x="1921" y="788"/>
                </a:lnTo>
                <a:lnTo>
                  <a:pt x="1854" y="788"/>
                </a:lnTo>
                <a:lnTo>
                  <a:pt x="1975" y="18"/>
                </a:lnTo>
                <a:lnTo>
                  <a:pt x="2037" y="18"/>
                </a:lnTo>
                <a:lnTo>
                  <a:pt x="2160" y="788"/>
                </a:lnTo>
                <a:lnTo>
                  <a:pt x="2090" y="788"/>
                </a:lnTo>
                <a:close/>
                <a:moveTo>
                  <a:pt x="2026" y="323"/>
                </a:moveTo>
                <a:lnTo>
                  <a:pt x="2015" y="250"/>
                </a:lnTo>
                <a:lnTo>
                  <a:pt x="2010" y="210"/>
                </a:lnTo>
                <a:lnTo>
                  <a:pt x="2006" y="170"/>
                </a:lnTo>
                <a:lnTo>
                  <a:pt x="2001" y="210"/>
                </a:lnTo>
                <a:lnTo>
                  <a:pt x="1996" y="250"/>
                </a:lnTo>
                <a:lnTo>
                  <a:pt x="1986" y="325"/>
                </a:lnTo>
                <a:lnTo>
                  <a:pt x="1957" y="529"/>
                </a:lnTo>
                <a:lnTo>
                  <a:pt x="2053" y="529"/>
                </a:lnTo>
                <a:lnTo>
                  <a:pt x="2026" y="323"/>
                </a:lnTo>
                <a:close/>
                <a:moveTo>
                  <a:pt x="2419" y="788"/>
                </a:moveTo>
                <a:lnTo>
                  <a:pt x="2323" y="431"/>
                </a:lnTo>
                <a:lnTo>
                  <a:pt x="2285" y="527"/>
                </a:lnTo>
                <a:lnTo>
                  <a:pt x="2285" y="788"/>
                </a:lnTo>
                <a:lnTo>
                  <a:pt x="2220" y="788"/>
                </a:lnTo>
                <a:lnTo>
                  <a:pt x="2220" y="18"/>
                </a:lnTo>
                <a:lnTo>
                  <a:pt x="2285" y="18"/>
                </a:lnTo>
                <a:lnTo>
                  <a:pt x="2285" y="347"/>
                </a:lnTo>
                <a:lnTo>
                  <a:pt x="2410" y="18"/>
                </a:lnTo>
                <a:lnTo>
                  <a:pt x="2492" y="18"/>
                </a:lnTo>
                <a:lnTo>
                  <a:pt x="2363" y="333"/>
                </a:lnTo>
                <a:lnTo>
                  <a:pt x="2498" y="788"/>
                </a:lnTo>
                <a:lnTo>
                  <a:pt x="2419" y="788"/>
                </a:lnTo>
                <a:close/>
                <a:moveTo>
                  <a:pt x="2558" y="788"/>
                </a:moveTo>
                <a:lnTo>
                  <a:pt x="2558" y="18"/>
                </a:lnTo>
                <a:lnTo>
                  <a:pt x="2786" y="18"/>
                </a:lnTo>
                <a:lnTo>
                  <a:pt x="2786" y="126"/>
                </a:lnTo>
                <a:lnTo>
                  <a:pt x="2623" y="126"/>
                </a:lnTo>
                <a:lnTo>
                  <a:pt x="2623" y="341"/>
                </a:lnTo>
                <a:lnTo>
                  <a:pt x="2756" y="341"/>
                </a:lnTo>
                <a:lnTo>
                  <a:pt x="2756" y="445"/>
                </a:lnTo>
                <a:lnTo>
                  <a:pt x="2623" y="445"/>
                </a:lnTo>
                <a:lnTo>
                  <a:pt x="2623" y="683"/>
                </a:lnTo>
                <a:lnTo>
                  <a:pt x="2786" y="683"/>
                </a:lnTo>
                <a:lnTo>
                  <a:pt x="2786" y="788"/>
                </a:lnTo>
                <a:lnTo>
                  <a:pt x="2558" y="788"/>
                </a:lnTo>
                <a:close/>
                <a:moveTo>
                  <a:pt x="2939" y="18"/>
                </a:moveTo>
                <a:lnTo>
                  <a:pt x="3030" y="439"/>
                </a:lnTo>
                <a:lnTo>
                  <a:pt x="3038" y="477"/>
                </a:lnTo>
                <a:lnTo>
                  <a:pt x="3042" y="495"/>
                </a:lnTo>
                <a:lnTo>
                  <a:pt x="3046" y="515"/>
                </a:lnTo>
                <a:lnTo>
                  <a:pt x="3053" y="553"/>
                </a:lnTo>
                <a:lnTo>
                  <a:pt x="3060" y="595"/>
                </a:lnTo>
                <a:lnTo>
                  <a:pt x="3060" y="509"/>
                </a:lnTo>
                <a:lnTo>
                  <a:pt x="3059" y="421"/>
                </a:lnTo>
                <a:lnTo>
                  <a:pt x="3059" y="18"/>
                </a:lnTo>
                <a:lnTo>
                  <a:pt x="3124" y="18"/>
                </a:lnTo>
                <a:lnTo>
                  <a:pt x="3124" y="788"/>
                </a:lnTo>
                <a:lnTo>
                  <a:pt x="3046" y="788"/>
                </a:lnTo>
                <a:lnTo>
                  <a:pt x="2954" y="369"/>
                </a:lnTo>
                <a:lnTo>
                  <a:pt x="2946" y="331"/>
                </a:lnTo>
                <a:lnTo>
                  <a:pt x="2938" y="293"/>
                </a:lnTo>
                <a:lnTo>
                  <a:pt x="2931" y="255"/>
                </a:lnTo>
                <a:lnTo>
                  <a:pt x="2923" y="214"/>
                </a:lnTo>
                <a:lnTo>
                  <a:pt x="2924" y="389"/>
                </a:lnTo>
                <a:lnTo>
                  <a:pt x="2924" y="790"/>
                </a:lnTo>
                <a:lnTo>
                  <a:pt x="2859" y="790"/>
                </a:lnTo>
                <a:lnTo>
                  <a:pt x="2859" y="18"/>
                </a:lnTo>
                <a:lnTo>
                  <a:pt x="2939" y="18"/>
                </a:lnTo>
                <a:close/>
                <a:moveTo>
                  <a:pt x="3306" y="18"/>
                </a:moveTo>
                <a:lnTo>
                  <a:pt x="3396" y="425"/>
                </a:lnTo>
                <a:lnTo>
                  <a:pt x="3404" y="463"/>
                </a:lnTo>
                <a:lnTo>
                  <a:pt x="3408" y="481"/>
                </a:lnTo>
                <a:lnTo>
                  <a:pt x="3412" y="501"/>
                </a:lnTo>
                <a:lnTo>
                  <a:pt x="3419" y="539"/>
                </a:lnTo>
                <a:lnTo>
                  <a:pt x="3426" y="581"/>
                </a:lnTo>
                <a:lnTo>
                  <a:pt x="3426" y="495"/>
                </a:lnTo>
                <a:lnTo>
                  <a:pt x="3426" y="407"/>
                </a:lnTo>
                <a:lnTo>
                  <a:pt x="3426" y="18"/>
                </a:lnTo>
                <a:lnTo>
                  <a:pt x="3491" y="18"/>
                </a:lnTo>
                <a:lnTo>
                  <a:pt x="3491" y="788"/>
                </a:lnTo>
                <a:lnTo>
                  <a:pt x="3412" y="788"/>
                </a:lnTo>
                <a:lnTo>
                  <a:pt x="3320" y="383"/>
                </a:lnTo>
                <a:lnTo>
                  <a:pt x="3312" y="345"/>
                </a:lnTo>
                <a:lnTo>
                  <a:pt x="3305" y="307"/>
                </a:lnTo>
                <a:lnTo>
                  <a:pt x="3297" y="269"/>
                </a:lnTo>
                <a:lnTo>
                  <a:pt x="3290" y="228"/>
                </a:lnTo>
                <a:lnTo>
                  <a:pt x="3290" y="403"/>
                </a:lnTo>
                <a:lnTo>
                  <a:pt x="3290" y="788"/>
                </a:lnTo>
                <a:lnTo>
                  <a:pt x="3226" y="788"/>
                </a:lnTo>
                <a:lnTo>
                  <a:pt x="3226" y="18"/>
                </a:lnTo>
                <a:lnTo>
                  <a:pt x="3306" y="18"/>
                </a:lnTo>
                <a:close/>
                <a:moveTo>
                  <a:pt x="3618" y="735"/>
                </a:moveTo>
                <a:lnTo>
                  <a:pt x="3611" y="719"/>
                </a:lnTo>
                <a:lnTo>
                  <a:pt x="3605" y="701"/>
                </a:lnTo>
                <a:lnTo>
                  <a:pt x="3599" y="681"/>
                </a:lnTo>
                <a:lnTo>
                  <a:pt x="3597" y="669"/>
                </a:lnTo>
                <a:lnTo>
                  <a:pt x="3595" y="659"/>
                </a:lnTo>
                <a:lnTo>
                  <a:pt x="3591" y="635"/>
                </a:lnTo>
                <a:lnTo>
                  <a:pt x="3589" y="609"/>
                </a:lnTo>
                <a:lnTo>
                  <a:pt x="3588" y="595"/>
                </a:lnTo>
                <a:lnTo>
                  <a:pt x="3587" y="581"/>
                </a:lnTo>
                <a:lnTo>
                  <a:pt x="3587" y="549"/>
                </a:lnTo>
                <a:lnTo>
                  <a:pt x="3587" y="18"/>
                </a:lnTo>
                <a:lnTo>
                  <a:pt x="3652" y="18"/>
                </a:lnTo>
                <a:lnTo>
                  <a:pt x="3652" y="543"/>
                </a:lnTo>
                <a:lnTo>
                  <a:pt x="3652" y="563"/>
                </a:lnTo>
                <a:lnTo>
                  <a:pt x="3652" y="581"/>
                </a:lnTo>
                <a:lnTo>
                  <a:pt x="3653" y="597"/>
                </a:lnTo>
                <a:lnTo>
                  <a:pt x="3655" y="611"/>
                </a:lnTo>
                <a:lnTo>
                  <a:pt x="3657" y="625"/>
                </a:lnTo>
                <a:lnTo>
                  <a:pt x="3659" y="637"/>
                </a:lnTo>
                <a:lnTo>
                  <a:pt x="3662" y="649"/>
                </a:lnTo>
                <a:lnTo>
                  <a:pt x="3665" y="659"/>
                </a:lnTo>
                <a:lnTo>
                  <a:pt x="3669" y="667"/>
                </a:lnTo>
                <a:lnTo>
                  <a:pt x="3674" y="675"/>
                </a:lnTo>
                <a:lnTo>
                  <a:pt x="3679" y="683"/>
                </a:lnTo>
                <a:lnTo>
                  <a:pt x="3685" y="689"/>
                </a:lnTo>
                <a:lnTo>
                  <a:pt x="3688" y="691"/>
                </a:lnTo>
                <a:lnTo>
                  <a:pt x="3692" y="693"/>
                </a:lnTo>
                <a:lnTo>
                  <a:pt x="3699" y="697"/>
                </a:lnTo>
                <a:lnTo>
                  <a:pt x="3706" y="699"/>
                </a:lnTo>
                <a:lnTo>
                  <a:pt x="3715" y="699"/>
                </a:lnTo>
                <a:lnTo>
                  <a:pt x="3723" y="699"/>
                </a:lnTo>
                <a:lnTo>
                  <a:pt x="3731" y="697"/>
                </a:lnTo>
                <a:lnTo>
                  <a:pt x="3738" y="693"/>
                </a:lnTo>
                <a:lnTo>
                  <a:pt x="3744" y="689"/>
                </a:lnTo>
                <a:lnTo>
                  <a:pt x="3750" y="683"/>
                </a:lnTo>
                <a:lnTo>
                  <a:pt x="3755" y="675"/>
                </a:lnTo>
                <a:lnTo>
                  <a:pt x="3760" y="667"/>
                </a:lnTo>
                <a:lnTo>
                  <a:pt x="3764" y="659"/>
                </a:lnTo>
                <a:lnTo>
                  <a:pt x="3768" y="649"/>
                </a:lnTo>
                <a:lnTo>
                  <a:pt x="3770" y="637"/>
                </a:lnTo>
                <a:lnTo>
                  <a:pt x="3773" y="625"/>
                </a:lnTo>
                <a:lnTo>
                  <a:pt x="3775" y="613"/>
                </a:lnTo>
                <a:lnTo>
                  <a:pt x="3776" y="597"/>
                </a:lnTo>
                <a:lnTo>
                  <a:pt x="3777" y="581"/>
                </a:lnTo>
                <a:lnTo>
                  <a:pt x="3778" y="563"/>
                </a:lnTo>
                <a:lnTo>
                  <a:pt x="3778" y="543"/>
                </a:lnTo>
                <a:lnTo>
                  <a:pt x="3778" y="18"/>
                </a:lnTo>
                <a:lnTo>
                  <a:pt x="3843" y="18"/>
                </a:lnTo>
                <a:lnTo>
                  <a:pt x="3843" y="549"/>
                </a:lnTo>
                <a:lnTo>
                  <a:pt x="3843" y="581"/>
                </a:lnTo>
                <a:lnTo>
                  <a:pt x="3842" y="595"/>
                </a:lnTo>
                <a:lnTo>
                  <a:pt x="3841" y="609"/>
                </a:lnTo>
                <a:lnTo>
                  <a:pt x="3838" y="635"/>
                </a:lnTo>
                <a:lnTo>
                  <a:pt x="3835" y="659"/>
                </a:lnTo>
                <a:lnTo>
                  <a:pt x="3833" y="669"/>
                </a:lnTo>
                <a:lnTo>
                  <a:pt x="3830" y="681"/>
                </a:lnTo>
                <a:lnTo>
                  <a:pt x="3825" y="701"/>
                </a:lnTo>
                <a:lnTo>
                  <a:pt x="3822" y="709"/>
                </a:lnTo>
                <a:lnTo>
                  <a:pt x="3819" y="719"/>
                </a:lnTo>
                <a:lnTo>
                  <a:pt x="3815" y="727"/>
                </a:lnTo>
                <a:lnTo>
                  <a:pt x="3812" y="735"/>
                </a:lnTo>
                <a:lnTo>
                  <a:pt x="3807" y="744"/>
                </a:lnTo>
                <a:lnTo>
                  <a:pt x="3802" y="752"/>
                </a:lnTo>
                <a:lnTo>
                  <a:pt x="3792" y="766"/>
                </a:lnTo>
                <a:lnTo>
                  <a:pt x="3781" y="778"/>
                </a:lnTo>
                <a:lnTo>
                  <a:pt x="3775" y="784"/>
                </a:lnTo>
                <a:lnTo>
                  <a:pt x="3769" y="788"/>
                </a:lnTo>
                <a:lnTo>
                  <a:pt x="3757" y="796"/>
                </a:lnTo>
                <a:lnTo>
                  <a:pt x="3750" y="800"/>
                </a:lnTo>
                <a:lnTo>
                  <a:pt x="3743" y="802"/>
                </a:lnTo>
                <a:lnTo>
                  <a:pt x="3729" y="806"/>
                </a:lnTo>
                <a:lnTo>
                  <a:pt x="3722" y="806"/>
                </a:lnTo>
                <a:lnTo>
                  <a:pt x="3715" y="806"/>
                </a:lnTo>
                <a:lnTo>
                  <a:pt x="3700" y="806"/>
                </a:lnTo>
                <a:lnTo>
                  <a:pt x="3686" y="802"/>
                </a:lnTo>
                <a:lnTo>
                  <a:pt x="3679" y="800"/>
                </a:lnTo>
                <a:lnTo>
                  <a:pt x="3673" y="796"/>
                </a:lnTo>
                <a:lnTo>
                  <a:pt x="3660" y="788"/>
                </a:lnTo>
                <a:lnTo>
                  <a:pt x="3648" y="778"/>
                </a:lnTo>
                <a:lnTo>
                  <a:pt x="3637" y="766"/>
                </a:lnTo>
                <a:lnTo>
                  <a:pt x="3627" y="750"/>
                </a:lnTo>
                <a:lnTo>
                  <a:pt x="3623" y="742"/>
                </a:lnTo>
                <a:lnTo>
                  <a:pt x="3618" y="735"/>
                </a:lnTo>
                <a:close/>
                <a:moveTo>
                  <a:pt x="4052" y="806"/>
                </a:moveTo>
                <a:lnTo>
                  <a:pt x="4036" y="806"/>
                </a:lnTo>
                <a:lnTo>
                  <a:pt x="4020" y="802"/>
                </a:lnTo>
                <a:lnTo>
                  <a:pt x="4006" y="796"/>
                </a:lnTo>
                <a:lnTo>
                  <a:pt x="4000" y="792"/>
                </a:lnTo>
                <a:lnTo>
                  <a:pt x="3993" y="788"/>
                </a:lnTo>
                <a:lnTo>
                  <a:pt x="3981" y="780"/>
                </a:lnTo>
                <a:lnTo>
                  <a:pt x="3975" y="774"/>
                </a:lnTo>
                <a:lnTo>
                  <a:pt x="3970" y="768"/>
                </a:lnTo>
                <a:lnTo>
                  <a:pt x="3960" y="756"/>
                </a:lnTo>
                <a:lnTo>
                  <a:pt x="3956" y="748"/>
                </a:lnTo>
                <a:lnTo>
                  <a:pt x="3951" y="740"/>
                </a:lnTo>
                <a:lnTo>
                  <a:pt x="3947" y="733"/>
                </a:lnTo>
                <a:lnTo>
                  <a:pt x="3943" y="725"/>
                </a:lnTo>
                <a:lnTo>
                  <a:pt x="3939" y="717"/>
                </a:lnTo>
                <a:lnTo>
                  <a:pt x="3936" y="707"/>
                </a:lnTo>
                <a:lnTo>
                  <a:pt x="3930" y="687"/>
                </a:lnTo>
                <a:lnTo>
                  <a:pt x="3926" y="667"/>
                </a:lnTo>
                <a:lnTo>
                  <a:pt x="3924" y="657"/>
                </a:lnTo>
                <a:lnTo>
                  <a:pt x="3922" y="645"/>
                </a:lnTo>
                <a:lnTo>
                  <a:pt x="3919" y="623"/>
                </a:lnTo>
                <a:lnTo>
                  <a:pt x="3918" y="599"/>
                </a:lnTo>
                <a:lnTo>
                  <a:pt x="3917" y="585"/>
                </a:lnTo>
                <a:lnTo>
                  <a:pt x="3917" y="573"/>
                </a:lnTo>
                <a:lnTo>
                  <a:pt x="3980" y="545"/>
                </a:lnTo>
                <a:lnTo>
                  <a:pt x="3981" y="567"/>
                </a:lnTo>
                <a:lnTo>
                  <a:pt x="3982" y="587"/>
                </a:lnTo>
                <a:lnTo>
                  <a:pt x="3984" y="603"/>
                </a:lnTo>
                <a:lnTo>
                  <a:pt x="3986" y="619"/>
                </a:lnTo>
                <a:lnTo>
                  <a:pt x="3988" y="627"/>
                </a:lnTo>
                <a:lnTo>
                  <a:pt x="3989" y="635"/>
                </a:lnTo>
                <a:lnTo>
                  <a:pt x="3993" y="647"/>
                </a:lnTo>
                <a:lnTo>
                  <a:pt x="3997" y="659"/>
                </a:lnTo>
                <a:lnTo>
                  <a:pt x="4001" y="667"/>
                </a:lnTo>
                <a:lnTo>
                  <a:pt x="4006" y="677"/>
                </a:lnTo>
                <a:lnTo>
                  <a:pt x="4012" y="683"/>
                </a:lnTo>
                <a:lnTo>
                  <a:pt x="4018" y="689"/>
                </a:lnTo>
                <a:lnTo>
                  <a:pt x="4025" y="693"/>
                </a:lnTo>
                <a:lnTo>
                  <a:pt x="4032" y="697"/>
                </a:lnTo>
                <a:lnTo>
                  <a:pt x="4039" y="699"/>
                </a:lnTo>
                <a:lnTo>
                  <a:pt x="4047" y="701"/>
                </a:lnTo>
                <a:lnTo>
                  <a:pt x="4056" y="701"/>
                </a:lnTo>
                <a:lnTo>
                  <a:pt x="4063" y="701"/>
                </a:lnTo>
                <a:lnTo>
                  <a:pt x="4070" y="699"/>
                </a:lnTo>
                <a:lnTo>
                  <a:pt x="4077" y="697"/>
                </a:lnTo>
                <a:lnTo>
                  <a:pt x="4083" y="695"/>
                </a:lnTo>
                <a:lnTo>
                  <a:pt x="4089" y="691"/>
                </a:lnTo>
                <a:lnTo>
                  <a:pt x="4095" y="685"/>
                </a:lnTo>
                <a:lnTo>
                  <a:pt x="4100" y="679"/>
                </a:lnTo>
                <a:lnTo>
                  <a:pt x="4105" y="673"/>
                </a:lnTo>
                <a:lnTo>
                  <a:pt x="4109" y="665"/>
                </a:lnTo>
                <a:lnTo>
                  <a:pt x="4113" y="657"/>
                </a:lnTo>
                <a:lnTo>
                  <a:pt x="4116" y="649"/>
                </a:lnTo>
                <a:lnTo>
                  <a:pt x="4119" y="639"/>
                </a:lnTo>
                <a:lnTo>
                  <a:pt x="4121" y="627"/>
                </a:lnTo>
                <a:lnTo>
                  <a:pt x="4122" y="623"/>
                </a:lnTo>
                <a:lnTo>
                  <a:pt x="4123" y="617"/>
                </a:lnTo>
                <a:lnTo>
                  <a:pt x="4124" y="605"/>
                </a:lnTo>
                <a:lnTo>
                  <a:pt x="4124" y="591"/>
                </a:lnTo>
                <a:lnTo>
                  <a:pt x="4124" y="581"/>
                </a:lnTo>
                <a:lnTo>
                  <a:pt x="4123" y="571"/>
                </a:lnTo>
                <a:lnTo>
                  <a:pt x="4122" y="563"/>
                </a:lnTo>
                <a:lnTo>
                  <a:pt x="4121" y="553"/>
                </a:lnTo>
                <a:lnTo>
                  <a:pt x="4119" y="545"/>
                </a:lnTo>
                <a:lnTo>
                  <a:pt x="4117" y="537"/>
                </a:lnTo>
                <a:lnTo>
                  <a:pt x="4115" y="529"/>
                </a:lnTo>
                <a:lnTo>
                  <a:pt x="4112" y="521"/>
                </a:lnTo>
                <a:lnTo>
                  <a:pt x="4104" y="505"/>
                </a:lnTo>
                <a:lnTo>
                  <a:pt x="4100" y="497"/>
                </a:lnTo>
                <a:lnTo>
                  <a:pt x="4095" y="491"/>
                </a:lnTo>
                <a:lnTo>
                  <a:pt x="4084" y="477"/>
                </a:lnTo>
                <a:lnTo>
                  <a:pt x="4071" y="465"/>
                </a:lnTo>
                <a:lnTo>
                  <a:pt x="4007" y="407"/>
                </a:lnTo>
                <a:lnTo>
                  <a:pt x="3998" y="399"/>
                </a:lnTo>
                <a:lnTo>
                  <a:pt x="3988" y="389"/>
                </a:lnTo>
                <a:lnTo>
                  <a:pt x="3972" y="369"/>
                </a:lnTo>
                <a:lnTo>
                  <a:pt x="3958" y="349"/>
                </a:lnTo>
                <a:lnTo>
                  <a:pt x="3953" y="337"/>
                </a:lnTo>
                <a:lnTo>
                  <a:pt x="3947" y="325"/>
                </a:lnTo>
                <a:lnTo>
                  <a:pt x="3942" y="313"/>
                </a:lnTo>
                <a:lnTo>
                  <a:pt x="3937" y="299"/>
                </a:lnTo>
                <a:lnTo>
                  <a:pt x="3934" y="285"/>
                </a:lnTo>
                <a:lnTo>
                  <a:pt x="3931" y="269"/>
                </a:lnTo>
                <a:lnTo>
                  <a:pt x="3929" y="253"/>
                </a:lnTo>
                <a:lnTo>
                  <a:pt x="3928" y="246"/>
                </a:lnTo>
                <a:lnTo>
                  <a:pt x="3927" y="238"/>
                </a:lnTo>
                <a:lnTo>
                  <a:pt x="3927" y="220"/>
                </a:lnTo>
                <a:lnTo>
                  <a:pt x="3926" y="200"/>
                </a:lnTo>
                <a:lnTo>
                  <a:pt x="3926" y="188"/>
                </a:lnTo>
                <a:lnTo>
                  <a:pt x="3927" y="176"/>
                </a:lnTo>
                <a:lnTo>
                  <a:pt x="3928" y="164"/>
                </a:lnTo>
                <a:lnTo>
                  <a:pt x="3929" y="152"/>
                </a:lnTo>
                <a:lnTo>
                  <a:pt x="3930" y="142"/>
                </a:lnTo>
                <a:lnTo>
                  <a:pt x="3932" y="132"/>
                </a:lnTo>
                <a:lnTo>
                  <a:pt x="3936" y="112"/>
                </a:lnTo>
                <a:lnTo>
                  <a:pt x="3939" y="102"/>
                </a:lnTo>
                <a:lnTo>
                  <a:pt x="3942" y="94"/>
                </a:lnTo>
                <a:lnTo>
                  <a:pt x="3949" y="78"/>
                </a:lnTo>
                <a:lnTo>
                  <a:pt x="3957" y="62"/>
                </a:lnTo>
                <a:lnTo>
                  <a:pt x="3961" y="56"/>
                </a:lnTo>
                <a:lnTo>
                  <a:pt x="3965" y="50"/>
                </a:lnTo>
                <a:lnTo>
                  <a:pt x="3974" y="38"/>
                </a:lnTo>
                <a:lnTo>
                  <a:pt x="3984" y="28"/>
                </a:lnTo>
                <a:lnTo>
                  <a:pt x="3994" y="20"/>
                </a:lnTo>
                <a:lnTo>
                  <a:pt x="4005" y="12"/>
                </a:lnTo>
                <a:lnTo>
                  <a:pt x="4017" y="6"/>
                </a:lnTo>
                <a:lnTo>
                  <a:pt x="4029" y="4"/>
                </a:lnTo>
                <a:lnTo>
                  <a:pt x="4042" y="0"/>
                </a:lnTo>
                <a:lnTo>
                  <a:pt x="4055" y="0"/>
                </a:lnTo>
                <a:lnTo>
                  <a:pt x="4070" y="2"/>
                </a:lnTo>
                <a:lnTo>
                  <a:pt x="4085" y="4"/>
                </a:lnTo>
                <a:lnTo>
                  <a:pt x="4098" y="10"/>
                </a:lnTo>
                <a:lnTo>
                  <a:pt x="4104" y="14"/>
                </a:lnTo>
                <a:lnTo>
                  <a:pt x="4110" y="18"/>
                </a:lnTo>
                <a:lnTo>
                  <a:pt x="4122" y="26"/>
                </a:lnTo>
                <a:lnTo>
                  <a:pt x="4132" y="38"/>
                </a:lnTo>
                <a:lnTo>
                  <a:pt x="4141" y="50"/>
                </a:lnTo>
                <a:lnTo>
                  <a:pt x="4149" y="64"/>
                </a:lnTo>
                <a:lnTo>
                  <a:pt x="4153" y="72"/>
                </a:lnTo>
                <a:lnTo>
                  <a:pt x="4156" y="78"/>
                </a:lnTo>
                <a:lnTo>
                  <a:pt x="4159" y="86"/>
                </a:lnTo>
                <a:lnTo>
                  <a:pt x="4162" y="94"/>
                </a:lnTo>
                <a:lnTo>
                  <a:pt x="4167" y="112"/>
                </a:lnTo>
                <a:lnTo>
                  <a:pt x="4172" y="128"/>
                </a:lnTo>
                <a:lnTo>
                  <a:pt x="4175" y="146"/>
                </a:lnTo>
                <a:lnTo>
                  <a:pt x="4177" y="166"/>
                </a:lnTo>
                <a:lnTo>
                  <a:pt x="4179" y="184"/>
                </a:lnTo>
                <a:lnTo>
                  <a:pt x="4179" y="202"/>
                </a:lnTo>
                <a:lnTo>
                  <a:pt x="4117" y="228"/>
                </a:lnTo>
                <a:lnTo>
                  <a:pt x="4117" y="212"/>
                </a:lnTo>
                <a:lnTo>
                  <a:pt x="4115" y="198"/>
                </a:lnTo>
                <a:lnTo>
                  <a:pt x="4114" y="186"/>
                </a:lnTo>
                <a:lnTo>
                  <a:pt x="4112" y="172"/>
                </a:lnTo>
                <a:lnTo>
                  <a:pt x="4109" y="162"/>
                </a:lnTo>
                <a:lnTo>
                  <a:pt x="4106" y="152"/>
                </a:lnTo>
                <a:lnTo>
                  <a:pt x="4103" y="142"/>
                </a:lnTo>
                <a:lnTo>
                  <a:pt x="4099" y="136"/>
                </a:lnTo>
                <a:lnTo>
                  <a:pt x="4095" y="128"/>
                </a:lnTo>
                <a:lnTo>
                  <a:pt x="4090" y="122"/>
                </a:lnTo>
                <a:lnTo>
                  <a:pt x="4085" y="118"/>
                </a:lnTo>
                <a:lnTo>
                  <a:pt x="4079" y="114"/>
                </a:lnTo>
                <a:lnTo>
                  <a:pt x="4073" y="110"/>
                </a:lnTo>
                <a:lnTo>
                  <a:pt x="4067" y="108"/>
                </a:lnTo>
                <a:lnTo>
                  <a:pt x="4060" y="108"/>
                </a:lnTo>
                <a:lnTo>
                  <a:pt x="4052" y="106"/>
                </a:lnTo>
                <a:lnTo>
                  <a:pt x="4040" y="108"/>
                </a:lnTo>
                <a:lnTo>
                  <a:pt x="4028" y="112"/>
                </a:lnTo>
                <a:lnTo>
                  <a:pt x="4023" y="116"/>
                </a:lnTo>
                <a:lnTo>
                  <a:pt x="4018" y="120"/>
                </a:lnTo>
                <a:lnTo>
                  <a:pt x="4013" y="124"/>
                </a:lnTo>
                <a:lnTo>
                  <a:pt x="4009" y="128"/>
                </a:lnTo>
                <a:lnTo>
                  <a:pt x="4005" y="134"/>
                </a:lnTo>
                <a:lnTo>
                  <a:pt x="4002" y="140"/>
                </a:lnTo>
                <a:lnTo>
                  <a:pt x="3999" y="148"/>
                </a:lnTo>
                <a:lnTo>
                  <a:pt x="3996" y="156"/>
                </a:lnTo>
                <a:lnTo>
                  <a:pt x="3994" y="164"/>
                </a:lnTo>
                <a:lnTo>
                  <a:pt x="3993" y="174"/>
                </a:lnTo>
                <a:lnTo>
                  <a:pt x="3992" y="184"/>
                </a:lnTo>
                <a:lnTo>
                  <a:pt x="3992" y="194"/>
                </a:lnTo>
                <a:lnTo>
                  <a:pt x="3992" y="204"/>
                </a:lnTo>
                <a:lnTo>
                  <a:pt x="3992" y="214"/>
                </a:lnTo>
                <a:lnTo>
                  <a:pt x="3993" y="224"/>
                </a:lnTo>
                <a:lnTo>
                  <a:pt x="3994" y="232"/>
                </a:lnTo>
                <a:lnTo>
                  <a:pt x="3996" y="240"/>
                </a:lnTo>
                <a:lnTo>
                  <a:pt x="3998" y="248"/>
                </a:lnTo>
                <a:lnTo>
                  <a:pt x="4001" y="255"/>
                </a:lnTo>
                <a:lnTo>
                  <a:pt x="4003" y="261"/>
                </a:lnTo>
                <a:lnTo>
                  <a:pt x="4007" y="267"/>
                </a:lnTo>
                <a:lnTo>
                  <a:pt x="4010" y="273"/>
                </a:lnTo>
                <a:lnTo>
                  <a:pt x="4019" y="285"/>
                </a:lnTo>
                <a:lnTo>
                  <a:pt x="4029" y="297"/>
                </a:lnTo>
                <a:lnTo>
                  <a:pt x="4041" y="309"/>
                </a:lnTo>
                <a:lnTo>
                  <a:pt x="4103" y="363"/>
                </a:lnTo>
                <a:lnTo>
                  <a:pt x="4113" y="373"/>
                </a:lnTo>
                <a:lnTo>
                  <a:pt x="4123" y="383"/>
                </a:lnTo>
                <a:lnTo>
                  <a:pt x="4133" y="393"/>
                </a:lnTo>
                <a:lnTo>
                  <a:pt x="4141" y="405"/>
                </a:lnTo>
                <a:lnTo>
                  <a:pt x="4149" y="417"/>
                </a:lnTo>
                <a:lnTo>
                  <a:pt x="4156" y="427"/>
                </a:lnTo>
                <a:lnTo>
                  <a:pt x="4162" y="441"/>
                </a:lnTo>
                <a:lnTo>
                  <a:pt x="4168" y="453"/>
                </a:lnTo>
                <a:lnTo>
                  <a:pt x="4173" y="467"/>
                </a:lnTo>
                <a:lnTo>
                  <a:pt x="4177" y="481"/>
                </a:lnTo>
                <a:lnTo>
                  <a:pt x="4181" y="495"/>
                </a:lnTo>
                <a:lnTo>
                  <a:pt x="4184" y="511"/>
                </a:lnTo>
                <a:lnTo>
                  <a:pt x="4186" y="527"/>
                </a:lnTo>
                <a:lnTo>
                  <a:pt x="4187" y="537"/>
                </a:lnTo>
                <a:lnTo>
                  <a:pt x="4187" y="545"/>
                </a:lnTo>
                <a:lnTo>
                  <a:pt x="4188" y="563"/>
                </a:lnTo>
                <a:lnTo>
                  <a:pt x="4189" y="583"/>
                </a:lnTo>
                <a:lnTo>
                  <a:pt x="4188" y="609"/>
                </a:lnTo>
                <a:lnTo>
                  <a:pt x="4186" y="633"/>
                </a:lnTo>
                <a:lnTo>
                  <a:pt x="4185" y="645"/>
                </a:lnTo>
                <a:lnTo>
                  <a:pt x="4183" y="655"/>
                </a:lnTo>
                <a:lnTo>
                  <a:pt x="4181" y="667"/>
                </a:lnTo>
                <a:lnTo>
                  <a:pt x="4179" y="677"/>
                </a:lnTo>
                <a:lnTo>
                  <a:pt x="4177" y="687"/>
                </a:lnTo>
                <a:lnTo>
                  <a:pt x="4174" y="697"/>
                </a:lnTo>
                <a:lnTo>
                  <a:pt x="4167" y="715"/>
                </a:lnTo>
                <a:lnTo>
                  <a:pt x="4164" y="723"/>
                </a:lnTo>
                <a:lnTo>
                  <a:pt x="4160" y="733"/>
                </a:lnTo>
                <a:lnTo>
                  <a:pt x="4152" y="746"/>
                </a:lnTo>
                <a:lnTo>
                  <a:pt x="4147" y="754"/>
                </a:lnTo>
                <a:lnTo>
                  <a:pt x="4142" y="760"/>
                </a:lnTo>
                <a:lnTo>
                  <a:pt x="4137" y="766"/>
                </a:lnTo>
                <a:lnTo>
                  <a:pt x="4132" y="772"/>
                </a:lnTo>
                <a:lnTo>
                  <a:pt x="4121" y="782"/>
                </a:lnTo>
                <a:lnTo>
                  <a:pt x="4109" y="790"/>
                </a:lnTo>
                <a:lnTo>
                  <a:pt x="4096" y="798"/>
                </a:lnTo>
                <a:lnTo>
                  <a:pt x="4082" y="802"/>
                </a:lnTo>
                <a:lnTo>
                  <a:pt x="4075" y="804"/>
                </a:lnTo>
                <a:lnTo>
                  <a:pt x="4068" y="804"/>
                </a:lnTo>
                <a:lnTo>
                  <a:pt x="4052" y="806"/>
                </a:lnTo>
                <a:close/>
                <a:moveTo>
                  <a:pt x="1669" y="1273"/>
                </a:moveTo>
                <a:lnTo>
                  <a:pt x="1669" y="1936"/>
                </a:lnTo>
                <a:lnTo>
                  <a:pt x="1604" y="1936"/>
                </a:lnTo>
                <a:lnTo>
                  <a:pt x="1604" y="1273"/>
                </a:lnTo>
                <a:lnTo>
                  <a:pt x="1506" y="1273"/>
                </a:lnTo>
                <a:lnTo>
                  <a:pt x="1506" y="1166"/>
                </a:lnTo>
                <a:lnTo>
                  <a:pt x="1767" y="1166"/>
                </a:lnTo>
                <a:lnTo>
                  <a:pt x="1767" y="1273"/>
                </a:lnTo>
                <a:lnTo>
                  <a:pt x="1669" y="1273"/>
                </a:lnTo>
                <a:close/>
                <a:moveTo>
                  <a:pt x="1832" y="1936"/>
                </a:moveTo>
                <a:lnTo>
                  <a:pt x="1832" y="1166"/>
                </a:lnTo>
                <a:lnTo>
                  <a:pt x="2060" y="1166"/>
                </a:lnTo>
                <a:lnTo>
                  <a:pt x="2060" y="1273"/>
                </a:lnTo>
                <a:lnTo>
                  <a:pt x="1897" y="1273"/>
                </a:lnTo>
                <a:lnTo>
                  <a:pt x="1897" y="1489"/>
                </a:lnTo>
                <a:lnTo>
                  <a:pt x="2030" y="1489"/>
                </a:lnTo>
                <a:lnTo>
                  <a:pt x="2030" y="1593"/>
                </a:lnTo>
                <a:lnTo>
                  <a:pt x="1897" y="1593"/>
                </a:lnTo>
                <a:lnTo>
                  <a:pt x="1897" y="1828"/>
                </a:lnTo>
                <a:lnTo>
                  <a:pt x="2060" y="1828"/>
                </a:lnTo>
                <a:lnTo>
                  <a:pt x="2060" y="1936"/>
                </a:lnTo>
                <a:lnTo>
                  <a:pt x="1832" y="1936"/>
                </a:lnTo>
                <a:close/>
                <a:moveTo>
                  <a:pt x="2260" y="1954"/>
                </a:moveTo>
                <a:lnTo>
                  <a:pt x="2251" y="1954"/>
                </a:lnTo>
                <a:lnTo>
                  <a:pt x="2242" y="1952"/>
                </a:lnTo>
                <a:lnTo>
                  <a:pt x="2234" y="1950"/>
                </a:lnTo>
                <a:lnTo>
                  <a:pt x="2226" y="1948"/>
                </a:lnTo>
                <a:lnTo>
                  <a:pt x="2218" y="1944"/>
                </a:lnTo>
                <a:lnTo>
                  <a:pt x="2211" y="1938"/>
                </a:lnTo>
                <a:lnTo>
                  <a:pt x="2204" y="1932"/>
                </a:lnTo>
                <a:lnTo>
                  <a:pt x="2197" y="1926"/>
                </a:lnTo>
                <a:lnTo>
                  <a:pt x="2190" y="1920"/>
                </a:lnTo>
                <a:lnTo>
                  <a:pt x="2184" y="1912"/>
                </a:lnTo>
                <a:lnTo>
                  <a:pt x="2178" y="1902"/>
                </a:lnTo>
                <a:lnTo>
                  <a:pt x="2172" y="1892"/>
                </a:lnTo>
                <a:lnTo>
                  <a:pt x="2166" y="1882"/>
                </a:lnTo>
                <a:lnTo>
                  <a:pt x="2161" y="1872"/>
                </a:lnTo>
                <a:lnTo>
                  <a:pt x="2156" y="1860"/>
                </a:lnTo>
                <a:lnTo>
                  <a:pt x="2151" y="1846"/>
                </a:lnTo>
                <a:lnTo>
                  <a:pt x="2147" y="1834"/>
                </a:lnTo>
                <a:lnTo>
                  <a:pt x="2143" y="1820"/>
                </a:lnTo>
                <a:lnTo>
                  <a:pt x="2139" y="1804"/>
                </a:lnTo>
                <a:lnTo>
                  <a:pt x="2135" y="1788"/>
                </a:lnTo>
                <a:lnTo>
                  <a:pt x="2132" y="1772"/>
                </a:lnTo>
                <a:lnTo>
                  <a:pt x="2129" y="1756"/>
                </a:lnTo>
                <a:lnTo>
                  <a:pt x="2126" y="1738"/>
                </a:lnTo>
                <a:lnTo>
                  <a:pt x="2124" y="1720"/>
                </a:lnTo>
                <a:lnTo>
                  <a:pt x="2121" y="1701"/>
                </a:lnTo>
                <a:lnTo>
                  <a:pt x="2120" y="1681"/>
                </a:lnTo>
                <a:lnTo>
                  <a:pt x="2118" y="1661"/>
                </a:lnTo>
                <a:lnTo>
                  <a:pt x="2117" y="1641"/>
                </a:lnTo>
                <a:lnTo>
                  <a:pt x="2115" y="1597"/>
                </a:lnTo>
                <a:lnTo>
                  <a:pt x="2114" y="1575"/>
                </a:lnTo>
                <a:lnTo>
                  <a:pt x="2114" y="1551"/>
                </a:lnTo>
                <a:lnTo>
                  <a:pt x="2115" y="1505"/>
                </a:lnTo>
                <a:lnTo>
                  <a:pt x="2117" y="1461"/>
                </a:lnTo>
                <a:lnTo>
                  <a:pt x="2118" y="1441"/>
                </a:lnTo>
                <a:lnTo>
                  <a:pt x="2120" y="1421"/>
                </a:lnTo>
                <a:lnTo>
                  <a:pt x="2124" y="1383"/>
                </a:lnTo>
                <a:lnTo>
                  <a:pt x="2126" y="1363"/>
                </a:lnTo>
                <a:lnTo>
                  <a:pt x="2129" y="1347"/>
                </a:lnTo>
                <a:lnTo>
                  <a:pt x="2135" y="1313"/>
                </a:lnTo>
                <a:lnTo>
                  <a:pt x="2139" y="1297"/>
                </a:lnTo>
                <a:lnTo>
                  <a:pt x="2143" y="1283"/>
                </a:lnTo>
                <a:lnTo>
                  <a:pt x="2147" y="1269"/>
                </a:lnTo>
                <a:lnTo>
                  <a:pt x="2151" y="1255"/>
                </a:lnTo>
                <a:lnTo>
                  <a:pt x="2156" y="1243"/>
                </a:lnTo>
                <a:lnTo>
                  <a:pt x="2161" y="1231"/>
                </a:lnTo>
                <a:lnTo>
                  <a:pt x="2166" y="1220"/>
                </a:lnTo>
                <a:lnTo>
                  <a:pt x="2172" y="1210"/>
                </a:lnTo>
                <a:lnTo>
                  <a:pt x="2178" y="1200"/>
                </a:lnTo>
                <a:lnTo>
                  <a:pt x="2184" y="1192"/>
                </a:lnTo>
                <a:lnTo>
                  <a:pt x="2197" y="1176"/>
                </a:lnTo>
                <a:lnTo>
                  <a:pt x="2204" y="1170"/>
                </a:lnTo>
                <a:lnTo>
                  <a:pt x="2211" y="1164"/>
                </a:lnTo>
                <a:lnTo>
                  <a:pt x="2218" y="1160"/>
                </a:lnTo>
                <a:lnTo>
                  <a:pt x="2226" y="1156"/>
                </a:lnTo>
                <a:lnTo>
                  <a:pt x="2234" y="1152"/>
                </a:lnTo>
                <a:lnTo>
                  <a:pt x="2242" y="1150"/>
                </a:lnTo>
                <a:lnTo>
                  <a:pt x="2251" y="1148"/>
                </a:lnTo>
                <a:lnTo>
                  <a:pt x="2260" y="1148"/>
                </a:lnTo>
                <a:lnTo>
                  <a:pt x="2268" y="1148"/>
                </a:lnTo>
                <a:lnTo>
                  <a:pt x="2277" y="1150"/>
                </a:lnTo>
                <a:lnTo>
                  <a:pt x="2285" y="1152"/>
                </a:lnTo>
                <a:lnTo>
                  <a:pt x="2293" y="1156"/>
                </a:lnTo>
                <a:lnTo>
                  <a:pt x="2301" y="1160"/>
                </a:lnTo>
                <a:lnTo>
                  <a:pt x="2308" y="1164"/>
                </a:lnTo>
                <a:lnTo>
                  <a:pt x="2316" y="1170"/>
                </a:lnTo>
                <a:lnTo>
                  <a:pt x="2323" y="1176"/>
                </a:lnTo>
                <a:lnTo>
                  <a:pt x="2329" y="1184"/>
                </a:lnTo>
                <a:lnTo>
                  <a:pt x="2336" y="1192"/>
                </a:lnTo>
                <a:lnTo>
                  <a:pt x="2342" y="1200"/>
                </a:lnTo>
                <a:lnTo>
                  <a:pt x="2348" y="1210"/>
                </a:lnTo>
                <a:lnTo>
                  <a:pt x="2353" y="1220"/>
                </a:lnTo>
                <a:lnTo>
                  <a:pt x="2359" y="1229"/>
                </a:lnTo>
                <a:lnTo>
                  <a:pt x="2364" y="1241"/>
                </a:lnTo>
                <a:lnTo>
                  <a:pt x="2368" y="1255"/>
                </a:lnTo>
                <a:lnTo>
                  <a:pt x="2377" y="1283"/>
                </a:lnTo>
                <a:lnTo>
                  <a:pt x="2381" y="1297"/>
                </a:lnTo>
                <a:lnTo>
                  <a:pt x="2385" y="1313"/>
                </a:lnTo>
                <a:lnTo>
                  <a:pt x="2391" y="1345"/>
                </a:lnTo>
                <a:lnTo>
                  <a:pt x="2394" y="1363"/>
                </a:lnTo>
                <a:lnTo>
                  <a:pt x="2396" y="1381"/>
                </a:lnTo>
                <a:lnTo>
                  <a:pt x="2398" y="1401"/>
                </a:lnTo>
                <a:lnTo>
                  <a:pt x="2400" y="1421"/>
                </a:lnTo>
                <a:lnTo>
                  <a:pt x="2402" y="1441"/>
                </a:lnTo>
                <a:lnTo>
                  <a:pt x="2403" y="1461"/>
                </a:lnTo>
                <a:lnTo>
                  <a:pt x="2404" y="1483"/>
                </a:lnTo>
                <a:lnTo>
                  <a:pt x="2405" y="1505"/>
                </a:lnTo>
                <a:lnTo>
                  <a:pt x="2405" y="1527"/>
                </a:lnTo>
                <a:lnTo>
                  <a:pt x="2406" y="1551"/>
                </a:lnTo>
                <a:lnTo>
                  <a:pt x="2405" y="1597"/>
                </a:lnTo>
                <a:lnTo>
                  <a:pt x="2403" y="1641"/>
                </a:lnTo>
                <a:lnTo>
                  <a:pt x="2402" y="1663"/>
                </a:lnTo>
                <a:lnTo>
                  <a:pt x="2400" y="1683"/>
                </a:lnTo>
                <a:lnTo>
                  <a:pt x="2396" y="1720"/>
                </a:lnTo>
                <a:lnTo>
                  <a:pt x="2394" y="1738"/>
                </a:lnTo>
                <a:lnTo>
                  <a:pt x="2391" y="1756"/>
                </a:lnTo>
                <a:lnTo>
                  <a:pt x="2388" y="1772"/>
                </a:lnTo>
                <a:lnTo>
                  <a:pt x="2385" y="1790"/>
                </a:lnTo>
                <a:lnTo>
                  <a:pt x="2381" y="1804"/>
                </a:lnTo>
                <a:lnTo>
                  <a:pt x="2377" y="1820"/>
                </a:lnTo>
                <a:lnTo>
                  <a:pt x="2373" y="1834"/>
                </a:lnTo>
                <a:lnTo>
                  <a:pt x="2368" y="1846"/>
                </a:lnTo>
                <a:lnTo>
                  <a:pt x="2364" y="1860"/>
                </a:lnTo>
                <a:lnTo>
                  <a:pt x="2359" y="1872"/>
                </a:lnTo>
                <a:lnTo>
                  <a:pt x="2353" y="1882"/>
                </a:lnTo>
                <a:lnTo>
                  <a:pt x="2348" y="1894"/>
                </a:lnTo>
                <a:lnTo>
                  <a:pt x="2342" y="1902"/>
                </a:lnTo>
                <a:lnTo>
                  <a:pt x="2336" y="1912"/>
                </a:lnTo>
                <a:lnTo>
                  <a:pt x="2329" y="1920"/>
                </a:lnTo>
                <a:lnTo>
                  <a:pt x="2323" y="1926"/>
                </a:lnTo>
                <a:lnTo>
                  <a:pt x="2316" y="1934"/>
                </a:lnTo>
                <a:lnTo>
                  <a:pt x="2308" y="1938"/>
                </a:lnTo>
                <a:lnTo>
                  <a:pt x="2301" y="1944"/>
                </a:lnTo>
                <a:lnTo>
                  <a:pt x="2293" y="1948"/>
                </a:lnTo>
                <a:lnTo>
                  <a:pt x="2285" y="1950"/>
                </a:lnTo>
                <a:lnTo>
                  <a:pt x="2277" y="1952"/>
                </a:lnTo>
                <a:lnTo>
                  <a:pt x="2268" y="1954"/>
                </a:lnTo>
                <a:lnTo>
                  <a:pt x="2260" y="1954"/>
                </a:lnTo>
                <a:close/>
                <a:moveTo>
                  <a:pt x="2260" y="1257"/>
                </a:moveTo>
                <a:lnTo>
                  <a:pt x="2251" y="1257"/>
                </a:lnTo>
                <a:lnTo>
                  <a:pt x="2246" y="1259"/>
                </a:lnTo>
                <a:lnTo>
                  <a:pt x="2242" y="1259"/>
                </a:lnTo>
                <a:lnTo>
                  <a:pt x="2234" y="1265"/>
                </a:lnTo>
                <a:lnTo>
                  <a:pt x="2227" y="1271"/>
                </a:lnTo>
                <a:lnTo>
                  <a:pt x="2223" y="1275"/>
                </a:lnTo>
                <a:lnTo>
                  <a:pt x="2220" y="1281"/>
                </a:lnTo>
                <a:lnTo>
                  <a:pt x="2216" y="1287"/>
                </a:lnTo>
                <a:lnTo>
                  <a:pt x="2213" y="1293"/>
                </a:lnTo>
                <a:lnTo>
                  <a:pt x="2210" y="1299"/>
                </a:lnTo>
                <a:lnTo>
                  <a:pt x="2207" y="1307"/>
                </a:lnTo>
                <a:lnTo>
                  <a:pt x="2201" y="1323"/>
                </a:lnTo>
                <a:lnTo>
                  <a:pt x="2199" y="1331"/>
                </a:lnTo>
                <a:lnTo>
                  <a:pt x="2196" y="1341"/>
                </a:lnTo>
                <a:lnTo>
                  <a:pt x="2192" y="1363"/>
                </a:lnTo>
                <a:lnTo>
                  <a:pt x="2188" y="1387"/>
                </a:lnTo>
                <a:lnTo>
                  <a:pt x="2187" y="1399"/>
                </a:lnTo>
                <a:lnTo>
                  <a:pt x="2185" y="1413"/>
                </a:lnTo>
                <a:lnTo>
                  <a:pt x="2183" y="1443"/>
                </a:lnTo>
                <a:lnTo>
                  <a:pt x="2181" y="1477"/>
                </a:lnTo>
                <a:lnTo>
                  <a:pt x="2180" y="1513"/>
                </a:lnTo>
                <a:lnTo>
                  <a:pt x="2180" y="1551"/>
                </a:lnTo>
                <a:lnTo>
                  <a:pt x="2180" y="1591"/>
                </a:lnTo>
                <a:lnTo>
                  <a:pt x="2181" y="1627"/>
                </a:lnTo>
                <a:lnTo>
                  <a:pt x="2183" y="1659"/>
                </a:lnTo>
                <a:lnTo>
                  <a:pt x="2185" y="1689"/>
                </a:lnTo>
                <a:lnTo>
                  <a:pt x="2188" y="1714"/>
                </a:lnTo>
                <a:lnTo>
                  <a:pt x="2192" y="1738"/>
                </a:lnTo>
                <a:lnTo>
                  <a:pt x="2196" y="1760"/>
                </a:lnTo>
                <a:lnTo>
                  <a:pt x="2201" y="1780"/>
                </a:lnTo>
                <a:lnTo>
                  <a:pt x="2207" y="1796"/>
                </a:lnTo>
                <a:lnTo>
                  <a:pt x="2213" y="1810"/>
                </a:lnTo>
                <a:lnTo>
                  <a:pt x="2220" y="1820"/>
                </a:lnTo>
                <a:lnTo>
                  <a:pt x="2227" y="1830"/>
                </a:lnTo>
                <a:lnTo>
                  <a:pt x="2234" y="1836"/>
                </a:lnTo>
                <a:lnTo>
                  <a:pt x="2242" y="1842"/>
                </a:lnTo>
                <a:lnTo>
                  <a:pt x="2251" y="1844"/>
                </a:lnTo>
                <a:lnTo>
                  <a:pt x="2260" y="1846"/>
                </a:lnTo>
                <a:lnTo>
                  <a:pt x="2269" y="1844"/>
                </a:lnTo>
                <a:lnTo>
                  <a:pt x="2273" y="1844"/>
                </a:lnTo>
                <a:lnTo>
                  <a:pt x="2277" y="1842"/>
                </a:lnTo>
                <a:lnTo>
                  <a:pt x="2285" y="1836"/>
                </a:lnTo>
                <a:lnTo>
                  <a:pt x="2293" y="1830"/>
                </a:lnTo>
                <a:lnTo>
                  <a:pt x="2296" y="1826"/>
                </a:lnTo>
                <a:lnTo>
                  <a:pt x="2300" y="1820"/>
                </a:lnTo>
                <a:lnTo>
                  <a:pt x="2306" y="1808"/>
                </a:lnTo>
                <a:lnTo>
                  <a:pt x="2309" y="1802"/>
                </a:lnTo>
                <a:lnTo>
                  <a:pt x="2312" y="1796"/>
                </a:lnTo>
                <a:lnTo>
                  <a:pt x="2318" y="1778"/>
                </a:lnTo>
                <a:lnTo>
                  <a:pt x="2320" y="1770"/>
                </a:lnTo>
                <a:lnTo>
                  <a:pt x="2323" y="1760"/>
                </a:lnTo>
                <a:lnTo>
                  <a:pt x="2327" y="1738"/>
                </a:lnTo>
                <a:lnTo>
                  <a:pt x="2331" y="1714"/>
                </a:lnTo>
                <a:lnTo>
                  <a:pt x="2332" y="1703"/>
                </a:lnTo>
                <a:lnTo>
                  <a:pt x="2334" y="1689"/>
                </a:lnTo>
                <a:lnTo>
                  <a:pt x="2336" y="1659"/>
                </a:lnTo>
                <a:lnTo>
                  <a:pt x="2338" y="1625"/>
                </a:lnTo>
                <a:lnTo>
                  <a:pt x="2339" y="1591"/>
                </a:lnTo>
                <a:lnTo>
                  <a:pt x="2340" y="1551"/>
                </a:lnTo>
                <a:lnTo>
                  <a:pt x="2339" y="1513"/>
                </a:lnTo>
                <a:lnTo>
                  <a:pt x="2338" y="1477"/>
                </a:lnTo>
                <a:lnTo>
                  <a:pt x="2336" y="1443"/>
                </a:lnTo>
                <a:lnTo>
                  <a:pt x="2334" y="1415"/>
                </a:lnTo>
                <a:lnTo>
                  <a:pt x="2331" y="1387"/>
                </a:lnTo>
                <a:lnTo>
                  <a:pt x="2327" y="1363"/>
                </a:lnTo>
                <a:lnTo>
                  <a:pt x="2323" y="1341"/>
                </a:lnTo>
                <a:lnTo>
                  <a:pt x="2318" y="1323"/>
                </a:lnTo>
                <a:lnTo>
                  <a:pt x="2312" y="1307"/>
                </a:lnTo>
                <a:lnTo>
                  <a:pt x="2306" y="1293"/>
                </a:lnTo>
                <a:lnTo>
                  <a:pt x="2300" y="1281"/>
                </a:lnTo>
                <a:lnTo>
                  <a:pt x="2293" y="1271"/>
                </a:lnTo>
                <a:lnTo>
                  <a:pt x="2285" y="1265"/>
                </a:lnTo>
                <a:lnTo>
                  <a:pt x="2277" y="1259"/>
                </a:lnTo>
                <a:lnTo>
                  <a:pt x="2273" y="1259"/>
                </a:lnTo>
                <a:lnTo>
                  <a:pt x="2269" y="1257"/>
                </a:lnTo>
                <a:lnTo>
                  <a:pt x="2260" y="1257"/>
                </a:lnTo>
                <a:close/>
                <a:moveTo>
                  <a:pt x="2485" y="1936"/>
                </a:moveTo>
                <a:lnTo>
                  <a:pt x="2485" y="1166"/>
                </a:lnTo>
                <a:lnTo>
                  <a:pt x="2549" y="1166"/>
                </a:lnTo>
                <a:lnTo>
                  <a:pt x="2549" y="1828"/>
                </a:lnTo>
                <a:lnTo>
                  <a:pt x="2709" y="1828"/>
                </a:lnTo>
                <a:lnTo>
                  <a:pt x="2709" y="1936"/>
                </a:lnTo>
                <a:lnTo>
                  <a:pt x="2485" y="1936"/>
                </a:lnTo>
                <a:close/>
                <a:moveTo>
                  <a:pt x="2769" y="1936"/>
                </a:moveTo>
                <a:lnTo>
                  <a:pt x="2769" y="1166"/>
                </a:lnTo>
                <a:lnTo>
                  <a:pt x="2835" y="1166"/>
                </a:lnTo>
                <a:lnTo>
                  <a:pt x="2835" y="1828"/>
                </a:lnTo>
                <a:lnTo>
                  <a:pt x="2994" y="1828"/>
                </a:lnTo>
                <a:lnTo>
                  <a:pt x="2994" y="1936"/>
                </a:lnTo>
                <a:lnTo>
                  <a:pt x="2769" y="1936"/>
                </a:lnTo>
                <a:close/>
                <a:moveTo>
                  <a:pt x="3055" y="1166"/>
                </a:moveTo>
                <a:lnTo>
                  <a:pt x="3120" y="1166"/>
                </a:lnTo>
                <a:lnTo>
                  <a:pt x="3120" y="1936"/>
                </a:lnTo>
                <a:lnTo>
                  <a:pt x="3055" y="1936"/>
                </a:lnTo>
                <a:lnTo>
                  <a:pt x="3055" y="1166"/>
                </a:lnTo>
                <a:close/>
                <a:moveTo>
                  <a:pt x="3337" y="1954"/>
                </a:moveTo>
                <a:lnTo>
                  <a:pt x="3321" y="1954"/>
                </a:lnTo>
                <a:lnTo>
                  <a:pt x="3305" y="1950"/>
                </a:lnTo>
                <a:lnTo>
                  <a:pt x="3291" y="1944"/>
                </a:lnTo>
                <a:lnTo>
                  <a:pt x="3284" y="1940"/>
                </a:lnTo>
                <a:lnTo>
                  <a:pt x="3278" y="1936"/>
                </a:lnTo>
                <a:lnTo>
                  <a:pt x="3266" y="1928"/>
                </a:lnTo>
                <a:lnTo>
                  <a:pt x="3260" y="1922"/>
                </a:lnTo>
                <a:lnTo>
                  <a:pt x="3255" y="1916"/>
                </a:lnTo>
                <a:lnTo>
                  <a:pt x="3245" y="1902"/>
                </a:lnTo>
                <a:lnTo>
                  <a:pt x="3241" y="1896"/>
                </a:lnTo>
                <a:lnTo>
                  <a:pt x="3236" y="1888"/>
                </a:lnTo>
                <a:lnTo>
                  <a:pt x="3232" y="1880"/>
                </a:lnTo>
                <a:lnTo>
                  <a:pt x="3229" y="1872"/>
                </a:lnTo>
                <a:lnTo>
                  <a:pt x="3225" y="1864"/>
                </a:lnTo>
                <a:lnTo>
                  <a:pt x="3222" y="1854"/>
                </a:lnTo>
                <a:lnTo>
                  <a:pt x="3216" y="1834"/>
                </a:lnTo>
                <a:lnTo>
                  <a:pt x="3211" y="1814"/>
                </a:lnTo>
                <a:lnTo>
                  <a:pt x="3210" y="1804"/>
                </a:lnTo>
                <a:lnTo>
                  <a:pt x="3208" y="1792"/>
                </a:lnTo>
                <a:lnTo>
                  <a:pt x="3205" y="1770"/>
                </a:lnTo>
                <a:lnTo>
                  <a:pt x="3203" y="1746"/>
                </a:lnTo>
                <a:lnTo>
                  <a:pt x="3203" y="1732"/>
                </a:lnTo>
                <a:lnTo>
                  <a:pt x="3203" y="1720"/>
                </a:lnTo>
                <a:lnTo>
                  <a:pt x="3265" y="1693"/>
                </a:lnTo>
                <a:lnTo>
                  <a:pt x="3266" y="1714"/>
                </a:lnTo>
                <a:lnTo>
                  <a:pt x="3267" y="1734"/>
                </a:lnTo>
                <a:lnTo>
                  <a:pt x="3269" y="1750"/>
                </a:lnTo>
                <a:lnTo>
                  <a:pt x="3271" y="1766"/>
                </a:lnTo>
                <a:lnTo>
                  <a:pt x="3273" y="1774"/>
                </a:lnTo>
                <a:lnTo>
                  <a:pt x="3274" y="1782"/>
                </a:lnTo>
                <a:lnTo>
                  <a:pt x="3278" y="1794"/>
                </a:lnTo>
                <a:lnTo>
                  <a:pt x="3282" y="1804"/>
                </a:lnTo>
                <a:lnTo>
                  <a:pt x="3286" y="1814"/>
                </a:lnTo>
                <a:lnTo>
                  <a:pt x="3291" y="1824"/>
                </a:lnTo>
                <a:lnTo>
                  <a:pt x="3297" y="1830"/>
                </a:lnTo>
                <a:lnTo>
                  <a:pt x="3303" y="1836"/>
                </a:lnTo>
                <a:lnTo>
                  <a:pt x="3310" y="1840"/>
                </a:lnTo>
                <a:lnTo>
                  <a:pt x="3317" y="1844"/>
                </a:lnTo>
                <a:lnTo>
                  <a:pt x="3324" y="1846"/>
                </a:lnTo>
                <a:lnTo>
                  <a:pt x="3332" y="1848"/>
                </a:lnTo>
                <a:lnTo>
                  <a:pt x="3341" y="1848"/>
                </a:lnTo>
                <a:lnTo>
                  <a:pt x="3348" y="1848"/>
                </a:lnTo>
                <a:lnTo>
                  <a:pt x="3355" y="1846"/>
                </a:lnTo>
                <a:lnTo>
                  <a:pt x="3362" y="1844"/>
                </a:lnTo>
                <a:lnTo>
                  <a:pt x="3368" y="1842"/>
                </a:lnTo>
                <a:lnTo>
                  <a:pt x="3374" y="1838"/>
                </a:lnTo>
                <a:lnTo>
                  <a:pt x="3380" y="1832"/>
                </a:lnTo>
                <a:lnTo>
                  <a:pt x="3385" y="1826"/>
                </a:lnTo>
                <a:lnTo>
                  <a:pt x="3390" y="1820"/>
                </a:lnTo>
                <a:lnTo>
                  <a:pt x="3394" y="1812"/>
                </a:lnTo>
                <a:lnTo>
                  <a:pt x="3398" y="1804"/>
                </a:lnTo>
                <a:lnTo>
                  <a:pt x="3401" y="1796"/>
                </a:lnTo>
                <a:lnTo>
                  <a:pt x="3404" y="1786"/>
                </a:lnTo>
                <a:lnTo>
                  <a:pt x="3406" y="1774"/>
                </a:lnTo>
                <a:lnTo>
                  <a:pt x="3407" y="1770"/>
                </a:lnTo>
                <a:lnTo>
                  <a:pt x="3408" y="1764"/>
                </a:lnTo>
                <a:lnTo>
                  <a:pt x="3409" y="1752"/>
                </a:lnTo>
                <a:lnTo>
                  <a:pt x="3409" y="1738"/>
                </a:lnTo>
                <a:lnTo>
                  <a:pt x="3409" y="1728"/>
                </a:lnTo>
                <a:lnTo>
                  <a:pt x="3408" y="1718"/>
                </a:lnTo>
                <a:lnTo>
                  <a:pt x="3407" y="1711"/>
                </a:lnTo>
                <a:lnTo>
                  <a:pt x="3406" y="1701"/>
                </a:lnTo>
                <a:lnTo>
                  <a:pt x="3404" y="1693"/>
                </a:lnTo>
                <a:lnTo>
                  <a:pt x="3402" y="1685"/>
                </a:lnTo>
                <a:lnTo>
                  <a:pt x="3400" y="1677"/>
                </a:lnTo>
                <a:lnTo>
                  <a:pt x="3396" y="1669"/>
                </a:lnTo>
                <a:lnTo>
                  <a:pt x="3389" y="1653"/>
                </a:lnTo>
                <a:lnTo>
                  <a:pt x="3385" y="1645"/>
                </a:lnTo>
                <a:lnTo>
                  <a:pt x="3380" y="1639"/>
                </a:lnTo>
                <a:lnTo>
                  <a:pt x="3369" y="1625"/>
                </a:lnTo>
                <a:lnTo>
                  <a:pt x="3356" y="1613"/>
                </a:lnTo>
                <a:lnTo>
                  <a:pt x="3292" y="1555"/>
                </a:lnTo>
                <a:lnTo>
                  <a:pt x="3282" y="1547"/>
                </a:lnTo>
                <a:lnTo>
                  <a:pt x="3273" y="1537"/>
                </a:lnTo>
                <a:lnTo>
                  <a:pt x="3257" y="1517"/>
                </a:lnTo>
                <a:lnTo>
                  <a:pt x="3243" y="1497"/>
                </a:lnTo>
                <a:lnTo>
                  <a:pt x="3237" y="1485"/>
                </a:lnTo>
                <a:lnTo>
                  <a:pt x="3232" y="1473"/>
                </a:lnTo>
                <a:lnTo>
                  <a:pt x="3227" y="1461"/>
                </a:lnTo>
                <a:lnTo>
                  <a:pt x="3223" y="1447"/>
                </a:lnTo>
                <a:lnTo>
                  <a:pt x="3220" y="1433"/>
                </a:lnTo>
                <a:lnTo>
                  <a:pt x="3217" y="1417"/>
                </a:lnTo>
                <a:lnTo>
                  <a:pt x="3215" y="1401"/>
                </a:lnTo>
                <a:lnTo>
                  <a:pt x="3214" y="1393"/>
                </a:lnTo>
                <a:lnTo>
                  <a:pt x="3213" y="1385"/>
                </a:lnTo>
                <a:lnTo>
                  <a:pt x="3212" y="1367"/>
                </a:lnTo>
                <a:lnTo>
                  <a:pt x="3212" y="1347"/>
                </a:lnTo>
                <a:lnTo>
                  <a:pt x="3212" y="1335"/>
                </a:lnTo>
                <a:lnTo>
                  <a:pt x="3213" y="1323"/>
                </a:lnTo>
                <a:lnTo>
                  <a:pt x="3214" y="1311"/>
                </a:lnTo>
                <a:lnTo>
                  <a:pt x="3215" y="1299"/>
                </a:lnTo>
                <a:lnTo>
                  <a:pt x="3216" y="1289"/>
                </a:lnTo>
                <a:lnTo>
                  <a:pt x="3218" y="1279"/>
                </a:lnTo>
                <a:lnTo>
                  <a:pt x="3222" y="1259"/>
                </a:lnTo>
                <a:lnTo>
                  <a:pt x="3225" y="1249"/>
                </a:lnTo>
                <a:lnTo>
                  <a:pt x="3228" y="1241"/>
                </a:lnTo>
                <a:lnTo>
                  <a:pt x="3234" y="1225"/>
                </a:lnTo>
                <a:lnTo>
                  <a:pt x="3241" y="1210"/>
                </a:lnTo>
                <a:lnTo>
                  <a:pt x="3245" y="1204"/>
                </a:lnTo>
                <a:lnTo>
                  <a:pt x="3250" y="1198"/>
                </a:lnTo>
                <a:lnTo>
                  <a:pt x="3259" y="1186"/>
                </a:lnTo>
                <a:lnTo>
                  <a:pt x="3269" y="1176"/>
                </a:lnTo>
                <a:lnTo>
                  <a:pt x="3279" y="1166"/>
                </a:lnTo>
                <a:lnTo>
                  <a:pt x="3290" y="1160"/>
                </a:lnTo>
                <a:lnTo>
                  <a:pt x="3302" y="1154"/>
                </a:lnTo>
                <a:lnTo>
                  <a:pt x="3314" y="1150"/>
                </a:lnTo>
                <a:lnTo>
                  <a:pt x="3327" y="1148"/>
                </a:lnTo>
                <a:lnTo>
                  <a:pt x="3340" y="1148"/>
                </a:lnTo>
                <a:lnTo>
                  <a:pt x="3355" y="1150"/>
                </a:lnTo>
                <a:lnTo>
                  <a:pt x="3370" y="1152"/>
                </a:lnTo>
                <a:lnTo>
                  <a:pt x="3383" y="1158"/>
                </a:lnTo>
                <a:lnTo>
                  <a:pt x="3389" y="1162"/>
                </a:lnTo>
                <a:lnTo>
                  <a:pt x="3395" y="1166"/>
                </a:lnTo>
                <a:lnTo>
                  <a:pt x="3407" y="1174"/>
                </a:lnTo>
                <a:lnTo>
                  <a:pt x="3417" y="1186"/>
                </a:lnTo>
                <a:lnTo>
                  <a:pt x="3426" y="1198"/>
                </a:lnTo>
                <a:lnTo>
                  <a:pt x="3434" y="1212"/>
                </a:lnTo>
                <a:lnTo>
                  <a:pt x="3438" y="1218"/>
                </a:lnTo>
                <a:lnTo>
                  <a:pt x="3441" y="1225"/>
                </a:lnTo>
                <a:lnTo>
                  <a:pt x="3444" y="1233"/>
                </a:lnTo>
                <a:lnTo>
                  <a:pt x="3447" y="1241"/>
                </a:lnTo>
                <a:lnTo>
                  <a:pt x="3452" y="1259"/>
                </a:lnTo>
                <a:lnTo>
                  <a:pt x="3457" y="1275"/>
                </a:lnTo>
                <a:lnTo>
                  <a:pt x="3460" y="1293"/>
                </a:lnTo>
                <a:lnTo>
                  <a:pt x="3462" y="1313"/>
                </a:lnTo>
                <a:lnTo>
                  <a:pt x="3464" y="1331"/>
                </a:lnTo>
                <a:lnTo>
                  <a:pt x="3464" y="1349"/>
                </a:lnTo>
                <a:lnTo>
                  <a:pt x="3402" y="1375"/>
                </a:lnTo>
                <a:lnTo>
                  <a:pt x="3402" y="1359"/>
                </a:lnTo>
                <a:lnTo>
                  <a:pt x="3400" y="1345"/>
                </a:lnTo>
                <a:lnTo>
                  <a:pt x="3399" y="1331"/>
                </a:lnTo>
                <a:lnTo>
                  <a:pt x="3397" y="1319"/>
                </a:lnTo>
                <a:lnTo>
                  <a:pt x="3394" y="1309"/>
                </a:lnTo>
                <a:lnTo>
                  <a:pt x="3391" y="1299"/>
                </a:lnTo>
                <a:lnTo>
                  <a:pt x="3388" y="1289"/>
                </a:lnTo>
                <a:lnTo>
                  <a:pt x="3384" y="1281"/>
                </a:lnTo>
                <a:lnTo>
                  <a:pt x="3380" y="1275"/>
                </a:lnTo>
                <a:lnTo>
                  <a:pt x="3375" y="1269"/>
                </a:lnTo>
                <a:lnTo>
                  <a:pt x="3370" y="1265"/>
                </a:lnTo>
                <a:lnTo>
                  <a:pt x="3364" y="1261"/>
                </a:lnTo>
                <a:lnTo>
                  <a:pt x="3358" y="1257"/>
                </a:lnTo>
                <a:lnTo>
                  <a:pt x="3352" y="1255"/>
                </a:lnTo>
                <a:lnTo>
                  <a:pt x="3345" y="1255"/>
                </a:lnTo>
                <a:lnTo>
                  <a:pt x="3337" y="1253"/>
                </a:lnTo>
                <a:lnTo>
                  <a:pt x="3325" y="1255"/>
                </a:lnTo>
                <a:lnTo>
                  <a:pt x="3313" y="1259"/>
                </a:lnTo>
                <a:lnTo>
                  <a:pt x="3308" y="1263"/>
                </a:lnTo>
                <a:lnTo>
                  <a:pt x="3303" y="1267"/>
                </a:lnTo>
                <a:lnTo>
                  <a:pt x="3298" y="1271"/>
                </a:lnTo>
                <a:lnTo>
                  <a:pt x="3294" y="1275"/>
                </a:lnTo>
                <a:lnTo>
                  <a:pt x="3290" y="1281"/>
                </a:lnTo>
                <a:lnTo>
                  <a:pt x="3287" y="1287"/>
                </a:lnTo>
                <a:lnTo>
                  <a:pt x="3284" y="1295"/>
                </a:lnTo>
                <a:lnTo>
                  <a:pt x="3281" y="1303"/>
                </a:lnTo>
                <a:lnTo>
                  <a:pt x="3279" y="1311"/>
                </a:lnTo>
                <a:lnTo>
                  <a:pt x="3278" y="1321"/>
                </a:lnTo>
                <a:lnTo>
                  <a:pt x="3277" y="1331"/>
                </a:lnTo>
                <a:lnTo>
                  <a:pt x="3276" y="1341"/>
                </a:lnTo>
                <a:lnTo>
                  <a:pt x="3277" y="1351"/>
                </a:lnTo>
                <a:lnTo>
                  <a:pt x="3277" y="1361"/>
                </a:lnTo>
                <a:lnTo>
                  <a:pt x="3278" y="1371"/>
                </a:lnTo>
                <a:lnTo>
                  <a:pt x="3279" y="1379"/>
                </a:lnTo>
                <a:lnTo>
                  <a:pt x="3281" y="1387"/>
                </a:lnTo>
                <a:lnTo>
                  <a:pt x="3283" y="1395"/>
                </a:lnTo>
                <a:lnTo>
                  <a:pt x="3286" y="1403"/>
                </a:lnTo>
                <a:lnTo>
                  <a:pt x="3288" y="1409"/>
                </a:lnTo>
                <a:lnTo>
                  <a:pt x="3292" y="1415"/>
                </a:lnTo>
                <a:lnTo>
                  <a:pt x="3295" y="1421"/>
                </a:lnTo>
                <a:lnTo>
                  <a:pt x="3304" y="1433"/>
                </a:lnTo>
                <a:lnTo>
                  <a:pt x="3314" y="1445"/>
                </a:lnTo>
                <a:lnTo>
                  <a:pt x="3326" y="1457"/>
                </a:lnTo>
                <a:lnTo>
                  <a:pt x="3388" y="1511"/>
                </a:lnTo>
                <a:lnTo>
                  <a:pt x="3398" y="1521"/>
                </a:lnTo>
                <a:lnTo>
                  <a:pt x="3408" y="1531"/>
                </a:lnTo>
                <a:lnTo>
                  <a:pt x="3418" y="1541"/>
                </a:lnTo>
                <a:lnTo>
                  <a:pt x="3426" y="1553"/>
                </a:lnTo>
                <a:lnTo>
                  <a:pt x="3434" y="1565"/>
                </a:lnTo>
                <a:lnTo>
                  <a:pt x="3441" y="1575"/>
                </a:lnTo>
                <a:lnTo>
                  <a:pt x="3447" y="1589"/>
                </a:lnTo>
                <a:lnTo>
                  <a:pt x="3453" y="1601"/>
                </a:lnTo>
                <a:lnTo>
                  <a:pt x="3458" y="1615"/>
                </a:lnTo>
                <a:lnTo>
                  <a:pt x="3462" y="1629"/>
                </a:lnTo>
                <a:lnTo>
                  <a:pt x="3466" y="1643"/>
                </a:lnTo>
                <a:lnTo>
                  <a:pt x="3469" y="1659"/>
                </a:lnTo>
                <a:lnTo>
                  <a:pt x="3471" y="1675"/>
                </a:lnTo>
                <a:lnTo>
                  <a:pt x="3472" y="1685"/>
                </a:lnTo>
                <a:lnTo>
                  <a:pt x="3472" y="1693"/>
                </a:lnTo>
                <a:lnTo>
                  <a:pt x="3473" y="1711"/>
                </a:lnTo>
                <a:lnTo>
                  <a:pt x="3474" y="1730"/>
                </a:lnTo>
                <a:lnTo>
                  <a:pt x="3473" y="1756"/>
                </a:lnTo>
                <a:lnTo>
                  <a:pt x="3471" y="1780"/>
                </a:lnTo>
                <a:lnTo>
                  <a:pt x="3470" y="1792"/>
                </a:lnTo>
                <a:lnTo>
                  <a:pt x="3468" y="1802"/>
                </a:lnTo>
                <a:lnTo>
                  <a:pt x="3466" y="1814"/>
                </a:lnTo>
                <a:lnTo>
                  <a:pt x="3464" y="1824"/>
                </a:lnTo>
                <a:lnTo>
                  <a:pt x="3461" y="1834"/>
                </a:lnTo>
                <a:lnTo>
                  <a:pt x="3459" y="1844"/>
                </a:lnTo>
                <a:lnTo>
                  <a:pt x="3452" y="1862"/>
                </a:lnTo>
                <a:lnTo>
                  <a:pt x="3449" y="1870"/>
                </a:lnTo>
                <a:lnTo>
                  <a:pt x="3445" y="1880"/>
                </a:lnTo>
                <a:lnTo>
                  <a:pt x="3437" y="1894"/>
                </a:lnTo>
                <a:lnTo>
                  <a:pt x="3432" y="1902"/>
                </a:lnTo>
                <a:lnTo>
                  <a:pt x="3427" y="1908"/>
                </a:lnTo>
                <a:lnTo>
                  <a:pt x="3422" y="1914"/>
                </a:lnTo>
                <a:lnTo>
                  <a:pt x="3417" y="1920"/>
                </a:lnTo>
                <a:lnTo>
                  <a:pt x="3406" y="1930"/>
                </a:lnTo>
                <a:lnTo>
                  <a:pt x="3394" y="1938"/>
                </a:lnTo>
                <a:lnTo>
                  <a:pt x="3381" y="1946"/>
                </a:lnTo>
                <a:lnTo>
                  <a:pt x="3367" y="1950"/>
                </a:lnTo>
                <a:lnTo>
                  <a:pt x="3360" y="1952"/>
                </a:lnTo>
                <a:lnTo>
                  <a:pt x="3353" y="1952"/>
                </a:lnTo>
                <a:lnTo>
                  <a:pt x="3337" y="1954"/>
                </a:lnTo>
                <a:close/>
                <a:moveTo>
                  <a:pt x="3582" y="1882"/>
                </a:moveTo>
                <a:lnTo>
                  <a:pt x="3574" y="1866"/>
                </a:lnTo>
                <a:lnTo>
                  <a:pt x="3567" y="1848"/>
                </a:lnTo>
                <a:lnTo>
                  <a:pt x="3562" y="1828"/>
                </a:lnTo>
                <a:lnTo>
                  <a:pt x="3559" y="1816"/>
                </a:lnTo>
                <a:lnTo>
                  <a:pt x="3557" y="1806"/>
                </a:lnTo>
                <a:lnTo>
                  <a:pt x="3554" y="1782"/>
                </a:lnTo>
                <a:lnTo>
                  <a:pt x="3551" y="1756"/>
                </a:lnTo>
                <a:lnTo>
                  <a:pt x="3550" y="1742"/>
                </a:lnTo>
                <a:lnTo>
                  <a:pt x="3550" y="1726"/>
                </a:lnTo>
                <a:lnTo>
                  <a:pt x="3549" y="1697"/>
                </a:lnTo>
                <a:lnTo>
                  <a:pt x="3549" y="1166"/>
                </a:lnTo>
                <a:lnTo>
                  <a:pt x="3615" y="1166"/>
                </a:lnTo>
                <a:lnTo>
                  <a:pt x="3615" y="1691"/>
                </a:lnTo>
                <a:lnTo>
                  <a:pt x="3615" y="1711"/>
                </a:lnTo>
                <a:lnTo>
                  <a:pt x="3616" y="1728"/>
                </a:lnTo>
                <a:lnTo>
                  <a:pt x="3617" y="1744"/>
                </a:lnTo>
                <a:lnTo>
                  <a:pt x="3618" y="1758"/>
                </a:lnTo>
                <a:lnTo>
                  <a:pt x="3620" y="1772"/>
                </a:lnTo>
                <a:lnTo>
                  <a:pt x="3623" y="1784"/>
                </a:lnTo>
                <a:lnTo>
                  <a:pt x="3625" y="1796"/>
                </a:lnTo>
                <a:lnTo>
                  <a:pt x="3629" y="1804"/>
                </a:lnTo>
                <a:lnTo>
                  <a:pt x="3633" y="1814"/>
                </a:lnTo>
                <a:lnTo>
                  <a:pt x="3637" y="1822"/>
                </a:lnTo>
                <a:lnTo>
                  <a:pt x="3643" y="1830"/>
                </a:lnTo>
                <a:lnTo>
                  <a:pt x="3649" y="1836"/>
                </a:lnTo>
                <a:lnTo>
                  <a:pt x="3652" y="1838"/>
                </a:lnTo>
                <a:lnTo>
                  <a:pt x="3655" y="1840"/>
                </a:lnTo>
                <a:lnTo>
                  <a:pt x="3662" y="1844"/>
                </a:lnTo>
                <a:lnTo>
                  <a:pt x="3670" y="1846"/>
                </a:lnTo>
                <a:lnTo>
                  <a:pt x="3678" y="1846"/>
                </a:lnTo>
                <a:lnTo>
                  <a:pt x="3686" y="1846"/>
                </a:lnTo>
                <a:lnTo>
                  <a:pt x="3694" y="1844"/>
                </a:lnTo>
                <a:lnTo>
                  <a:pt x="3701" y="1840"/>
                </a:lnTo>
                <a:lnTo>
                  <a:pt x="3708" y="1836"/>
                </a:lnTo>
                <a:lnTo>
                  <a:pt x="3713" y="1830"/>
                </a:lnTo>
                <a:lnTo>
                  <a:pt x="3719" y="1822"/>
                </a:lnTo>
                <a:lnTo>
                  <a:pt x="3723" y="1814"/>
                </a:lnTo>
                <a:lnTo>
                  <a:pt x="3728" y="1804"/>
                </a:lnTo>
                <a:lnTo>
                  <a:pt x="3731" y="1796"/>
                </a:lnTo>
                <a:lnTo>
                  <a:pt x="3734" y="1784"/>
                </a:lnTo>
                <a:lnTo>
                  <a:pt x="3736" y="1772"/>
                </a:lnTo>
                <a:lnTo>
                  <a:pt x="3738" y="1758"/>
                </a:lnTo>
                <a:lnTo>
                  <a:pt x="3740" y="1744"/>
                </a:lnTo>
                <a:lnTo>
                  <a:pt x="3741" y="1728"/>
                </a:lnTo>
                <a:lnTo>
                  <a:pt x="3741" y="1711"/>
                </a:lnTo>
                <a:lnTo>
                  <a:pt x="3741" y="1691"/>
                </a:lnTo>
                <a:lnTo>
                  <a:pt x="3741" y="1166"/>
                </a:lnTo>
                <a:lnTo>
                  <a:pt x="3807" y="1166"/>
                </a:lnTo>
                <a:lnTo>
                  <a:pt x="3807" y="1697"/>
                </a:lnTo>
                <a:lnTo>
                  <a:pt x="3806" y="1726"/>
                </a:lnTo>
                <a:lnTo>
                  <a:pt x="3805" y="1742"/>
                </a:lnTo>
                <a:lnTo>
                  <a:pt x="3805" y="1756"/>
                </a:lnTo>
                <a:lnTo>
                  <a:pt x="3802" y="1782"/>
                </a:lnTo>
                <a:lnTo>
                  <a:pt x="3798" y="1806"/>
                </a:lnTo>
                <a:lnTo>
                  <a:pt x="3796" y="1816"/>
                </a:lnTo>
                <a:lnTo>
                  <a:pt x="3794" y="1828"/>
                </a:lnTo>
                <a:lnTo>
                  <a:pt x="3788" y="1848"/>
                </a:lnTo>
                <a:lnTo>
                  <a:pt x="3785" y="1856"/>
                </a:lnTo>
                <a:lnTo>
                  <a:pt x="3782" y="1866"/>
                </a:lnTo>
                <a:lnTo>
                  <a:pt x="3779" y="1874"/>
                </a:lnTo>
                <a:lnTo>
                  <a:pt x="3775" y="1882"/>
                </a:lnTo>
                <a:lnTo>
                  <a:pt x="3771" y="1890"/>
                </a:lnTo>
                <a:lnTo>
                  <a:pt x="3766" y="1898"/>
                </a:lnTo>
                <a:lnTo>
                  <a:pt x="3756" y="1914"/>
                </a:lnTo>
                <a:lnTo>
                  <a:pt x="3745" y="1926"/>
                </a:lnTo>
                <a:lnTo>
                  <a:pt x="3739" y="1930"/>
                </a:lnTo>
                <a:lnTo>
                  <a:pt x="3733" y="1936"/>
                </a:lnTo>
                <a:lnTo>
                  <a:pt x="3720" y="1944"/>
                </a:lnTo>
                <a:lnTo>
                  <a:pt x="3714" y="1946"/>
                </a:lnTo>
                <a:lnTo>
                  <a:pt x="3707" y="1950"/>
                </a:lnTo>
                <a:lnTo>
                  <a:pt x="3693" y="1952"/>
                </a:lnTo>
                <a:lnTo>
                  <a:pt x="3685" y="1954"/>
                </a:lnTo>
                <a:lnTo>
                  <a:pt x="3678" y="1954"/>
                </a:lnTo>
                <a:lnTo>
                  <a:pt x="3663" y="1952"/>
                </a:lnTo>
                <a:lnTo>
                  <a:pt x="3649" y="1950"/>
                </a:lnTo>
                <a:lnTo>
                  <a:pt x="3643" y="1946"/>
                </a:lnTo>
                <a:lnTo>
                  <a:pt x="3636" y="1944"/>
                </a:lnTo>
                <a:lnTo>
                  <a:pt x="3624" y="1936"/>
                </a:lnTo>
                <a:lnTo>
                  <a:pt x="3612" y="1926"/>
                </a:lnTo>
                <a:lnTo>
                  <a:pt x="3601" y="1914"/>
                </a:lnTo>
                <a:lnTo>
                  <a:pt x="3591" y="1898"/>
                </a:lnTo>
                <a:lnTo>
                  <a:pt x="3586" y="1890"/>
                </a:lnTo>
                <a:lnTo>
                  <a:pt x="3582" y="1882"/>
                </a:lnTo>
                <a:close/>
                <a:moveTo>
                  <a:pt x="3934" y="1882"/>
                </a:moveTo>
                <a:lnTo>
                  <a:pt x="3927" y="1866"/>
                </a:lnTo>
                <a:lnTo>
                  <a:pt x="3920" y="1848"/>
                </a:lnTo>
                <a:lnTo>
                  <a:pt x="3915" y="1828"/>
                </a:lnTo>
                <a:lnTo>
                  <a:pt x="3912" y="1816"/>
                </a:lnTo>
                <a:lnTo>
                  <a:pt x="3910" y="1806"/>
                </a:lnTo>
                <a:lnTo>
                  <a:pt x="3907" y="1782"/>
                </a:lnTo>
                <a:lnTo>
                  <a:pt x="3904" y="1756"/>
                </a:lnTo>
                <a:lnTo>
                  <a:pt x="3903" y="1742"/>
                </a:lnTo>
                <a:lnTo>
                  <a:pt x="3903" y="1726"/>
                </a:lnTo>
                <a:lnTo>
                  <a:pt x="3902" y="1697"/>
                </a:lnTo>
                <a:lnTo>
                  <a:pt x="3902" y="1166"/>
                </a:lnTo>
                <a:lnTo>
                  <a:pt x="3968" y="1166"/>
                </a:lnTo>
                <a:lnTo>
                  <a:pt x="3968" y="1691"/>
                </a:lnTo>
                <a:lnTo>
                  <a:pt x="3968" y="1711"/>
                </a:lnTo>
                <a:lnTo>
                  <a:pt x="3969" y="1728"/>
                </a:lnTo>
                <a:lnTo>
                  <a:pt x="3970" y="1744"/>
                </a:lnTo>
                <a:lnTo>
                  <a:pt x="3972" y="1758"/>
                </a:lnTo>
                <a:lnTo>
                  <a:pt x="3973" y="1772"/>
                </a:lnTo>
                <a:lnTo>
                  <a:pt x="3976" y="1784"/>
                </a:lnTo>
                <a:lnTo>
                  <a:pt x="3979" y="1796"/>
                </a:lnTo>
                <a:lnTo>
                  <a:pt x="3982" y="1804"/>
                </a:lnTo>
                <a:lnTo>
                  <a:pt x="3986" y="1814"/>
                </a:lnTo>
                <a:lnTo>
                  <a:pt x="3991" y="1822"/>
                </a:lnTo>
                <a:lnTo>
                  <a:pt x="3996" y="1830"/>
                </a:lnTo>
                <a:lnTo>
                  <a:pt x="4002" y="1836"/>
                </a:lnTo>
                <a:lnTo>
                  <a:pt x="4005" y="1838"/>
                </a:lnTo>
                <a:lnTo>
                  <a:pt x="4008" y="1840"/>
                </a:lnTo>
                <a:lnTo>
                  <a:pt x="4015" y="1844"/>
                </a:lnTo>
                <a:lnTo>
                  <a:pt x="4023" y="1846"/>
                </a:lnTo>
                <a:lnTo>
                  <a:pt x="4031" y="1846"/>
                </a:lnTo>
                <a:lnTo>
                  <a:pt x="4040" y="1846"/>
                </a:lnTo>
                <a:lnTo>
                  <a:pt x="4047" y="1844"/>
                </a:lnTo>
                <a:lnTo>
                  <a:pt x="4054" y="1840"/>
                </a:lnTo>
                <a:lnTo>
                  <a:pt x="4061" y="1836"/>
                </a:lnTo>
                <a:lnTo>
                  <a:pt x="4067" y="1830"/>
                </a:lnTo>
                <a:lnTo>
                  <a:pt x="4072" y="1822"/>
                </a:lnTo>
                <a:lnTo>
                  <a:pt x="4077" y="1814"/>
                </a:lnTo>
                <a:lnTo>
                  <a:pt x="4081" y="1804"/>
                </a:lnTo>
                <a:lnTo>
                  <a:pt x="4084" y="1796"/>
                </a:lnTo>
                <a:lnTo>
                  <a:pt x="4087" y="1784"/>
                </a:lnTo>
                <a:lnTo>
                  <a:pt x="4090" y="1772"/>
                </a:lnTo>
                <a:lnTo>
                  <a:pt x="4091" y="1758"/>
                </a:lnTo>
                <a:lnTo>
                  <a:pt x="4093" y="1744"/>
                </a:lnTo>
                <a:lnTo>
                  <a:pt x="4094" y="1728"/>
                </a:lnTo>
                <a:lnTo>
                  <a:pt x="4094" y="1711"/>
                </a:lnTo>
                <a:lnTo>
                  <a:pt x="4094" y="1691"/>
                </a:lnTo>
                <a:lnTo>
                  <a:pt x="4094" y="1166"/>
                </a:lnTo>
                <a:lnTo>
                  <a:pt x="4160" y="1166"/>
                </a:lnTo>
                <a:lnTo>
                  <a:pt x="4160" y="1697"/>
                </a:lnTo>
                <a:lnTo>
                  <a:pt x="4159" y="1726"/>
                </a:lnTo>
                <a:lnTo>
                  <a:pt x="4159" y="1742"/>
                </a:lnTo>
                <a:lnTo>
                  <a:pt x="4158" y="1756"/>
                </a:lnTo>
                <a:lnTo>
                  <a:pt x="4155" y="1782"/>
                </a:lnTo>
                <a:lnTo>
                  <a:pt x="4152" y="1806"/>
                </a:lnTo>
                <a:lnTo>
                  <a:pt x="4149" y="1816"/>
                </a:lnTo>
                <a:lnTo>
                  <a:pt x="4147" y="1828"/>
                </a:lnTo>
                <a:lnTo>
                  <a:pt x="4142" y="1848"/>
                </a:lnTo>
                <a:lnTo>
                  <a:pt x="4139" y="1856"/>
                </a:lnTo>
                <a:lnTo>
                  <a:pt x="4135" y="1866"/>
                </a:lnTo>
                <a:lnTo>
                  <a:pt x="4132" y="1874"/>
                </a:lnTo>
                <a:lnTo>
                  <a:pt x="4128" y="1882"/>
                </a:lnTo>
                <a:lnTo>
                  <a:pt x="4124" y="1890"/>
                </a:lnTo>
                <a:lnTo>
                  <a:pt x="4119" y="1898"/>
                </a:lnTo>
                <a:lnTo>
                  <a:pt x="4109" y="1914"/>
                </a:lnTo>
                <a:lnTo>
                  <a:pt x="4098" y="1926"/>
                </a:lnTo>
                <a:lnTo>
                  <a:pt x="4092" y="1930"/>
                </a:lnTo>
                <a:lnTo>
                  <a:pt x="4086" y="1936"/>
                </a:lnTo>
                <a:lnTo>
                  <a:pt x="4073" y="1944"/>
                </a:lnTo>
                <a:lnTo>
                  <a:pt x="4067" y="1946"/>
                </a:lnTo>
                <a:lnTo>
                  <a:pt x="4060" y="1950"/>
                </a:lnTo>
                <a:lnTo>
                  <a:pt x="4046" y="1952"/>
                </a:lnTo>
                <a:lnTo>
                  <a:pt x="4039" y="1954"/>
                </a:lnTo>
                <a:lnTo>
                  <a:pt x="4031" y="1954"/>
                </a:lnTo>
                <a:lnTo>
                  <a:pt x="4017" y="1952"/>
                </a:lnTo>
                <a:lnTo>
                  <a:pt x="4003" y="1950"/>
                </a:lnTo>
                <a:lnTo>
                  <a:pt x="3996" y="1946"/>
                </a:lnTo>
                <a:lnTo>
                  <a:pt x="3989" y="1944"/>
                </a:lnTo>
                <a:lnTo>
                  <a:pt x="3977" y="1936"/>
                </a:lnTo>
                <a:lnTo>
                  <a:pt x="3965" y="1926"/>
                </a:lnTo>
                <a:lnTo>
                  <a:pt x="3954" y="1914"/>
                </a:lnTo>
                <a:lnTo>
                  <a:pt x="3943" y="1898"/>
                </a:lnTo>
                <a:lnTo>
                  <a:pt x="3938" y="1890"/>
                </a:lnTo>
                <a:lnTo>
                  <a:pt x="3934" y="1882"/>
                </a:lnTo>
                <a:close/>
                <a:moveTo>
                  <a:pt x="4370" y="1954"/>
                </a:moveTo>
                <a:lnTo>
                  <a:pt x="4354" y="1954"/>
                </a:lnTo>
                <a:lnTo>
                  <a:pt x="4339" y="1950"/>
                </a:lnTo>
                <a:lnTo>
                  <a:pt x="4324" y="1944"/>
                </a:lnTo>
                <a:lnTo>
                  <a:pt x="4317" y="1940"/>
                </a:lnTo>
                <a:lnTo>
                  <a:pt x="4310" y="1936"/>
                </a:lnTo>
                <a:lnTo>
                  <a:pt x="4298" y="1928"/>
                </a:lnTo>
                <a:lnTo>
                  <a:pt x="4292" y="1922"/>
                </a:lnTo>
                <a:lnTo>
                  <a:pt x="4287" y="1916"/>
                </a:lnTo>
                <a:lnTo>
                  <a:pt x="4277" y="1902"/>
                </a:lnTo>
                <a:lnTo>
                  <a:pt x="4273" y="1896"/>
                </a:lnTo>
                <a:lnTo>
                  <a:pt x="4268" y="1888"/>
                </a:lnTo>
                <a:lnTo>
                  <a:pt x="4264" y="1880"/>
                </a:lnTo>
                <a:lnTo>
                  <a:pt x="4261" y="1872"/>
                </a:lnTo>
                <a:lnTo>
                  <a:pt x="4257" y="1864"/>
                </a:lnTo>
                <a:lnTo>
                  <a:pt x="4254" y="1854"/>
                </a:lnTo>
                <a:lnTo>
                  <a:pt x="4248" y="1834"/>
                </a:lnTo>
                <a:lnTo>
                  <a:pt x="4244" y="1814"/>
                </a:lnTo>
                <a:lnTo>
                  <a:pt x="4242" y="1804"/>
                </a:lnTo>
                <a:lnTo>
                  <a:pt x="4240" y="1792"/>
                </a:lnTo>
                <a:lnTo>
                  <a:pt x="4237" y="1770"/>
                </a:lnTo>
                <a:lnTo>
                  <a:pt x="4236" y="1746"/>
                </a:lnTo>
                <a:lnTo>
                  <a:pt x="4235" y="1732"/>
                </a:lnTo>
                <a:lnTo>
                  <a:pt x="4235" y="1720"/>
                </a:lnTo>
                <a:lnTo>
                  <a:pt x="4298" y="1693"/>
                </a:lnTo>
                <a:lnTo>
                  <a:pt x="4298" y="1714"/>
                </a:lnTo>
                <a:lnTo>
                  <a:pt x="4299" y="1734"/>
                </a:lnTo>
                <a:lnTo>
                  <a:pt x="4301" y="1750"/>
                </a:lnTo>
                <a:lnTo>
                  <a:pt x="4303" y="1766"/>
                </a:lnTo>
                <a:lnTo>
                  <a:pt x="4305" y="1774"/>
                </a:lnTo>
                <a:lnTo>
                  <a:pt x="4306" y="1782"/>
                </a:lnTo>
                <a:lnTo>
                  <a:pt x="4310" y="1794"/>
                </a:lnTo>
                <a:lnTo>
                  <a:pt x="4314" y="1804"/>
                </a:lnTo>
                <a:lnTo>
                  <a:pt x="4318" y="1814"/>
                </a:lnTo>
                <a:lnTo>
                  <a:pt x="4324" y="1824"/>
                </a:lnTo>
                <a:lnTo>
                  <a:pt x="4330" y="1830"/>
                </a:lnTo>
                <a:lnTo>
                  <a:pt x="4336" y="1836"/>
                </a:lnTo>
                <a:lnTo>
                  <a:pt x="4343" y="1840"/>
                </a:lnTo>
                <a:lnTo>
                  <a:pt x="4350" y="1844"/>
                </a:lnTo>
                <a:lnTo>
                  <a:pt x="4357" y="1846"/>
                </a:lnTo>
                <a:lnTo>
                  <a:pt x="4365" y="1848"/>
                </a:lnTo>
                <a:lnTo>
                  <a:pt x="4374" y="1848"/>
                </a:lnTo>
                <a:lnTo>
                  <a:pt x="4381" y="1848"/>
                </a:lnTo>
                <a:lnTo>
                  <a:pt x="4388" y="1846"/>
                </a:lnTo>
                <a:lnTo>
                  <a:pt x="4395" y="1844"/>
                </a:lnTo>
                <a:lnTo>
                  <a:pt x="4401" y="1842"/>
                </a:lnTo>
                <a:lnTo>
                  <a:pt x="4407" y="1838"/>
                </a:lnTo>
                <a:lnTo>
                  <a:pt x="4413" y="1832"/>
                </a:lnTo>
                <a:lnTo>
                  <a:pt x="4418" y="1826"/>
                </a:lnTo>
                <a:lnTo>
                  <a:pt x="4423" y="1820"/>
                </a:lnTo>
                <a:lnTo>
                  <a:pt x="4427" y="1812"/>
                </a:lnTo>
                <a:lnTo>
                  <a:pt x="4431" y="1804"/>
                </a:lnTo>
                <a:lnTo>
                  <a:pt x="4434" y="1796"/>
                </a:lnTo>
                <a:lnTo>
                  <a:pt x="4437" y="1786"/>
                </a:lnTo>
                <a:lnTo>
                  <a:pt x="4439" y="1774"/>
                </a:lnTo>
                <a:lnTo>
                  <a:pt x="4440" y="1770"/>
                </a:lnTo>
                <a:lnTo>
                  <a:pt x="4441" y="1764"/>
                </a:lnTo>
                <a:lnTo>
                  <a:pt x="4442" y="1752"/>
                </a:lnTo>
                <a:lnTo>
                  <a:pt x="4442" y="1738"/>
                </a:lnTo>
                <a:lnTo>
                  <a:pt x="4442" y="1728"/>
                </a:lnTo>
                <a:lnTo>
                  <a:pt x="4442" y="1718"/>
                </a:lnTo>
                <a:lnTo>
                  <a:pt x="4441" y="1711"/>
                </a:lnTo>
                <a:lnTo>
                  <a:pt x="4439" y="1701"/>
                </a:lnTo>
                <a:lnTo>
                  <a:pt x="4437" y="1693"/>
                </a:lnTo>
                <a:lnTo>
                  <a:pt x="4435" y="1685"/>
                </a:lnTo>
                <a:lnTo>
                  <a:pt x="4433" y="1677"/>
                </a:lnTo>
                <a:lnTo>
                  <a:pt x="4430" y="1669"/>
                </a:lnTo>
                <a:lnTo>
                  <a:pt x="4422" y="1653"/>
                </a:lnTo>
                <a:lnTo>
                  <a:pt x="4418" y="1645"/>
                </a:lnTo>
                <a:lnTo>
                  <a:pt x="4413" y="1639"/>
                </a:lnTo>
                <a:lnTo>
                  <a:pt x="4402" y="1625"/>
                </a:lnTo>
                <a:lnTo>
                  <a:pt x="4389" y="1613"/>
                </a:lnTo>
                <a:lnTo>
                  <a:pt x="4325" y="1555"/>
                </a:lnTo>
                <a:lnTo>
                  <a:pt x="4315" y="1547"/>
                </a:lnTo>
                <a:lnTo>
                  <a:pt x="4305" y="1537"/>
                </a:lnTo>
                <a:lnTo>
                  <a:pt x="4289" y="1517"/>
                </a:lnTo>
                <a:lnTo>
                  <a:pt x="4275" y="1497"/>
                </a:lnTo>
                <a:lnTo>
                  <a:pt x="4270" y="1485"/>
                </a:lnTo>
                <a:lnTo>
                  <a:pt x="4264" y="1473"/>
                </a:lnTo>
                <a:lnTo>
                  <a:pt x="4260" y="1461"/>
                </a:lnTo>
                <a:lnTo>
                  <a:pt x="4255" y="1447"/>
                </a:lnTo>
                <a:lnTo>
                  <a:pt x="4252" y="1433"/>
                </a:lnTo>
                <a:lnTo>
                  <a:pt x="4249" y="1417"/>
                </a:lnTo>
                <a:lnTo>
                  <a:pt x="4247" y="1401"/>
                </a:lnTo>
                <a:lnTo>
                  <a:pt x="4246" y="1393"/>
                </a:lnTo>
                <a:lnTo>
                  <a:pt x="4245" y="1385"/>
                </a:lnTo>
                <a:lnTo>
                  <a:pt x="4244" y="1367"/>
                </a:lnTo>
                <a:lnTo>
                  <a:pt x="4244" y="1347"/>
                </a:lnTo>
                <a:lnTo>
                  <a:pt x="4244" y="1335"/>
                </a:lnTo>
                <a:lnTo>
                  <a:pt x="4245" y="1323"/>
                </a:lnTo>
                <a:lnTo>
                  <a:pt x="4246" y="1311"/>
                </a:lnTo>
                <a:lnTo>
                  <a:pt x="4247" y="1299"/>
                </a:lnTo>
                <a:lnTo>
                  <a:pt x="4248" y="1289"/>
                </a:lnTo>
                <a:lnTo>
                  <a:pt x="4250" y="1279"/>
                </a:lnTo>
                <a:lnTo>
                  <a:pt x="4254" y="1259"/>
                </a:lnTo>
                <a:lnTo>
                  <a:pt x="4257" y="1249"/>
                </a:lnTo>
                <a:lnTo>
                  <a:pt x="4260" y="1241"/>
                </a:lnTo>
                <a:lnTo>
                  <a:pt x="4266" y="1225"/>
                </a:lnTo>
                <a:lnTo>
                  <a:pt x="4273" y="1210"/>
                </a:lnTo>
                <a:lnTo>
                  <a:pt x="4277" y="1204"/>
                </a:lnTo>
                <a:lnTo>
                  <a:pt x="4282" y="1198"/>
                </a:lnTo>
                <a:lnTo>
                  <a:pt x="4291" y="1186"/>
                </a:lnTo>
                <a:lnTo>
                  <a:pt x="4301" y="1176"/>
                </a:lnTo>
                <a:lnTo>
                  <a:pt x="4311" y="1166"/>
                </a:lnTo>
                <a:lnTo>
                  <a:pt x="4323" y="1160"/>
                </a:lnTo>
                <a:lnTo>
                  <a:pt x="4335" y="1154"/>
                </a:lnTo>
                <a:lnTo>
                  <a:pt x="4347" y="1150"/>
                </a:lnTo>
                <a:lnTo>
                  <a:pt x="4360" y="1148"/>
                </a:lnTo>
                <a:lnTo>
                  <a:pt x="4373" y="1148"/>
                </a:lnTo>
                <a:lnTo>
                  <a:pt x="4388" y="1150"/>
                </a:lnTo>
                <a:lnTo>
                  <a:pt x="4403" y="1152"/>
                </a:lnTo>
                <a:lnTo>
                  <a:pt x="4416" y="1158"/>
                </a:lnTo>
                <a:lnTo>
                  <a:pt x="4422" y="1162"/>
                </a:lnTo>
                <a:lnTo>
                  <a:pt x="4428" y="1166"/>
                </a:lnTo>
                <a:lnTo>
                  <a:pt x="4440" y="1174"/>
                </a:lnTo>
                <a:lnTo>
                  <a:pt x="4450" y="1186"/>
                </a:lnTo>
                <a:lnTo>
                  <a:pt x="4459" y="1198"/>
                </a:lnTo>
                <a:lnTo>
                  <a:pt x="4467" y="1212"/>
                </a:lnTo>
                <a:lnTo>
                  <a:pt x="4471" y="1218"/>
                </a:lnTo>
                <a:lnTo>
                  <a:pt x="4474" y="1225"/>
                </a:lnTo>
                <a:lnTo>
                  <a:pt x="4477" y="1233"/>
                </a:lnTo>
                <a:lnTo>
                  <a:pt x="4480" y="1241"/>
                </a:lnTo>
                <a:lnTo>
                  <a:pt x="4485" y="1259"/>
                </a:lnTo>
                <a:lnTo>
                  <a:pt x="4490" y="1275"/>
                </a:lnTo>
                <a:lnTo>
                  <a:pt x="4493" y="1293"/>
                </a:lnTo>
                <a:lnTo>
                  <a:pt x="4495" y="1313"/>
                </a:lnTo>
                <a:lnTo>
                  <a:pt x="4497" y="1331"/>
                </a:lnTo>
                <a:lnTo>
                  <a:pt x="4497" y="1349"/>
                </a:lnTo>
                <a:lnTo>
                  <a:pt x="4435" y="1375"/>
                </a:lnTo>
                <a:lnTo>
                  <a:pt x="4435" y="1359"/>
                </a:lnTo>
                <a:lnTo>
                  <a:pt x="4433" y="1345"/>
                </a:lnTo>
                <a:lnTo>
                  <a:pt x="4432" y="1331"/>
                </a:lnTo>
                <a:lnTo>
                  <a:pt x="4430" y="1319"/>
                </a:lnTo>
                <a:lnTo>
                  <a:pt x="4427" y="1309"/>
                </a:lnTo>
                <a:lnTo>
                  <a:pt x="4426" y="1303"/>
                </a:lnTo>
                <a:lnTo>
                  <a:pt x="4424" y="1299"/>
                </a:lnTo>
                <a:lnTo>
                  <a:pt x="4421" y="1289"/>
                </a:lnTo>
                <a:lnTo>
                  <a:pt x="4417" y="1281"/>
                </a:lnTo>
                <a:lnTo>
                  <a:pt x="4413" y="1275"/>
                </a:lnTo>
                <a:lnTo>
                  <a:pt x="4408" y="1269"/>
                </a:lnTo>
                <a:lnTo>
                  <a:pt x="4403" y="1265"/>
                </a:lnTo>
                <a:lnTo>
                  <a:pt x="4397" y="1261"/>
                </a:lnTo>
                <a:lnTo>
                  <a:pt x="4391" y="1257"/>
                </a:lnTo>
                <a:lnTo>
                  <a:pt x="4385" y="1255"/>
                </a:lnTo>
                <a:lnTo>
                  <a:pt x="4378" y="1255"/>
                </a:lnTo>
                <a:lnTo>
                  <a:pt x="4370" y="1253"/>
                </a:lnTo>
                <a:lnTo>
                  <a:pt x="4358" y="1255"/>
                </a:lnTo>
                <a:lnTo>
                  <a:pt x="4346" y="1259"/>
                </a:lnTo>
                <a:lnTo>
                  <a:pt x="4341" y="1263"/>
                </a:lnTo>
                <a:lnTo>
                  <a:pt x="4336" y="1267"/>
                </a:lnTo>
                <a:lnTo>
                  <a:pt x="4331" y="1271"/>
                </a:lnTo>
                <a:lnTo>
                  <a:pt x="4327" y="1275"/>
                </a:lnTo>
                <a:lnTo>
                  <a:pt x="4323" y="1281"/>
                </a:lnTo>
                <a:lnTo>
                  <a:pt x="4319" y="1287"/>
                </a:lnTo>
                <a:lnTo>
                  <a:pt x="4316" y="1295"/>
                </a:lnTo>
                <a:lnTo>
                  <a:pt x="4313" y="1303"/>
                </a:lnTo>
                <a:lnTo>
                  <a:pt x="4311" y="1311"/>
                </a:lnTo>
                <a:lnTo>
                  <a:pt x="4310" y="1321"/>
                </a:lnTo>
                <a:lnTo>
                  <a:pt x="4309" y="1331"/>
                </a:lnTo>
                <a:lnTo>
                  <a:pt x="4308" y="1341"/>
                </a:lnTo>
                <a:lnTo>
                  <a:pt x="4309" y="1351"/>
                </a:lnTo>
                <a:lnTo>
                  <a:pt x="4309" y="1361"/>
                </a:lnTo>
                <a:lnTo>
                  <a:pt x="4310" y="1371"/>
                </a:lnTo>
                <a:lnTo>
                  <a:pt x="4311" y="1379"/>
                </a:lnTo>
                <a:lnTo>
                  <a:pt x="4313" y="1387"/>
                </a:lnTo>
                <a:lnTo>
                  <a:pt x="4315" y="1395"/>
                </a:lnTo>
                <a:lnTo>
                  <a:pt x="4318" y="1403"/>
                </a:lnTo>
                <a:lnTo>
                  <a:pt x="4321" y="1409"/>
                </a:lnTo>
                <a:lnTo>
                  <a:pt x="4325" y="1415"/>
                </a:lnTo>
                <a:lnTo>
                  <a:pt x="4328" y="1421"/>
                </a:lnTo>
                <a:lnTo>
                  <a:pt x="4337" y="1433"/>
                </a:lnTo>
                <a:lnTo>
                  <a:pt x="4347" y="1445"/>
                </a:lnTo>
                <a:lnTo>
                  <a:pt x="4359" y="1457"/>
                </a:lnTo>
                <a:lnTo>
                  <a:pt x="4421" y="1511"/>
                </a:lnTo>
                <a:lnTo>
                  <a:pt x="4431" y="1521"/>
                </a:lnTo>
                <a:lnTo>
                  <a:pt x="4442" y="1531"/>
                </a:lnTo>
                <a:lnTo>
                  <a:pt x="4451" y="1541"/>
                </a:lnTo>
                <a:lnTo>
                  <a:pt x="4459" y="1553"/>
                </a:lnTo>
                <a:lnTo>
                  <a:pt x="4467" y="1565"/>
                </a:lnTo>
                <a:lnTo>
                  <a:pt x="4474" y="1575"/>
                </a:lnTo>
                <a:lnTo>
                  <a:pt x="4480" y="1589"/>
                </a:lnTo>
                <a:lnTo>
                  <a:pt x="4486" y="1601"/>
                </a:lnTo>
                <a:lnTo>
                  <a:pt x="4491" y="1615"/>
                </a:lnTo>
                <a:lnTo>
                  <a:pt x="4495" y="1629"/>
                </a:lnTo>
                <a:lnTo>
                  <a:pt x="4499" y="1643"/>
                </a:lnTo>
                <a:lnTo>
                  <a:pt x="4502" y="1659"/>
                </a:lnTo>
                <a:lnTo>
                  <a:pt x="4504" y="1675"/>
                </a:lnTo>
                <a:lnTo>
                  <a:pt x="4505" y="1685"/>
                </a:lnTo>
                <a:lnTo>
                  <a:pt x="4505" y="1693"/>
                </a:lnTo>
                <a:lnTo>
                  <a:pt x="4506" y="1711"/>
                </a:lnTo>
                <a:lnTo>
                  <a:pt x="4507" y="1730"/>
                </a:lnTo>
                <a:lnTo>
                  <a:pt x="4506" y="1756"/>
                </a:lnTo>
                <a:lnTo>
                  <a:pt x="4504" y="1780"/>
                </a:lnTo>
                <a:lnTo>
                  <a:pt x="4503" y="1792"/>
                </a:lnTo>
                <a:lnTo>
                  <a:pt x="4501" y="1802"/>
                </a:lnTo>
                <a:lnTo>
                  <a:pt x="4499" y="1814"/>
                </a:lnTo>
                <a:lnTo>
                  <a:pt x="4497" y="1824"/>
                </a:lnTo>
                <a:lnTo>
                  <a:pt x="4494" y="1834"/>
                </a:lnTo>
                <a:lnTo>
                  <a:pt x="4492" y="1844"/>
                </a:lnTo>
                <a:lnTo>
                  <a:pt x="4485" y="1862"/>
                </a:lnTo>
                <a:lnTo>
                  <a:pt x="4482" y="1870"/>
                </a:lnTo>
                <a:lnTo>
                  <a:pt x="4478" y="1880"/>
                </a:lnTo>
                <a:lnTo>
                  <a:pt x="4470" y="1894"/>
                </a:lnTo>
                <a:lnTo>
                  <a:pt x="4465" y="1902"/>
                </a:lnTo>
                <a:lnTo>
                  <a:pt x="4460" y="1908"/>
                </a:lnTo>
                <a:lnTo>
                  <a:pt x="4455" y="1914"/>
                </a:lnTo>
                <a:lnTo>
                  <a:pt x="4450" y="1920"/>
                </a:lnTo>
                <a:lnTo>
                  <a:pt x="4439" y="1930"/>
                </a:lnTo>
                <a:lnTo>
                  <a:pt x="4427" y="1938"/>
                </a:lnTo>
                <a:lnTo>
                  <a:pt x="4414" y="1946"/>
                </a:lnTo>
                <a:lnTo>
                  <a:pt x="4400" y="1950"/>
                </a:lnTo>
                <a:lnTo>
                  <a:pt x="4393" y="1952"/>
                </a:lnTo>
                <a:lnTo>
                  <a:pt x="4386" y="1952"/>
                </a:lnTo>
                <a:lnTo>
                  <a:pt x="4370" y="19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F5A17A4-EA2D-AFFF-38DF-9699B925DC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98587" y="4797152"/>
            <a:ext cx="9793263" cy="1296144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Yhteystiedot</a:t>
            </a:r>
          </a:p>
        </p:txBody>
      </p:sp>
    </p:spTree>
    <p:extLst>
      <p:ext uri="{BB962C8B-B14F-4D97-AF65-F5344CB8AC3E}">
        <p14:creationId xmlns:p14="http://schemas.microsoft.com/office/powerpoint/2010/main" val="27618716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6924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iitos 2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89437-0A9F-6907-E834-ECE3DB6251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00150" y="2060575"/>
            <a:ext cx="9791700" cy="2592561"/>
          </a:xfrm>
        </p:spPr>
        <p:txBody>
          <a:bodyPr anchor="b" anchorCtr="0"/>
          <a:lstStyle>
            <a:lvl1pPr algn="l">
              <a:defRPr sz="80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Lisää kiitos viesti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98F4D-E89B-8263-EB37-8F8B305D4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C9763C8-5A18-4F41-B7B6-14A6019CA2A3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B5C31-D7B7-0A4A-9FF1-A8910751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9B765-A518-625F-2D82-59131FF13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CD5646D-347F-0693-85B7-82EEFAEE1F7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07368" y="333375"/>
            <a:ext cx="2325003" cy="504000"/>
          </a:xfrm>
          <a:custGeom>
            <a:avLst/>
            <a:gdLst>
              <a:gd name="T0" fmla="*/ 11 w 4507"/>
              <a:gd name="T1" fmla="*/ 18 h 1954"/>
              <a:gd name="T2" fmla="*/ 659 w 4507"/>
              <a:gd name="T3" fmla="*/ 297 h 1954"/>
              <a:gd name="T4" fmla="*/ 666 w 4507"/>
              <a:gd name="T5" fmla="*/ 916 h 1954"/>
              <a:gd name="T6" fmla="*/ 347 w 4507"/>
              <a:gd name="T7" fmla="*/ 880 h 1954"/>
              <a:gd name="T8" fmla="*/ 471 w 4507"/>
              <a:gd name="T9" fmla="*/ 675 h 1954"/>
              <a:gd name="T10" fmla="*/ 375 w 4507"/>
              <a:gd name="T11" fmla="*/ 401 h 1954"/>
              <a:gd name="T12" fmla="*/ 1722 w 4507"/>
              <a:gd name="T13" fmla="*/ 26 h 1954"/>
              <a:gd name="T14" fmla="*/ 1804 w 4507"/>
              <a:gd name="T15" fmla="*/ 309 h 1954"/>
              <a:gd name="T16" fmla="*/ 1741 w 4507"/>
              <a:gd name="T17" fmla="*/ 269 h 1954"/>
              <a:gd name="T18" fmla="*/ 1854 w 4507"/>
              <a:gd name="T19" fmla="*/ 788 h 1954"/>
              <a:gd name="T20" fmla="*/ 2410 w 4507"/>
              <a:gd name="T21" fmla="*/ 18 h 1954"/>
              <a:gd name="T22" fmla="*/ 3053 w 4507"/>
              <a:gd name="T23" fmla="*/ 553 h 1954"/>
              <a:gd name="T24" fmla="*/ 3419 w 4507"/>
              <a:gd name="T25" fmla="*/ 539 h 1954"/>
              <a:gd name="T26" fmla="*/ 3595 w 4507"/>
              <a:gd name="T27" fmla="*/ 659 h 1954"/>
              <a:gd name="T28" fmla="*/ 3699 w 4507"/>
              <a:gd name="T29" fmla="*/ 697 h 1954"/>
              <a:gd name="T30" fmla="*/ 3842 w 4507"/>
              <a:gd name="T31" fmla="*/ 595 h 1954"/>
              <a:gd name="T32" fmla="*/ 3700 w 4507"/>
              <a:gd name="T33" fmla="*/ 806 h 1954"/>
              <a:gd name="T34" fmla="*/ 3943 w 4507"/>
              <a:gd name="T35" fmla="*/ 725 h 1954"/>
              <a:gd name="T36" fmla="*/ 4018 w 4507"/>
              <a:gd name="T37" fmla="*/ 689 h 1954"/>
              <a:gd name="T38" fmla="*/ 4124 w 4507"/>
              <a:gd name="T39" fmla="*/ 581 h 1954"/>
              <a:gd name="T40" fmla="*/ 3931 w 4507"/>
              <a:gd name="T41" fmla="*/ 269 h 1954"/>
              <a:gd name="T42" fmla="*/ 4017 w 4507"/>
              <a:gd name="T43" fmla="*/ 6 h 1954"/>
              <a:gd name="T44" fmla="*/ 4117 w 4507"/>
              <a:gd name="T45" fmla="*/ 228 h 1954"/>
              <a:gd name="T46" fmla="*/ 4005 w 4507"/>
              <a:gd name="T47" fmla="*/ 134 h 1954"/>
              <a:gd name="T48" fmla="*/ 4123 w 4507"/>
              <a:gd name="T49" fmla="*/ 383 h 1954"/>
              <a:gd name="T50" fmla="*/ 4174 w 4507"/>
              <a:gd name="T51" fmla="*/ 697 h 1954"/>
              <a:gd name="T52" fmla="*/ 1767 w 4507"/>
              <a:gd name="T53" fmla="*/ 1273 h 1954"/>
              <a:gd name="T54" fmla="*/ 2197 w 4507"/>
              <a:gd name="T55" fmla="*/ 1926 h 1954"/>
              <a:gd name="T56" fmla="*/ 2114 w 4507"/>
              <a:gd name="T57" fmla="*/ 1551 h 1954"/>
              <a:gd name="T58" fmla="*/ 2226 w 4507"/>
              <a:gd name="T59" fmla="*/ 1156 h 1954"/>
              <a:gd name="T60" fmla="*/ 2385 w 4507"/>
              <a:gd name="T61" fmla="*/ 1313 h 1954"/>
              <a:gd name="T62" fmla="*/ 2373 w 4507"/>
              <a:gd name="T63" fmla="*/ 1834 h 1954"/>
              <a:gd name="T64" fmla="*/ 2227 w 4507"/>
              <a:gd name="T65" fmla="*/ 1271 h 1954"/>
              <a:gd name="T66" fmla="*/ 2192 w 4507"/>
              <a:gd name="T67" fmla="*/ 1738 h 1954"/>
              <a:gd name="T68" fmla="*/ 2323 w 4507"/>
              <a:gd name="T69" fmla="*/ 1760 h 1954"/>
              <a:gd name="T70" fmla="*/ 2273 w 4507"/>
              <a:gd name="T71" fmla="*/ 1259 h 1954"/>
              <a:gd name="T72" fmla="*/ 3321 w 4507"/>
              <a:gd name="T73" fmla="*/ 1954 h 1954"/>
              <a:gd name="T74" fmla="*/ 3265 w 4507"/>
              <a:gd name="T75" fmla="*/ 1693 h 1954"/>
              <a:gd name="T76" fmla="*/ 3380 w 4507"/>
              <a:gd name="T77" fmla="*/ 1832 h 1954"/>
              <a:gd name="T78" fmla="*/ 3369 w 4507"/>
              <a:gd name="T79" fmla="*/ 1625 h 1954"/>
              <a:gd name="T80" fmla="*/ 3218 w 4507"/>
              <a:gd name="T81" fmla="*/ 1279 h 1954"/>
              <a:gd name="T82" fmla="*/ 3426 w 4507"/>
              <a:gd name="T83" fmla="*/ 1198 h 1954"/>
              <a:gd name="T84" fmla="*/ 3370 w 4507"/>
              <a:gd name="T85" fmla="*/ 1265 h 1954"/>
              <a:gd name="T86" fmla="*/ 3279 w 4507"/>
              <a:gd name="T87" fmla="*/ 1379 h 1954"/>
              <a:gd name="T88" fmla="*/ 3471 w 4507"/>
              <a:gd name="T89" fmla="*/ 1675 h 1954"/>
              <a:gd name="T90" fmla="*/ 3381 w 4507"/>
              <a:gd name="T91" fmla="*/ 1946 h 1954"/>
              <a:gd name="T92" fmla="*/ 3620 w 4507"/>
              <a:gd name="T93" fmla="*/ 1772 h 1954"/>
              <a:gd name="T94" fmla="*/ 3736 w 4507"/>
              <a:gd name="T95" fmla="*/ 1772 h 1954"/>
              <a:gd name="T96" fmla="*/ 3756 w 4507"/>
              <a:gd name="T97" fmla="*/ 1914 h 1954"/>
              <a:gd name="T98" fmla="*/ 3915 w 4507"/>
              <a:gd name="T99" fmla="*/ 1828 h 1954"/>
              <a:gd name="T100" fmla="*/ 4005 w 4507"/>
              <a:gd name="T101" fmla="*/ 1838 h 1954"/>
              <a:gd name="T102" fmla="*/ 4160 w 4507"/>
              <a:gd name="T103" fmla="*/ 1697 h 1954"/>
              <a:gd name="T104" fmla="*/ 4039 w 4507"/>
              <a:gd name="T105" fmla="*/ 1954 h 1954"/>
              <a:gd name="T106" fmla="*/ 4268 w 4507"/>
              <a:gd name="T107" fmla="*/ 1888 h 1954"/>
              <a:gd name="T108" fmla="*/ 4324 w 4507"/>
              <a:gd name="T109" fmla="*/ 1824 h 1954"/>
              <a:gd name="T110" fmla="*/ 4442 w 4507"/>
              <a:gd name="T111" fmla="*/ 1752 h 1954"/>
              <a:gd name="T112" fmla="*/ 4255 w 4507"/>
              <a:gd name="T113" fmla="*/ 1447 h 1954"/>
              <a:gd name="T114" fmla="*/ 4311 w 4507"/>
              <a:gd name="T115" fmla="*/ 1166 h 1954"/>
              <a:gd name="T116" fmla="*/ 4497 w 4507"/>
              <a:gd name="T117" fmla="*/ 1331 h 1954"/>
              <a:gd name="T118" fmla="*/ 4336 w 4507"/>
              <a:gd name="T119" fmla="*/ 1267 h 1954"/>
              <a:gd name="T120" fmla="*/ 4359 w 4507"/>
              <a:gd name="T121" fmla="*/ 1457 h 1954"/>
              <a:gd name="T122" fmla="*/ 4499 w 4507"/>
              <a:gd name="T123" fmla="*/ 1814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507" h="1954">
                <a:moveTo>
                  <a:pt x="4307" y="327"/>
                </a:moveTo>
                <a:lnTo>
                  <a:pt x="4377" y="327"/>
                </a:lnTo>
                <a:lnTo>
                  <a:pt x="4377" y="463"/>
                </a:lnTo>
                <a:lnTo>
                  <a:pt x="4307" y="463"/>
                </a:lnTo>
                <a:lnTo>
                  <a:pt x="4307" y="327"/>
                </a:lnTo>
                <a:close/>
                <a:moveTo>
                  <a:pt x="1248" y="18"/>
                </a:moveTo>
                <a:lnTo>
                  <a:pt x="1248" y="473"/>
                </a:lnTo>
                <a:lnTo>
                  <a:pt x="1051" y="473"/>
                </a:lnTo>
                <a:lnTo>
                  <a:pt x="1051" y="1936"/>
                </a:lnTo>
                <a:lnTo>
                  <a:pt x="821" y="1936"/>
                </a:lnTo>
                <a:lnTo>
                  <a:pt x="821" y="473"/>
                </a:lnTo>
                <a:lnTo>
                  <a:pt x="655" y="18"/>
                </a:lnTo>
                <a:lnTo>
                  <a:pt x="1248" y="18"/>
                </a:lnTo>
                <a:close/>
                <a:moveTo>
                  <a:pt x="0" y="1481"/>
                </a:moveTo>
                <a:lnTo>
                  <a:pt x="230" y="1481"/>
                </a:lnTo>
                <a:lnTo>
                  <a:pt x="230" y="1936"/>
                </a:lnTo>
                <a:lnTo>
                  <a:pt x="0" y="1936"/>
                </a:lnTo>
                <a:lnTo>
                  <a:pt x="0" y="1481"/>
                </a:lnTo>
                <a:close/>
                <a:moveTo>
                  <a:pt x="487" y="1186"/>
                </a:moveTo>
                <a:lnTo>
                  <a:pt x="752" y="1936"/>
                </a:lnTo>
                <a:lnTo>
                  <a:pt x="495" y="1936"/>
                </a:lnTo>
                <a:lnTo>
                  <a:pt x="11" y="559"/>
                </a:lnTo>
                <a:lnTo>
                  <a:pt x="11" y="18"/>
                </a:lnTo>
                <a:lnTo>
                  <a:pt x="309" y="18"/>
                </a:lnTo>
                <a:lnTo>
                  <a:pt x="335" y="18"/>
                </a:lnTo>
                <a:lnTo>
                  <a:pt x="359" y="20"/>
                </a:lnTo>
                <a:lnTo>
                  <a:pt x="382" y="24"/>
                </a:lnTo>
                <a:lnTo>
                  <a:pt x="404" y="30"/>
                </a:lnTo>
                <a:lnTo>
                  <a:pt x="426" y="36"/>
                </a:lnTo>
                <a:lnTo>
                  <a:pt x="447" y="44"/>
                </a:lnTo>
                <a:lnTo>
                  <a:pt x="467" y="52"/>
                </a:lnTo>
                <a:lnTo>
                  <a:pt x="476" y="58"/>
                </a:lnTo>
                <a:lnTo>
                  <a:pt x="486" y="62"/>
                </a:lnTo>
                <a:lnTo>
                  <a:pt x="504" y="74"/>
                </a:lnTo>
                <a:lnTo>
                  <a:pt x="521" y="88"/>
                </a:lnTo>
                <a:lnTo>
                  <a:pt x="538" y="102"/>
                </a:lnTo>
                <a:lnTo>
                  <a:pt x="553" y="116"/>
                </a:lnTo>
                <a:lnTo>
                  <a:pt x="569" y="132"/>
                </a:lnTo>
                <a:lnTo>
                  <a:pt x="583" y="150"/>
                </a:lnTo>
                <a:lnTo>
                  <a:pt x="596" y="168"/>
                </a:lnTo>
                <a:lnTo>
                  <a:pt x="609" y="188"/>
                </a:lnTo>
                <a:lnTo>
                  <a:pt x="620" y="208"/>
                </a:lnTo>
                <a:lnTo>
                  <a:pt x="631" y="230"/>
                </a:lnTo>
                <a:lnTo>
                  <a:pt x="641" y="251"/>
                </a:lnTo>
                <a:lnTo>
                  <a:pt x="650" y="273"/>
                </a:lnTo>
                <a:lnTo>
                  <a:pt x="659" y="297"/>
                </a:lnTo>
                <a:lnTo>
                  <a:pt x="666" y="323"/>
                </a:lnTo>
                <a:lnTo>
                  <a:pt x="673" y="349"/>
                </a:lnTo>
                <a:lnTo>
                  <a:pt x="680" y="375"/>
                </a:lnTo>
                <a:lnTo>
                  <a:pt x="685" y="401"/>
                </a:lnTo>
                <a:lnTo>
                  <a:pt x="690" y="429"/>
                </a:lnTo>
                <a:lnTo>
                  <a:pt x="694" y="459"/>
                </a:lnTo>
                <a:lnTo>
                  <a:pt x="697" y="487"/>
                </a:lnTo>
                <a:lnTo>
                  <a:pt x="699" y="517"/>
                </a:lnTo>
                <a:lnTo>
                  <a:pt x="701" y="547"/>
                </a:lnTo>
                <a:lnTo>
                  <a:pt x="702" y="579"/>
                </a:lnTo>
                <a:lnTo>
                  <a:pt x="703" y="611"/>
                </a:lnTo>
                <a:lnTo>
                  <a:pt x="702" y="661"/>
                </a:lnTo>
                <a:lnTo>
                  <a:pt x="701" y="687"/>
                </a:lnTo>
                <a:lnTo>
                  <a:pt x="699" y="711"/>
                </a:lnTo>
                <a:lnTo>
                  <a:pt x="697" y="735"/>
                </a:lnTo>
                <a:lnTo>
                  <a:pt x="695" y="758"/>
                </a:lnTo>
                <a:lnTo>
                  <a:pt x="692" y="782"/>
                </a:lnTo>
                <a:lnTo>
                  <a:pt x="689" y="806"/>
                </a:lnTo>
                <a:lnTo>
                  <a:pt x="685" y="830"/>
                </a:lnTo>
                <a:lnTo>
                  <a:pt x="681" y="852"/>
                </a:lnTo>
                <a:lnTo>
                  <a:pt x="677" y="874"/>
                </a:lnTo>
                <a:lnTo>
                  <a:pt x="672" y="896"/>
                </a:lnTo>
                <a:lnTo>
                  <a:pt x="666" y="916"/>
                </a:lnTo>
                <a:lnTo>
                  <a:pt x="661" y="938"/>
                </a:lnTo>
                <a:lnTo>
                  <a:pt x="655" y="958"/>
                </a:lnTo>
                <a:lnTo>
                  <a:pt x="648" y="976"/>
                </a:lnTo>
                <a:lnTo>
                  <a:pt x="641" y="996"/>
                </a:lnTo>
                <a:lnTo>
                  <a:pt x="634" y="1014"/>
                </a:lnTo>
                <a:lnTo>
                  <a:pt x="626" y="1030"/>
                </a:lnTo>
                <a:lnTo>
                  <a:pt x="618" y="1048"/>
                </a:lnTo>
                <a:lnTo>
                  <a:pt x="609" y="1064"/>
                </a:lnTo>
                <a:lnTo>
                  <a:pt x="600" y="1080"/>
                </a:lnTo>
                <a:lnTo>
                  <a:pt x="591" y="1094"/>
                </a:lnTo>
                <a:lnTo>
                  <a:pt x="581" y="1108"/>
                </a:lnTo>
                <a:lnTo>
                  <a:pt x="571" y="1120"/>
                </a:lnTo>
                <a:lnTo>
                  <a:pt x="559" y="1132"/>
                </a:lnTo>
                <a:lnTo>
                  <a:pt x="548" y="1144"/>
                </a:lnTo>
                <a:lnTo>
                  <a:pt x="537" y="1154"/>
                </a:lnTo>
                <a:lnTo>
                  <a:pt x="525" y="1164"/>
                </a:lnTo>
                <a:lnTo>
                  <a:pt x="513" y="1172"/>
                </a:lnTo>
                <a:lnTo>
                  <a:pt x="500" y="1180"/>
                </a:lnTo>
                <a:lnTo>
                  <a:pt x="487" y="1186"/>
                </a:lnTo>
                <a:close/>
                <a:moveTo>
                  <a:pt x="239" y="391"/>
                </a:moveTo>
                <a:lnTo>
                  <a:pt x="239" y="880"/>
                </a:lnTo>
                <a:lnTo>
                  <a:pt x="337" y="880"/>
                </a:lnTo>
                <a:lnTo>
                  <a:pt x="347" y="880"/>
                </a:lnTo>
                <a:lnTo>
                  <a:pt x="357" y="880"/>
                </a:lnTo>
                <a:lnTo>
                  <a:pt x="367" y="878"/>
                </a:lnTo>
                <a:lnTo>
                  <a:pt x="376" y="874"/>
                </a:lnTo>
                <a:lnTo>
                  <a:pt x="384" y="872"/>
                </a:lnTo>
                <a:lnTo>
                  <a:pt x="392" y="868"/>
                </a:lnTo>
                <a:lnTo>
                  <a:pt x="400" y="862"/>
                </a:lnTo>
                <a:lnTo>
                  <a:pt x="407" y="858"/>
                </a:lnTo>
                <a:lnTo>
                  <a:pt x="413" y="852"/>
                </a:lnTo>
                <a:lnTo>
                  <a:pt x="419" y="844"/>
                </a:lnTo>
                <a:lnTo>
                  <a:pt x="425" y="838"/>
                </a:lnTo>
                <a:lnTo>
                  <a:pt x="430" y="830"/>
                </a:lnTo>
                <a:lnTo>
                  <a:pt x="435" y="822"/>
                </a:lnTo>
                <a:lnTo>
                  <a:pt x="440" y="814"/>
                </a:lnTo>
                <a:lnTo>
                  <a:pt x="444" y="806"/>
                </a:lnTo>
                <a:lnTo>
                  <a:pt x="448" y="796"/>
                </a:lnTo>
                <a:lnTo>
                  <a:pt x="451" y="788"/>
                </a:lnTo>
                <a:lnTo>
                  <a:pt x="454" y="778"/>
                </a:lnTo>
                <a:lnTo>
                  <a:pt x="457" y="768"/>
                </a:lnTo>
                <a:lnTo>
                  <a:pt x="460" y="758"/>
                </a:lnTo>
                <a:lnTo>
                  <a:pt x="464" y="738"/>
                </a:lnTo>
                <a:lnTo>
                  <a:pt x="467" y="717"/>
                </a:lnTo>
                <a:lnTo>
                  <a:pt x="470" y="697"/>
                </a:lnTo>
                <a:lnTo>
                  <a:pt x="471" y="675"/>
                </a:lnTo>
                <a:lnTo>
                  <a:pt x="472" y="655"/>
                </a:lnTo>
                <a:lnTo>
                  <a:pt x="472" y="635"/>
                </a:lnTo>
                <a:lnTo>
                  <a:pt x="472" y="615"/>
                </a:lnTo>
                <a:lnTo>
                  <a:pt x="470" y="593"/>
                </a:lnTo>
                <a:lnTo>
                  <a:pt x="468" y="573"/>
                </a:lnTo>
                <a:lnTo>
                  <a:pt x="464" y="551"/>
                </a:lnTo>
                <a:lnTo>
                  <a:pt x="462" y="541"/>
                </a:lnTo>
                <a:lnTo>
                  <a:pt x="459" y="531"/>
                </a:lnTo>
                <a:lnTo>
                  <a:pt x="457" y="521"/>
                </a:lnTo>
                <a:lnTo>
                  <a:pt x="454" y="511"/>
                </a:lnTo>
                <a:lnTo>
                  <a:pt x="447" y="491"/>
                </a:lnTo>
                <a:lnTo>
                  <a:pt x="443" y="483"/>
                </a:lnTo>
                <a:lnTo>
                  <a:pt x="439" y="473"/>
                </a:lnTo>
                <a:lnTo>
                  <a:pt x="435" y="465"/>
                </a:lnTo>
                <a:lnTo>
                  <a:pt x="430" y="457"/>
                </a:lnTo>
                <a:lnTo>
                  <a:pt x="420" y="441"/>
                </a:lnTo>
                <a:lnTo>
                  <a:pt x="414" y="433"/>
                </a:lnTo>
                <a:lnTo>
                  <a:pt x="408" y="427"/>
                </a:lnTo>
                <a:lnTo>
                  <a:pt x="402" y="421"/>
                </a:lnTo>
                <a:lnTo>
                  <a:pt x="396" y="415"/>
                </a:lnTo>
                <a:lnTo>
                  <a:pt x="389" y="409"/>
                </a:lnTo>
                <a:lnTo>
                  <a:pt x="382" y="405"/>
                </a:lnTo>
                <a:lnTo>
                  <a:pt x="375" y="401"/>
                </a:lnTo>
                <a:lnTo>
                  <a:pt x="367" y="397"/>
                </a:lnTo>
                <a:lnTo>
                  <a:pt x="359" y="395"/>
                </a:lnTo>
                <a:lnTo>
                  <a:pt x="351" y="393"/>
                </a:lnTo>
                <a:lnTo>
                  <a:pt x="333" y="391"/>
                </a:lnTo>
                <a:lnTo>
                  <a:pt x="239" y="391"/>
                </a:lnTo>
                <a:close/>
                <a:moveTo>
                  <a:pt x="1780" y="395"/>
                </a:moveTo>
                <a:lnTo>
                  <a:pt x="1776" y="403"/>
                </a:lnTo>
                <a:lnTo>
                  <a:pt x="1772" y="411"/>
                </a:lnTo>
                <a:lnTo>
                  <a:pt x="1763" y="423"/>
                </a:lnTo>
                <a:lnTo>
                  <a:pt x="1754" y="433"/>
                </a:lnTo>
                <a:lnTo>
                  <a:pt x="1743" y="443"/>
                </a:lnTo>
                <a:lnTo>
                  <a:pt x="1814" y="788"/>
                </a:lnTo>
                <a:lnTo>
                  <a:pt x="1742" y="788"/>
                </a:lnTo>
                <a:lnTo>
                  <a:pt x="1683" y="465"/>
                </a:lnTo>
                <a:lnTo>
                  <a:pt x="1607" y="465"/>
                </a:lnTo>
                <a:lnTo>
                  <a:pt x="1607" y="788"/>
                </a:lnTo>
                <a:lnTo>
                  <a:pt x="1543" y="788"/>
                </a:lnTo>
                <a:lnTo>
                  <a:pt x="1543" y="18"/>
                </a:lnTo>
                <a:lnTo>
                  <a:pt x="1681" y="18"/>
                </a:lnTo>
                <a:lnTo>
                  <a:pt x="1696" y="18"/>
                </a:lnTo>
                <a:lnTo>
                  <a:pt x="1703" y="20"/>
                </a:lnTo>
                <a:lnTo>
                  <a:pt x="1710" y="22"/>
                </a:lnTo>
                <a:lnTo>
                  <a:pt x="1722" y="26"/>
                </a:lnTo>
                <a:lnTo>
                  <a:pt x="1734" y="32"/>
                </a:lnTo>
                <a:lnTo>
                  <a:pt x="1745" y="40"/>
                </a:lnTo>
                <a:lnTo>
                  <a:pt x="1755" y="50"/>
                </a:lnTo>
                <a:lnTo>
                  <a:pt x="1765" y="62"/>
                </a:lnTo>
                <a:lnTo>
                  <a:pt x="1769" y="68"/>
                </a:lnTo>
                <a:lnTo>
                  <a:pt x="1773" y="76"/>
                </a:lnTo>
                <a:lnTo>
                  <a:pt x="1781" y="92"/>
                </a:lnTo>
                <a:lnTo>
                  <a:pt x="1788" y="108"/>
                </a:lnTo>
                <a:lnTo>
                  <a:pt x="1791" y="118"/>
                </a:lnTo>
                <a:lnTo>
                  <a:pt x="1794" y="126"/>
                </a:lnTo>
                <a:lnTo>
                  <a:pt x="1799" y="146"/>
                </a:lnTo>
                <a:lnTo>
                  <a:pt x="1803" y="168"/>
                </a:lnTo>
                <a:lnTo>
                  <a:pt x="1805" y="178"/>
                </a:lnTo>
                <a:lnTo>
                  <a:pt x="1806" y="190"/>
                </a:lnTo>
                <a:lnTo>
                  <a:pt x="1807" y="200"/>
                </a:lnTo>
                <a:lnTo>
                  <a:pt x="1808" y="212"/>
                </a:lnTo>
                <a:lnTo>
                  <a:pt x="1808" y="224"/>
                </a:lnTo>
                <a:lnTo>
                  <a:pt x="1808" y="236"/>
                </a:lnTo>
                <a:lnTo>
                  <a:pt x="1808" y="263"/>
                </a:lnTo>
                <a:lnTo>
                  <a:pt x="1807" y="275"/>
                </a:lnTo>
                <a:lnTo>
                  <a:pt x="1806" y="287"/>
                </a:lnTo>
                <a:lnTo>
                  <a:pt x="1805" y="299"/>
                </a:lnTo>
                <a:lnTo>
                  <a:pt x="1804" y="309"/>
                </a:lnTo>
                <a:lnTo>
                  <a:pt x="1801" y="331"/>
                </a:lnTo>
                <a:lnTo>
                  <a:pt x="1797" y="349"/>
                </a:lnTo>
                <a:lnTo>
                  <a:pt x="1792" y="367"/>
                </a:lnTo>
                <a:lnTo>
                  <a:pt x="1786" y="381"/>
                </a:lnTo>
                <a:lnTo>
                  <a:pt x="1780" y="395"/>
                </a:lnTo>
                <a:close/>
                <a:moveTo>
                  <a:pt x="1678" y="122"/>
                </a:moveTo>
                <a:lnTo>
                  <a:pt x="1607" y="122"/>
                </a:lnTo>
                <a:lnTo>
                  <a:pt x="1607" y="365"/>
                </a:lnTo>
                <a:lnTo>
                  <a:pt x="1678" y="365"/>
                </a:lnTo>
                <a:lnTo>
                  <a:pt x="1686" y="363"/>
                </a:lnTo>
                <a:lnTo>
                  <a:pt x="1694" y="361"/>
                </a:lnTo>
                <a:lnTo>
                  <a:pt x="1700" y="359"/>
                </a:lnTo>
                <a:lnTo>
                  <a:pt x="1707" y="355"/>
                </a:lnTo>
                <a:lnTo>
                  <a:pt x="1712" y="351"/>
                </a:lnTo>
                <a:lnTo>
                  <a:pt x="1717" y="345"/>
                </a:lnTo>
                <a:lnTo>
                  <a:pt x="1722" y="339"/>
                </a:lnTo>
                <a:lnTo>
                  <a:pt x="1726" y="331"/>
                </a:lnTo>
                <a:lnTo>
                  <a:pt x="1730" y="323"/>
                </a:lnTo>
                <a:lnTo>
                  <a:pt x="1733" y="313"/>
                </a:lnTo>
                <a:lnTo>
                  <a:pt x="1736" y="303"/>
                </a:lnTo>
                <a:lnTo>
                  <a:pt x="1738" y="293"/>
                </a:lnTo>
                <a:lnTo>
                  <a:pt x="1740" y="281"/>
                </a:lnTo>
                <a:lnTo>
                  <a:pt x="1741" y="269"/>
                </a:lnTo>
                <a:lnTo>
                  <a:pt x="1742" y="257"/>
                </a:lnTo>
                <a:lnTo>
                  <a:pt x="1742" y="244"/>
                </a:lnTo>
                <a:lnTo>
                  <a:pt x="1742" y="230"/>
                </a:lnTo>
                <a:lnTo>
                  <a:pt x="1742" y="218"/>
                </a:lnTo>
                <a:lnTo>
                  <a:pt x="1740" y="206"/>
                </a:lnTo>
                <a:lnTo>
                  <a:pt x="1739" y="194"/>
                </a:lnTo>
                <a:lnTo>
                  <a:pt x="1737" y="184"/>
                </a:lnTo>
                <a:lnTo>
                  <a:pt x="1734" y="174"/>
                </a:lnTo>
                <a:lnTo>
                  <a:pt x="1731" y="164"/>
                </a:lnTo>
                <a:lnTo>
                  <a:pt x="1728" y="156"/>
                </a:lnTo>
                <a:lnTo>
                  <a:pt x="1723" y="148"/>
                </a:lnTo>
                <a:lnTo>
                  <a:pt x="1719" y="142"/>
                </a:lnTo>
                <a:lnTo>
                  <a:pt x="1713" y="136"/>
                </a:lnTo>
                <a:lnTo>
                  <a:pt x="1708" y="132"/>
                </a:lnTo>
                <a:lnTo>
                  <a:pt x="1701" y="128"/>
                </a:lnTo>
                <a:lnTo>
                  <a:pt x="1694" y="124"/>
                </a:lnTo>
                <a:lnTo>
                  <a:pt x="1686" y="122"/>
                </a:lnTo>
                <a:lnTo>
                  <a:pt x="1678" y="122"/>
                </a:lnTo>
                <a:close/>
                <a:moveTo>
                  <a:pt x="2090" y="788"/>
                </a:moveTo>
                <a:lnTo>
                  <a:pt x="2069" y="635"/>
                </a:lnTo>
                <a:lnTo>
                  <a:pt x="1942" y="635"/>
                </a:lnTo>
                <a:lnTo>
                  <a:pt x="1921" y="788"/>
                </a:lnTo>
                <a:lnTo>
                  <a:pt x="1854" y="788"/>
                </a:lnTo>
                <a:lnTo>
                  <a:pt x="1975" y="18"/>
                </a:lnTo>
                <a:lnTo>
                  <a:pt x="2037" y="18"/>
                </a:lnTo>
                <a:lnTo>
                  <a:pt x="2160" y="788"/>
                </a:lnTo>
                <a:lnTo>
                  <a:pt x="2090" y="788"/>
                </a:lnTo>
                <a:close/>
                <a:moveTo>
                  <a:pt x="2026" y="323"/>
                </a:moveTo>
                <a:lnTo>
                  <a:pt x="2015" y="250"/>
                </a:lnTo>
                <a:lnTo>
                  <a:pt x="2010" y="210"/>
                </a:lnTo>
                <a:lnTo>
                  <a:pt x="2006" y="170"/>
                </a:lnTo>
                <a:lnTo>
                  <a:pt x="2001" y="210"/>
                </a:lnTo>
                <a:lnTo>
                  <a:pt x="1996" y="250"/>
                </a:lnTo>
                <a:lnTo>
                  <a:pt x="1986" y="325"/>
                </a:lnTo>
                <a:lnTo>
                  <a:pt x="1957" y="529"/>
                </a:lnTo>
                <a:lnTo>
                  <a:pt x="2053" y="529"/>
                </a:lnTo>
                <a:lnTo>
                  <a:pt x="2026" y="323"/>
                </a:lnTo>
                <a:close/>
                <a:moveTo>
                  <a:pt x="2419" y="788"/>
                </a:moveTo>
                <a:lnTo>
                  <a:pt x="2323" y="431"/>
                </a:lnTo>
                <a:lnTo>
                  <a:pt x="2285" y="527"/>
                </a:lnTo>
                <a:lnTo>
                  <a:pt x="2285" y="788"/>
                </a:lnTo>
                <a:lnTo>
                  <a:pt x="2220" y="788"/>
                </a:lnTo>
                <a:lnTo>
                  <a:pt x="2220" y="18"/>
                </a:lnTo>
                <a:lnTo>
                  <a:pt x="2285" y="18"/>
                </a:lnTo>
                <a:lnTo>
                  <a:pt x="2285" y="347"/>
                </a:lnTo>
                <a:lnTo>
                  <a:pt x="2410" y="18"/>
                </a:lnTo>
                <a:lnTo>
                  <a:pt x="2492" y="18"/>
                </a:lnTo>
                <a:lnTo>
                  <a:pt x="2363" y="333"/>
                </a:lnTo>
                <a:lnTo>
                  <a:pt x="2498" y="788"/>
                </a:lnTo>
                <a:lnTo>
                  <a:pt x="2419" y="788"/>
                </a:lnTo>
                <a:close/>
                <a:moveTo>
                  <a:pt x="2558" y="788"/>
                </a:moveTo>
                <a:lnTo>
                  <a:pt x="2558" y="18"/>
                </a:lnTo>
                <a:lnTo>
                  <a:pt x="2786" y="18"/>
                </a:lnTo>
                <a:lnTo>
                  <a:pt x="2786" y="126"/>
                </a:lnTo>
                <a:lnTo>
                  <a:pt x="2623" y="126"/>
                </a:lnTo>
                <a:lnTo>
                  <a:pt x="2623" y="341"/>
                </a:lnTo>
                <a:lnTo>
                  <a:pt x="2756" y="341"/>
                </a:lnTo>
                <a:lnTo>
                  <a:pt x="2756" y="445"/>
                </a:lnTo>
                <a:lnTo>
                  <a:pt x="2623" y="445"/>
                </a:lnTo>
                <a:lnTo>
                  <a:pt x="2623" y="683"/>
                </a:lnTo>
                <a:lnTo>
                  <a:pt x="2786" y="683"/>
                </a:lnTo>
                <a:lnTo>
                  <a:pt x="2786" y="788"/>
                </a:lnTo>
                <a:lnTo>
                  <a:pt x="2558" y="788"/>
                </a:lnTo>
                <a:close/>
                <a:moveTo>
                  <a:pt x="2939" y="18"/>
                </a:moveTo>
                <a:lnTo>
                  <a:pt x="3030" y="439"/>
                </a:lnTo>
                <a:lnTo>
                  <a:pt x="3038" y="477"/>
                </a:lnTo>
                <a:lnTo>
                  <a:pt x="3042" y="495"/>
                </a:lnTo>
                <a:lnTo>
                  <a:pt x="3046" y="515"/>
                </a:lnTo>
                <a:lnTo>
                  <a:pt x="3053" y="553"/>
                </a:lnTo>
                <a:lnTo>
                  <a:pt x="3060" y="595"/>
                </a:lnTo>
                <a:lnTo>
                  <a:pt x="3060" y="509"/>
                </a:lnTo>
                <a:lnTo>
                  <a:pt x="3059" y="421"/>
                </a:lnTo>
                <a:lnTo>
                  <a:pt x="3059" y="18"/>
                </a:lnTo>
                <a:lnTo>
                  <a:pt x="3124" y="18"/>
                </a:lnTo>
                <a:lnTo>
                  <a:pt x="3124" y="788"/>
                </a:lnTo>
                <a:lnTo>
                  <a:pt x="3046" y="788"/>
                </a:lnTo>
                <a:lnTo>
                  <a:pt x="2954" y="369"/>
                </a:lnTo>
                <a:lnTo>
                  <a:pt x="2946" y="331"/>
                </a:lnTo>
                <a:lnTo>
                  <a:pt x="2938" y="293"/>
                </a:lnTo>
                <a:lnTo>
                  <a:pt x="2931" y="255"/>
                </a:lnTo>
                <a:lnTo>
                  <a:pt x="2923" y="214"/>
                </a:lnTo>
                <a:lnTo>
                  <a:pt x="2924" y="389"/>
                </a:lnTo>
                <a:lnTo>
                  <a:pt x="2924" y="790"/>
                </a:lnTo>
                <a:lnTo>
                  <a:pt x="2859" y="790"/>
                </a:lnTo>
                <a:lnTo>
                  <a:pt x="2859" y="18"/>
                </a:lnTo>
                <a:lnTo>
                  <a:pt x="2939" y="18"/>
                </a:lnTo>
                <a:close/>
                <a:moveTo>
                  <a:pt x="3306" y="18"/>
                </a:moveTo>
                <a:lnTo>
                  <a:pt x="3396" y="425"/>
                </a:lnTo>
                <a:lnTo>
                  <a:pt x="3404" y="463"/>
                </a:lnTo>
                <a:lnTo>
                  <a:pt x="3408" y="481"/>
                </a:lnTo>
                <a:lnTo>
                  <a:pt x="3412" y="501"/>
                </a:lnTo>
                <a:lnTo>
                  <a:pt x="3419" y="539"/>
                </a:lnTo>
                <a:lnTo>
                  <a:pt x="3426" y="581"/>
                </a:lnTo>
                <a:lnTo>
                  <a:pt x="3426" y="495"/>
                </a:lnTo>
                <a:lnTo>
                  <a:pt x="3426" y="407"/>
                </a:lnTo>
                <a:lnTo>
                  <a:pt x="3426" y="18"/>
                </a:lnTo>
                <a:lnTo>
                  <a:pt x="3491" y="18"/>
                </a:lnTo>
                <a:lnTo>
                  <a:pt x="3491" y="788"/>
                </a:lnTo>
                <a:lnTo>
                  <a:pt x="3412" y="788"/>
                </a:lnTo>
                <a:lnTo>
                  <a:pt x="3320" y="383"/>
                </a:lnTo>
                <a:lnTo>
                  <a:pt x="3312" y="345"/>
                </a:lnTo>
                <a:lnTo>
                  <a:pt x="3305" y="307"/>
                </a:lnTo>
                <a:lnTo>
                  <a:pt x="3297" y="269"/>
                </a:lnTo>
                <a:lnTo>
                  <a:pt x="3290" y="228"/>
                </a:lnTo>
                <a:lnTo>
                  <a:pt x="3290" y="403"/>
                </a:lnTo>
                <a:lnTo>
                  <a:pt x="3290" y="788"/>
                </a:lnTo>
                <a:lnTo>
                  <a:pt x="3226" y="788"/>
                </a:lnTo>
                <a:lnTo>
                  <a:pt x="3226" y="18"/>
                </a:lnTo>
                <a:lnTo>
                  <a:pt x="3306" y="18"/>
                </a:lnTo>
                <a:close/>
                <a:moveTo>
                  <a:pt x="3618" y="735"/>
                </a:moveTo>
                <a:lnTo>
                  <a:pt x="3611" y="719"/>
                </a:lnTo>
                <a:lnTo>
                  <a:pt x="3605" y="701"/>
                </a:lnTo>
                <a:lnTo>
                  <a:pt x="3599" y="681"/>
                </a:lnTo>
                <a:lnTo>
                  <a:pt x="3597" y="669"/>
                </a:lnTo>
                <a:lnTo>
                  <a:pt x="3595" y="659"/>
                </a:lnTo>
                <a:lnTo>
                  <a:pt x="3591" y="635"/>
                </a:lnTo>
                <a:lnTo>
                  <a:pt x="3589" y="609"/>
                </a:lnTo>
                <a:lnTo>
                  <a:pt x="3588" y="595"/>
                </a:lnTo>
                <a:lnTo>
                  <a:pt x="3587" y="581"/>
                </a:lnTo>
                <a:lnTo>
                  <a:pt x="3587" y="549"/>
                </a:lnTo>
                <a:lnTo>
                  <a:pt x="3587" y="18"/>
                </a:lnTo>
                <a:lnTo>
                  <a:pt x="3652" y="18"/>
                </a:lnTo>
                <a:lnTo>
                  <a:pt x="3652" y="543"/>
                </a:lnTo>
                <a:lnTo>
                  <a:pt x="3652" y="563"/>
                </a:lnTo>
                <a:lnTo>
                  <a:pt x="3652" y="581"/>
                </a:lnTo>
                <a:lnTo>
                  <a:pt x="3653" y="597"/>
                </a:lnTo>
                <a:lnTo>
                  <a:pt x="3655" y="611"/>
                </a:lnTo>
                <a:lnTo>
                  <a:pt x="3657" y="625"/>
                </a:lnTo>
                <a:lnTo>
                  <a:pt x="3659" y="637"/>
                </a:lnTo>
                <a:lnTo>
                  <a:pt x="3662" y="649"/>
                </a:lnTo>
                <a:lnTo>
                  <a:pt x="3665" y="659"/>
                </a:lnTo>
                <a:lnTo>
                  <a:pt x="3669" y="667"/>
                </a:lnTo>
                <a:lnTo>
                  <a:pt x="3674" y="675"/>
                </a:lnTo>
                <a:lnTo>
                  <a:pt x="3679" y="683"/>
                </a:lnTo>
                <a:lnTo>
                  <a:pt x="3685" y="689"/>
                </a:lnTo>
                <a:lnTo>
                  <a:pt x="3688" y="691"/>
                </a:lnTo>
                <a:lnTo>
                  <a:pt x="3692" y="693"/>
                </a:lnTo>
                <a:lnTo>
                  <a:pt x="3699" y="697"/>
                </a:lnTo>
                <a:lnTo>
                  <a:pt x="3706" y="699"/>
                </a:lnTo>
                <a:lnTo>
                  <a:pt x="3715" y="699"/>
                </a:lnTo>
                <a:lnTo>
                  <a:pt x="3723" y="699"/>
                </a:lnTo>
                <a:lnTo>
                  <a:pt x="3731" y="697"/>
                </a:lnTo>
                <a:lnTo>
                  <a:pt x="3738" y="693"/>
                </a:lnTo>
                <a:lnTo>
                  <a:pt x="3744" y="689"/>
                </a:lnTo>
                <a:lnTo>
                  <a:pt x="3750" y="683"/>
                </a:lnTo>
                <a:lnTo>
                  <a:pt x="3755" y="675"/>
                </a:lnTo>
                <a:lnTo>
                  <a:pt x="3760" y="667"/>
                </a:lnTo>
                <a:lnTo>
                  <a:pt x="3764" y="659"/>
                </a:lnTo>
                <a:lnTo>
                  <a:pt x="3768" y="649"/>
                </a:lnTo>
                <a:lnTo>
                  <a:pt x="3770" y="637"/>
                </a:lnTo>
                <a:lnTo>
                  <a:pt x="3773" y="625"/>
                </a:lnTo>
                <a:lnTo>
                  <a:pt x="3775" y="613"/>
                </a:lnTo>
                <a:lnTo>
                  <a:pt x="3776" y="597"/>
                </a:lnTo>
                <a:lnTo>
                  <a:pt x="3777" y="581"/>
                </a:lnTo>
                <a:lnTo>
                  <a:pt x="3778" y="563"/>
                </a:lnTo>
                <a:lnTo>
                  <a:pt x="3778" y="543"/>
                </a:lnTo>
                <a:lnTo>
                  <a:pt x="3778" y="18"/>
                </a:lnTo>
                <a:lnTo>
                  <a:pt x="3843" y="18"/>
                </a:lnTo>
                <a:lnTo>
                  <a:pt x="3843" y="549"/>
                </a:lnTo>
                <a:lnTo>
                  <a:pt x="3843" y="581"/>
                </a:lnTo>
                <a:lnTo>
                  <a:pt x="3842" y="595"/>
                </a:lnTo>
                <a:lnTo>
                  <a:pt x="3841" y="609"/>
                </a:lnTo>
                <a:lnTo>
                  <a:pt x="3838" y="635"/>
                </a:lnTo>
                <a:lnTo>
                  <a:pt x="3835" y="659"/>
                </a:lnTo>
                <a:lnTo>
                  <a:pt x="3833" y="669"/>
                </a:lnTo>
                <a:lnTo>
                  <a:pt x="3830" y="681"/>
                </a:lnTo>
                <a:lnTo>
                  <a:pt x="3825" y="701"/>
                </a:lnTo>
                <a:lnTo>
                  <a:pt x="3822" y="709"/>
                </a:lnTo>
                <a:lnTo>
                  <a:pt x="3819" y="719"/>
                </a:lnTo>
                <a:lnTo>
                  <a:pt x="3815" y="727"/>
                </a:lnTo>
                <a:lnTo>
                  <a:pt x="3812" y="735"/>
                </a:lnTo>
                <a:lnTo>
                  <a:pt x="3807" y="744"/>
                </a:lnTo>
                <a:lnTo>
                  <a:pt x="3802" y="752"/>
                </a:lnTo>
                <a:lnTo>
                  <a:pt x="3792" y="766"/>
                </a:lnTo>
                <a:lnTo>
                  <a:pt x="3781" y="778"/>
                </a:lnTo>
                <a:lnTo>
                  <a:pt x="3775" y="784"/>
                </a:lnTo>
                <a:lnTo>
                  <a:pt x="3769" y="788"/>
                </a:lnTo>
                <a:lnTo>
                  <a:pt x="3757" y="796"/>
                </a:lnTo>
                <a:lnTo>
                  <a:pt x="3750" y="800"/>
                </a:lnTo>
                <a:lnTo>
                  <a:pt x="3743" y="802"/>
                </a:lnTo>
                <a:lnTo>
                  <a:pt x="3729" y="806"/>
                </a:lnTo>
                <a:lnTo>
                  <a:pt x="3722" y="806"/>
                </a:lnTo>
                <a:lnTo>
                  <a:pt x="3715" y="806"/>
                </a:lnTo>
                <a:lnTo>
                  <a:pt x="3700" y="806"/>
                </a:lnTo>
                <a:lnTo>
                  <a:pt x="3686" y="802"/>
                </a:lnTo>
                <a:lnTo>
                  <a:pt x="3679" y="800"/>
                </a:lnTo>
                <a:lnTo>
                  <a:pt x="3673" y="796"/>
                </a:lnTo>
                <a:lnTo>
                  <a:pt x="3660" y="788"/>
                </a:lnTo>
                <a:lnTo>
                  <a:pt x="3648" y="778"/>
                </a:lnTo>
                <a:lnTo>
                  <a:pt x="3637" y="766"/>
                </a:lnTo>
                <a:lnTo>
                  <a:pt x="3627" y="750"/>
                </a:lnTo>
                <a:lnTo>
                  <a:pt x="3623" y="742"/>
                </a:lnTo>
                <a:lnTo>
                  <a:pt x="3618" y="735"/>
                </a:lnTo>
                <a:close/>
                <a:moveTo>
                  <a:pt x="4052" y="806"/>
                </a:moveTo>
                <a:lnTo>
                  <a:pt x="4036" y="806"/>
                </a:lnTo>
                <a:lnTo>
                  <a:pt x="4020" y="802"/>
                </a:lnTo>
                <a:lnTo>
                  <a:pt x="4006" y="796"/>
                </a:lnTo>
                <a:lnTo>
                  <a:pt x="4000" y="792"/>
                </a:lnTo>
                <a:lnTo>
                  <a:pt x="3993" y="788"/>
                </a:lnTo>
                <a:lnTo>
                  <a:pt x="3981" y="780"/>
                </a:lnTo>
                <a:lnTo>
                  <a:pt x="3975" y="774"/>
                </a:lnTo>
                <a:lnTo>
                  <a:pt x="3970" y="768"/>
                </a:lnTo>
                <a:lnTo>
                  <a:pt x="3960" y="756"/>
                </a:lnTo>
                <a:lnTo>
                  <a:pt x="3956" y="748"/>
                </a:lnTo>
                <a:lnTo>
                  <a:pt x="3951" y="740"/>
                </a:lnTo>
                <a:lnTo>
                  <a:pt x="3947" y="733"/>
                </a:lnTo>
                <a:lnTo>
                  <a:pt x="3943" y="725"/>
                </a:lnTo>
                <a:lnTo>
                  <a:pt x="3939" y="717"/>
                </a:lnTo>
                <a:lnTo>
                  <a:pt x="3936" y="707"/>
                </a:lnTo>
                <a:lnTo>
                  <a:pt x="3930" y="687"/>
                </a:lnTo>
                <a:lnTo>
                  <a:pt x="3926" y="667"/>
                </a:lnTo>
                <a:lnTo>
                  <a:pt x="3924" y="657"/>
                </a:lnTo>
                <a:lnTo>
                  <a:pt x="3922" y="645"/>
                </a:lnTo>
                <a:lnTo>
                  <a:pt x="3919" y="623"/>
                </a:lnTo>
                <a:lnTo>
                  <a:pt x="3918" y="599"/>
                </a:lnTo>
                <a:lnTo>
                  <a:pt x="3917" y="585"/>
                </a:lnTo>
                <a:lnTo>
                  <a:pt x="3917" y="573"/>
                </a:lnTo>
                <a:lnTo>
                  <a:pt x="3980" y="545"/>
                </a:lnTo>
                <a:lnTo>
                  <a:pt x="3981" y="567"/>
                </a:lnTo>
                <a:lnTo>
                  <a:pt x="3982" y="587"/>
                </a:lnTo>
                <a:lnTo>
                  <a:pt x="3984" y="603"/>
                </a:lnTo>
                <a:lnTo>
                  <a:pt x="3986" y="619"/>
                </a:lnTo>
                <a:lnTo>
                  <a:pt x="3988" y="627"/>
                </a:lnTo>
                <a:lnTo>
                  <a:pt x="3989" y="635"/>
                </a:lnTo>
                <a:lnTo>
                  <a:pt x="3993" y="647"/>
                </a:lnTo>
                <a:lnTo>
                  <a:pt x="3997" y="659"/>
                </a:lnTo>
                <a:lnTo>
                  <a:pt x="4001" y="667"/>
                </a:lnTo>
                <a:lnTo>
                  <a:pt x="4006" y="677"/>
                </a:lnTo>
                <a:lnTo>
                  <a:pt x="4012" y="683"/>
                </a:lnTo>
                <a:lnTo>
                  <a:pt x="4018" y="689"/>
                </a:lnTo>
                <a:lnTo>
                  <a:pt x="4025" y="693"/>
                </a:lnTo>
                <a:lnTo>
                  <a:pt x="4032" y="697"/>
                </a:lnTo>
                <a:lnTo>
                  <a:pt x="4039" y="699"/>
                </a:lnTo>
                <a:lnTo>
                  <a:pt x="4047" y="701"/>
                </a:lnTo>
                <a:lnTo>
                  <a:pt x="4056" y="701"/>
                </a:lnTo>
                <a:lnTo>
                  <a:pt x="4063" y="701"/>
                </a:lnTo>
                <a:lnTo>
                  <a:pt x="4070" y="699"/>
                </a:lnTo>
                <a:lnTo>
                  <a:pt x="4077" y="697"/>
                </a:lnTo>
                <a:lnTo>
                  <a:pt x="4083" y="695"/>
                </a:lnTo>
                <a:lnTo>
                  <a:pt x="4089" y="691"/>
                </a:lnTo>
                <a:lnTo>
                  <a:pt x="4095" y="685"/>
                </a:lnTo>
                <a:lnTo>
                  <a:pt x="4100" y="679"/>
                </a:lnTo>
                <a:lnTo>
                  <a:pt x="4105" y="673"/>
                </a:lnTo>
                <a:lnTo>
                  <a:pt x="4109" y="665"/>
                </a:lnTo>
                <a:lnTo>
                  <a:pt x="4113" y="657"/>
                </a:lnTo>
                <a:lnTo>
                  <a:pt x="4116" y="649"/>
                </a:lnTo>
                <a:lnTo>
                  <a:pt x="4119" y="639"/>
                </a:lnTo>
                <a:lnTo>
                  <a:pt x="4121" y="627"/>
                </a:lnTo>
                <a:lnTo>
                  <a:pt x="4122" y="623"/>
                </a:lnTo>
                <a:lnTo>
                  <a:pt x="4123" y="617"/>
                </a:lnTo>
                <a:lnTo>
                  <a:pt x="4124" y="605"/>
                </a:lnTo>
                <a:lnTo>
                  <a:pt x="4124" y="591"/>
                </a:lnTo>
                <a:lnTo>
                  <a:pt x="4124" y="581"/>
                </a:lnTo>
                <a:lnTo>
                  <a:pt x="4123" y="571"/>
                </a:lnTo>
                <a:lnTo>
                  <a:pt x="4122" y="563"/>
                </a:lnTo>
                <a:lnTo>
                  <a:pt x="4121" y="553"/>
                </a:lnTo>
                <a:lnTo>
                  <a:pt x="4119" y="545"/>
                </a:lnTo>
                <a:lnTo>
                  <a:pt x="4117" y="537"/>
                </a:lnTo>
                <a:lnTo>
                  <a:pt x="4115" y="529"/>
                </a:lnTo>
                <a:lnTo>
                  <a:pt x="4112" y="521"/>
                </a:lnTo>
                <a:lnTo>
                  <a:pt x="4104" y="505"/>
                </a:lnTo>
                <a:lnTo>
                  <a:pt x="4100" y="497"/>
                </a:lnTo>
                <a:lnTo>
                  <a:pt x="4095" y="491"/>
                </a:lnTo>
                <a:lnTo>
                  <a:pt x="4084" y="477"/>
                </a:lnTo>
                <a:lnTo>
                  <a:pt x="4071" y="465"/>
                </a:lnTo>
                <a:lnTo>
                  <a:pt x="4007" y="407"/>
                </a:lnTo>
                <a:lnTo>
                  <a:pt x="3998" y="399"/>
                </a:lnTo>
                <a:lnTo>
                  <a:pt x="3988" y="389"/>
                </a:lnTo>
                <a:lnTo>
                  <a:pt x="3972" y="369"/>
                </a:lnTo>
                <a:lnTo>
                  <a:pt x="3958" y="349"/>
                </a:lnTo>
                <a:lnTo>
                  <a:pt x="3953" y="337"/>
                </a:lnTo>
                <a:lnTo>
                  <a:pt x="3947" y="325"/>
                </a:lnTo>
                <a:lnTo>
                  <a:pt x="3942" y="313"/>
                </a:lnTo>
                <a:lnTo>
                  <a:pt x="3937" y="299"/>
                </a:lnTo>
                <a:lnTo>
                  <a:pt x="3934" y="285"/>
                </a:lnTo>
                <a:lnTo>
                  <a:pt x="3931" y="269"/>
                </a:lnTo>
                <a:lnTo>
                  <a:pt x="3929" y="253"/>
                </a:lnTo>
                <a:lnTo>
                  <a:pt x="3928" y="246"/>
                </a:lnTo>
                <a:lnTo>
                  <a:pt x="3927" y="238"/>
                </a:lnTo>
                <a:lnTo>
                  <a:pt x="3927" y="220"/>
                </a:lnTo>
                <a:lnTo>
                  <a:pt x="3926" y="200"/>
                </a:lnTo>
                <a:lnTo>
                  <a:pt x="3926" y="188"/>
                </a:lnTo>
                <a:lnTo>
                  <a:pt x="3927" y="176"/>
                </a:lnTo>
                <a:lnTo>
                  <a:pt x="3928" y="164"/>
                </a:lnTo>
                <a:lnTo>
                  <a:pt x="3929" y="152"/>
                </a:lnTo>
                <a:lnTo>
                  <a:pt x="3930" y="142"/>
                </a:lnTo>
                <a:lnTo>
                  <a:pt x="3932" y="132"/>
                </a:lnTo>
                <a:lnTo>
                  <a:pt x="3936" y="112"/>
                </a:lnTo>
                <a:lnTo>
                  <a:pt x="3939" y="102"/>
                </a:lnTo>
                <a:lnTo>
                  <a:pt x="3942" y="94"/>
                </a:lnTo>
                <a:lnTo>
                  <a:pt x="3949" y="78"/>
                </a:lnTo>
                <a:lnTo>
                  <a:pt x="3957" y="62"/>
                </a:lnTo>
                <a:lnTo>
                  <a:pt x="3961" y="56"/>
                </a:lnTo>
                <a:lnTo>
                  <a:pt x="3965" y="50"/>
                </a:lnTo>
                <a:lnTo>
                  <a:pt x="3974" y="38"/>
                </a:lnTo>
                <a:lnTo>
                  <a:pt x="3984" y="28"/>
                </a:lnTo>
                <a:lnTo>
                  <a:pt x="3994" y="20"/>
                </a:lnTo>
                <a:lnTo>
                  <a:pt x="4005" y="12"/>
                </a:lnTo>
                <a:lnTo>
                  <a:pt x="4017" y="6"/>
                </a:lnTo>
                <a:lnTo>
                  <a:pt x="4029" y="4"/>
                </a:lnTo>
                <a:lnTo>
                  <a:pt x="4042" y="0"/>
                </a:lnTo>
                <a:lnTo>
                  <a:pt x="4055" y="0"/>
                </a:lnTo>
                <a:lnTo>
                  <a:pt x="4070" y="2"/>
                </a:lnTo>
                <a:lnTo>
                  <a:pt x="4085" y="4"/>
                </a:lnTo>
                <a:lnTo>
                  <a:pt x="4098" y="10"/>
                </a:lnTo>
                <a:lnTo>
                  <a:pt x="4104" y="14"/>
                </a:lnTo>
                <a:lnTo>
                  <a:pt x="4110" y="18"/>
                </a:lnTo>
                <a:lnTo>
                  <a:pt x="4122" y="26"/>
                </a:lnTo>
                <a:lnTo>
                  <a:pt x="4132" y="38"/>
                </a:lnTo>
                <a:lnTo>
                  <a:pt x="4141" y="50"/>
                </a:lnTo>
                <a:lnTo>
                  <a:pt x="4149" y="64"/>
                </a:lnTo>
                <a:lnTo>
                  <a:pt x="4153" y="72"/>
                </a:lnTo>
                <a:lnTo>
                  <a:pt x="4156" y="78"/>
                </a:lnTo>
                <a:lnTo>
                  <a:pt x="4159" y="86"/>
                </a:lnTo>
                <a:lnTo>
                  <a:pt x="4162" y="94"/>
                </a:lnTo>
                <a:lnTo>
                  <a:pt x="4167" y="112"/>
                </a:lnTo>
                <a:lnTo>
                  <a:pt x="4172" y="128"/>
                </a:lnTo>
                <a:lnTo>
                  <a:pt x="4175" y="146"/>
                </a:lnTo>
                <a:lnTo>
                  <a:pt x="4177" y="166"/>
                </a:lnTo>
                <a:lnTo>
                  <a:pt x="4179" y="184"/>
                </a:lnTo>
                <a:lnTo>
                  <a:pt x="4179" y="202"/>
                </a:lnTo>
                <a:lnTo>
                  <a:pt x="4117" y="228"/>
                </a:lnTo>
                <a:lnTo>
                  <a:pt x="4117" y="212"/>
                </a:lnTo>
                <a:lnTo>
                  <a:pt x="4115" y="198"/>
                </a:lnTo>
                <a:lnTo>
                  <a:pt x="4114" y="186"/>
                </a:lnTo>
                <a:lnTo>
                  <a:pt x="4112" y="172"/>
                </a:lnTo>
                <a:lnTo>
                  <a:pt x="4109" y="162"/>
                </a:lnTo>
                <a:lnTo>
                  <a:pt x="4106" y="152"/>
                </a:lnTo>
                <a:lnTo>
                  <a:pt x="4103" y="142"/>
                </a:lnTo>
                <a:lnTo>
                  <a:pt x="4099" y="136"/>
                </a:lnTo>
                <a:lnTo>
                  <a:pt x="4095" y="128"/>
                </a:lnTo>
                <a:lnTo>
                  <a:pt x="4090" y="122"/>
                </a:lnTo>
                <a:lnTo>
                  <a:pt x="4085" y="118"/>
                </a:lnTo>
                <a:lnTo>
                  <a:pt x="4079" y="114"/>
                </a:lnTo>
                <a:lnTo>
                  <a:pt x="4073" y="110"/>
                </a:lnTo>
                <a:lnTo>
                  <a:pt x="4067" y="108"/>
                </a:lnTo>
                <a:lnTo>
                  <a:pt x="4060" y="108"/>
                </a:lnTo>
                <a:lnTo>
                  <a:pt x="4052" y="106"/>
                </a:lnTo>
                <a:lnTo>
                  <a:pt x="4040" y="108"/>
                </a:lnTo>
                <a:lnTo>
                  <a:pt x="4028" y="112"/>
                </a:lnTo>
                <a:lnTo>
                  <a:pt x="4023" y="116"/>
                </a:lnTo>
                <a:lnTo>
                  <a:pt x="4018" y="120"/>
                </a:lnTo>
                <a:lnTo>
                  <a:pt x="4013" y="124"/>
                </a:lnTo>
                <a:lnTo>
                  <a:pt x="4009" y="128"/>
                </a:lnTo>
                <a:lnTo>
                  <a:pt x="4005" y="134"/>
                </a:lnTo>
                <a:lnTo>
                  <a:pt x="4002" y="140"/>
                </a:lnTo>
                <a:lnTo>
                  <a:pt x="3999" y="148"/>
                </a:lnTo>
                <a:lnTo>
                  <a:pt x="3996" y="156"/>
                </a:lnTo>
                <a:lnTo>
                  <a:pt x="3994" y="164"/>
                </a:lnTo>
                <a:lnTo>
                  <a:pt x="3993" y="174"/>
                </a:lnTo>
                <a:lnTo>
                  <a:pt x="3992" y="184"/>
                </a:lnTo>
                <a:lnTo>
                  <a:pt x="3992" y="194"/>
                </a:lnTo>
                <a:lnTo>
                  <a:pt x="3992" y="204"/>
                </a:lnTo>
                <a:lnTo>
                  <a:pt x="3992" y="214"/>
                </a:lnTo>
                <a:lnTo>
                  <a:pt x="3993" y="224"/>
                </a:lnTo>
                <a:lnTo>
                  <a:pt x="3994" y="232"/>
                </a:lnTo>
                <a:lnTo>
                  <a:pt x="3996" y="240"/>
                </a:lnTo>
                <a:lnTo>
                  <a:pt x="3998" y="248"/>
                </a:lnTo>
                <a:lnTo>
                  <a:pt x="4001" y="255"/>
                </a:lnTo>
                <a:lnTo>
                  <a:pt x="4003" y="261"/>
                </a:lnTo>
                <a:lnTo>
                  <a:pt x="4007" y="267"/>
                </a:lnTo>
                <a:lnTo>
                  <a:pt x="4010" y="273"/>
                </a:lnTo>
                <a:lnTo>
                  <a:pt x="4019" y="285"/>
                </a:lnTo>
                <a:lnTo>
                  <a:pt x="4029" y="297"/>
                </a:lnTo>
                <a:lnTo>
                  <a:pt x="4041" y="309"/>
                </a:lnTo>
                <a:lnTo>
                  <a:pt x="4103" y="363"/>
                </a:lnTo>
                <a:lnTo>
                  <a:pt x="4113" y="373"/>
                </a:lnTo>
                <a:lnTo>
                  <a:pt x="4123" y="383"/>
                </a:lnTo>
                <a:lnTo>
                  <a:pt x="4133" y="393"/>
                </a:lnTo>
                <a:lnTo>
                  <a:pt x="4141" y="405"/>
                </a:lnTo>
                <a:lnTo>
                  <a:pt x="4149" y="417"/>
                </a:lnTo>
                <a:lnTo>
                  <a:pt x="4156" y="427"/>
                </a:lnTo>
                <a:lnTo>
                  <a:pt x="4162" y="441"/>
                </a:lnTo>
                <a:lnTo>
                  <a:pt x="4168" y="453"/>
                </a:lnTo>
                <a:lnTo>
                  <a:pt x="4173" y="467"/>
                </a:lnTo>
                <a:lnTo>
                  <a:pt x="4177" y="481"/>
                </a:lnTo>
                <a:lnTo>
                  <a:pt x="4181" y="495"/>
                </a:lnTo>
                <a:lnTo>
                  <a:pt x="4184" y="511"/>
                </a:lnTo>
                <a:lnTo>
                  <a:pt x="4186" y="527"/>
                </a:lnTo>
                <a:lnTo>
                  <a:pt x="4187" y="537"/>
                </a:lnTo>
                <a:lnTo>
                  <a:pt x="4187" y="545"/>
                </a:lnTo>
                <a:lnTo>
                  <a:pt x="4188" y="563"/>
                </a:lnTo>
                <a:lnTo>
                  <a:pt x="4189" y="583"/>
                </a:lnTo>
                <a:lnTo>
                  <a:pt x="4188" y="609"/>
                </a:lnTo>
                <a:lnTo>
                  <a:pt x="4186" y="633"/>
                </a:lnTo>
                <a:lnTo>
                  <a:pt x="4185" y="645"/>
                </a:lnTo>
                <a:lnTo>
                  <a:pt x="4183" y="655"/>
                </a:lnTo>
                <a:lnTo>
                  <a:pt x="4181" y="667"/>
                </a:lnTo>
                <a:lnTo>
                  <a:pt x="4179" y="677"/>
                </a:lnTo>
                <a:lnTo>
                  <a:pt x="4177" y="687"/>
                </a:lnTo>
                <a:lnTo>
                  <a:pt x="4174" y="697"/>
                </a:lnTo>
                <a:lnTo>
                  <a:pt x="4167" y="715"/>
                </a:lnTo>
                <a:lnTo>
                  <a:pt x="4164" y="723"/>
                </a:lnTo>
                <a:lnTo>
                  <a:pt x="4160" y="733"/>
                </a:lnTo>
                <a:lnTo>
                  <a:pt x="4152" y="746"/>
                </a:lnTo>
                <a:lnTo>
                  <a:pt x="4147" y="754"/>
                </a:lnTo>
                <a:lnTo>
                  <a:pt x="4142" y="760"/>
                </a:lnTo>
                <a:lnTo>
                  <a:pt x="4137" y="766"/>
                </a:lnTo>
                <a:lnTo>
                  <a:pt x="4132" y="772"/>
                </a:lnTo>
                <a:lnTo>
                  <a:pt x="4121" y="782"/>
                </a:lnTo>
                <a:lnTo>
                  <a:pt x="4109" y="790"/>
                </a:lnTo>
                <a:lnTo>
                  <a:pt x="4096" y="798"/>
                </a:lnTo>
                <a:lnTo>
                  <a:pt x="4082" y="802"/>
                </a:lnTo>
                <a:lnTo>
                  <a:pt x="4075" y="804"/>
                </a:lnTo>
                <a:lnTo>
                  <a:pt x="4068" y="804"/>
                </a:lnTo>
                <a:lnTo>
                  <a:pt x="4052" y="806"/>
                </a:lnTo>
                <a:close/>
                <a:moveTo>
                  <a:pt x="1669" y="1273"/>
                </a:moveTo>
                <a:lnTo>
                  <a:pt x="1669" y="1936"/>
                </a:lnTo>
                <a:lnTo>
                  <a:pt x="1604" y="1936"/>
                </a:lnTo>
                <a:lnTo>
                  <a:pt x="1604" y="1273"/>
                </a:lnTo>
                <a:lnTo>
                  <a:pt x="1506" y="1273"/>
                </a:lnTo>
                <a:lnTo>
                  <a:pt x="1506" y="1166"/>
                </a:lnTo>
                <a:lnTo>
                  <a:pt x="1767" y="1166"/>
                </a:lnTo>
                <a:lnTo>
                  <a:pt x="1767" y="1273"/>
                </a:lnTo>
                <a:lnTo>
                  <a:pt x="1669" y="1273"/>
                </a:lnTo>
                <a:close/>
                <a:moveTo>
                  <a:pt x="1832" y="1936"/>
                </a:moveTo>
                <a:lnTo>
                  <a:pt x="1832" y="1166"/>
                </a:lnTo>
                <a:lnTo>
                  <a:pt x="2060" y="1166"/>
                </a:lnTo>
                <a:lnTo>
                  <a:pt x="2060" y="1273"/>
                </a:lnTo>
                <a:lnTo>
                  <a:pt x="1897" y="1273"/>
                </a:lnTo>
                <a:lnTo>
                  <a:pt x="1897" y="1489"/>
                </a:lnTo>
                <a:lnTo>
                  <a:pt x="2030" y="1489"/>
                </a:lnTo>
                <a:lnTo>
                  <a:pt x="2030" y="1593"/>
                </a:lnTo>
                <a:lnTo>
                  <a:pt x="1897" y="1593"/>
                </a:lnTo>
                <a:lnTo>
                  <a:pt x="1897" y="1828"/>
                </a:lnTo>
                <a:lnTo>
                  <a:pt x="2060" y="1828"/>
                </a:lnTo>
                <a:lnTo>
                  <a:pt x="2060" y="1936"/>
                </a:lnTo>
                <a:lnTo>
                  <a:pt x="1832" y="1936"/>
                </a:lnTo>
                <a:close/>
                <a:moveTo>
                  <a:pt x="2260" y="1954"/>
                </a:moveTo>
                <a:lnTo>
                  <a:pt x="2251" y="1954"/>
                </a:lnTo>
                <a:lnTo>
                  <a:pt x="2242" y="1952"/>
                </a:lnTo>
                <a:lnTo>
                  <a:pt x="2234" y="1950"/>
                </a:lnTo>
                <a:lnTo>
                  <a:pt x="2226" y="1948"/>
                </a:lnTo>
                <a:lnTo>
                  <a:pt x="2218" y="1944"/>
                </a:lnTo>
                <a:lnTo>
                  <a:pt x="2211" y="1938"/>
                </a:lnTo>
                <a:lnTo>
                  <a:pt x="2204" y="1932"/>
                </a:lnTo>
                <a:lnTo>
                  <a:pt x="2197" y="1926"/>
                </a:lnTo>
                <a:lnTo>
                  <a:pt x="2190" y="1920"/>
                </a:lnTo>
                <a:lnTo>
                  <a:pt x="2184" y="1912"/>
                </a:lnTo>
                <a:lnTo>
                  <a:pt x="2178" y="1902"/>
                </a:lnTo>
                <a:lnTo>
                  <a:pt x="2172" y="1892"/>
                </a:lnTo>
                <a:lnTo>
                  <a:pt x="2166" y="1882"/>
                </a:lnTo>
                <a:lnTo>
                  <a:pt x="2161" y="1872"/>
                </a:lnTo>
                <a:lnTo>
                  <a:pt x="2156" y="1860"/>
                </a:lnTo>
                <a:lnTo>
                  <a:pt x="2151" y="1846"/>
                </a:lnTo>
                <a:lnTo>
                  <a:pt x="2147" y="1834"/>
                </a:lnTo>
                <a:lnTo>
                  <a:pt x="2143" y="1820"/>
                </a:lnTo>
                <a:lnTo>
                  <a:pt x="2139" y="1804"/>
                </a:lnTo>
                <a:lnTo>
                  <a:pt x="2135" y="1788"/>
                </a:lnTo>
                <a:lnTo>
                  <a:pt x="2132" y="1772"/>
                </a:lnTo>
                <a:lnTo>
                  <a:pt x="2129" y="1756"/>
                </a:lnTo>
                <a:lnTo>
                  <a:pt x="2126" y="1738"/>
                </a:lnTo>
                <a:lnTo>
                  <a:pt x="2124" y="1720"/>
                </a:lnTo>
                <a:lnTo>
                  <a:pt x="2121" y="1701"/>
                </a:lnTo>
                <a:lnTo>
                  <a:pt x="2120" y="1681"/>
                </a:lnTo>
                <a:lnTo>
                  <a:pt x="2118" y="1661"/>
                </a:lnTo>
                <a:lnTo>
                  <a:pt x="2117" y="1641"/>
                </a:lnTo>
                <a:lnTo>
                  <a:pt x="2115" y="1597"/>
                </a:lnTo>
                <a:lnTo>
                  <a:pt x="2114" y="1575"/>
                </a:lnTo>
                <a:lnTo>
                  <a:pt x="2114" y="1551"/>
                </a:lnTo>
                <a:lnTo>
                  <a:pt x="2115" y="1505"/>
                </a:lnTo>
                <a:lnTo>
                  <a:pt x="2117" y="1461"/>
                </a:lnTo>
                <a:lnTo>
                  <a:pt x="2118" y="1441"/>
                </a:lnTo>
                <a:lnTo>
                  <a:pt x="2120" y="1421"/>
                </a:lnTo>
                <a:lnTo>
                  <a:pt x="2124" y="1383"/>
                </a:lnTo>
                <a:lnTo>
                  <a:pt x="2126" y="1363"/>
                </a:lnTo>
                <a:lnTo>
                  <a:pt x="2129" y="1347"/>
                </a:lnTo>
                <a:lnTo>
                  <a:pt x="2135" y="1313"/>
                </a:lnTo>
                <a:lnTo>
                  <a:pt x="2139" y="1297"/>
                </a:lnTo>
                <a:lnTo>
                  <a:pt x="2143" y="1283"/>
                </a:lnTo>
                <a:lnTo>
                  <a:pt x="2147" y="1269"/>
                </a:lnTo>
                <a:lnTo>
                  <a:pt x="2151" y="1255"/>
                </a:lnTo>
                <a:lnTo>
                  <a:pt x="2156" y="1243"/>
                </a:lnTo>
                <a:lnTo>
                  <a:pt x="2161" y="1231"/>
                </a:lnTo>
                <a:lnTo>
                  <a:pt x="2166" y="1220"/>
                </a:lnTo>
                <a:lnTo>
                  <a:pt x="2172" y="1210"/>
                </a:lnTo>
                <a:lnTo>
                  <a:pt x="2178" y="1200"/>
                </a:lnTo>
                <a:lnTo>
                  <a:pt x="2184" y="1192"/>
                </a:lnTo>
                <a:lnTo>
                  <a:pt x="2197" y="1176"/>
                </a:lnTo>
                <a:lnTo>
                  <a:pt x="2204" y="1170"/>
                </a:lnTo>
                <a:lnTo>
                  <a:pt x="2211" y="1164"/>
                </a:lnTo>
                <a:lnTo>
                  <a:pt x="2218" y="1160"/>
                </a:lnTo>
                <a:lnTo>
                  <a:pt x="2226" y="1156"/>
                </a:lnTo>
                <a:lnTo>
                  <a:pt x="2234" y="1152"/>
                </a:lnTo>
                <a:lnTo>
                  <a:pt x="2242" y="1150"/>
                </a:lnTo>
                <a:lnTo>
                  <a:pt x="2251" y="1148"/>
                </a:lnTo>
                <a:lnTo>
                  <a:pt x="2260" y="1148"/>
                </a:lnTo>
                <a:lnTo>
                  <a:pt x="2268" y="1148"/>
                </a:lnTo>
                <a:lnTo>
                  <a:pt x="2277" y="1150"/>
                </a:lnTo>
                <a:lnTo>
                  <a:pt x="2285" y="1152"/>
                </a:lnTo>
                <a:lnTo>
                  <a:pt x="2293" y="1156"/>
                </a:lnTo>
                <a:lnTo>
                  <a:pt x="2301" y="1160"/>
                </a:lnTo>
                <a:lnTo>
                  <a:pt x="2308" y="1164"/>
                </a:lnTo>
                <a:lnTo>
                  <a:pt x="2316" y="1170"/>
                </a:lnTo>
                <a:lnTo>
                  <a:pt x="2323" y="1176"/>
                </a:lnTo>
                <a:lnTo>
                  <a:pt x="2329" y="1184"/>
                </a:lnTo>
                <a:lnTo>
                  <a:pt x="2336" y="1192"/>
                </a:lnTo>
                <a:lnTo>
                  <a:pt x="2342" y="1200"/>
                </a:lnTo>
                <a:lnTo>
                  <a:pt x="2348" y="1210"/>
                </a:lnTo>
                <a:lnTo>
                  <a:pt x="2353" y="1220"/>
                </a:lnTo>
                <a:lnTo>
                  <a:pt x="2359" y="1229"/>
                </a:lnTo>
                <a:lnTo>
                  <a:pt x="2364" y="1241"/>
                </a:lnTo>
                <a:lnTo>
                  <a:pt x="2368" y="1255"/>
                </a:lnTo>
                <a:lnTo>
                  <a:pt x="2377" y="1283"/>
                </a:lnTo>
                <a:lnTo>
                  <a:pt x="2381" y="1297"/>
                </a:lnTo>
                <a:lnTo>
                  <a:pt x="2385" y="1313"/>
                </a:lnTo>
                <a:lnTo>
                  <a:pt x="2391" y="1345"/>
                </a:lnTo>
                <a:lnTo>
                  <a:pt x="2394" y="1363"/>
                </a:lnTo>
                <a:lnTo>
                  <a:pt x="2396" y="1381"/>
                </a:lnTo>
                <a:lnTo>
                  <a:pt x="2398" y="1401"/>
                </a:lnTo>
                <a:lnTo>
                  <a:pt x="2400" y="1421"/>
                </a:lnTo>
                <a:lnTo>
                  <a:pt x="2402" y="1441"/>
                </a:lnTo>
                <a:lnTo>
                  <a:pt x="2403" y="1461"/>
                </a:lnTo>
                <a:lnTo>
                  <a:pt x="2404" y="1483"/>
                </a:lnTo>
                <a:lnTo>
                  <a:pt x="2405" y="1505"/>
                </a:lnTo>
                <a:lnTo>
                  <a:pt x="2405" y="1527"/>
                </a:lnTo>
                <a:lnTo>
                  <a:pt x="2406" y="1551"/>
                </a:lnTo>
                <a:lnTo>
                  <a:pt x="2405" y="1597"/>
                </a:lnTo>
                <a:lnTo>
                  <a:pt x="2403" y="1641"/>
                </a:lnTo>
                <a:lnTo>
                  <a:pt x="2402" y="1663"/>
                </a:lnTo>
                <a:lnTo>
                  <a:pt x="2400" y="1683"/>
                </a:lnTo>
                <a:lnTo>
                  <a:pt x="2396" y="1720"/>
                </a:lnTo>
                <a:lnTo>
                  <a:pt x="2394" y="1738"/>
                </a:lnTo>
                <a:lnTo>
                  <a:pt x="2391" y="1756"/>
                </a:lnTo>
                <a:lnTo>
                  <a:pt x="2388" y="1772"/>
                </a:lnTo>
                <a:lnTo>
                  <a:pt x="2385" y="1790"/>
                </a:lnTo>
                <a:lnTo>
                  <a:pt x="2381" y="1804"/>
                </a:lnTo>
                <a:lnTo>
                  <a:pt x="2377" y="1820"/>
                </a:lnTo>
                <a:lnTo>
                  <a:pt x="2373" y="1834"/>
                </a:lnTo>
                <a:lnTo>
                  <a:pt x="2368" y="1846"/>
                </a:lnTo>
                <a:lnTo>
                  <a:pt x="2364" y="1860"/>
                </a:lnTo>
                <a:lnTo>
                  <a:pt x="2359" y="1872"/>
                </a:lnTo>
                <a:lnTo>
                  <a:pt x="2353" y="1882"/>
                </a:lnTo>
                <a:lnTo>
                  <a:pt x="2348" y="1894"/>
                </a:lnTo>
                <a:lnTo>
                  <a:pt x="2342" y="1902"/>
                </a:lnTo>
                <a:lnTo>
                  <a:pt x="2336" y="1912"/>
                </a:lnTo>
                <a:lnTo>
                  <a:pt x="2329" y="1920"/>
                </a:lnTo>
                <a:lnTo>
                  <a:pt x="2323" y="1926"/>
                </a:lnTo>
                <a:lnTo>
                  <a:pt x="2316" y="1934"/>
                </a:lnTo>
                <a:lnTo>
                  <a:pt x="2308" y="1938"/>
                </a:lnTo>
                <a:lnTo>
                  <a:pt x="2301" y="1944"/>
                </a:lnTo>
                <a:lnTo>
                  <a:pt x="2293" y="1948"/>
                </a:lnTo>
                <a:lnTo>
                  <a:pt x="2285" y="1950"/>
                </a:lnTo>
                <a:lnTo>
                  <a:pt x="2277" y="1952"/>
                </a:lnTo>
                <a:lnTo>
                  <a:pt x="2268" y="1954"/>
                </a:lnTo>
                <a:lnTo>
                  <a:pt x="2260" y="1954"/>
                </a:lnTo>
                <a:close/>
                <a:moveTo>
                  <a:pt x="2260" y="1257"/>
                </a:moveTo>
                <a:lnTo>
                  <a:pt x="2251" y="1257"/>
                </a:lnTo>
                <a:lnTo>
                  <a:pt x="2246" y="1259"/>
                </a:lnTo>
                <a:lnTo>
                  <a:pt x="2242" y="1259"/>
                </a:lnTo>
                <a:lnTo>
                  <a:pt x="2234" y="1265"/>
                </a:lnTo>
                <a:lnTo>
                  <a:pt x="2227" y="1271"/>
                </a:lnTo>
                <a:lnTo>
                  <a:pt x="2223" y="1275"/>
                </a:lnTo>
                <a:lnTo>
                  <a:pt x="2220" y="1281"/>
                </a:lnTo>
                <a:lnTo>
                  <a:pt x="2216" y="1287"/>
                </a:lnTo>
                <a:lnTo>
                  <a:pt x="2213" y="1293"/>
                </a:lnTo>
                <a:lnTo>
                  <a:pt x="2210" y="1299"/>
                </a:lnTo>
                <a:lnTo>
                  <a:pt x="2207" y="1307"/>
                </a:lnTo>
                <a:lnTo>
                  <a:pt x="2201" y="1323"/>
                </a:lnTo>
                <a:lnTo>
                  <a:pt x="2199" y="1331"/>
                </a:lnTo>
                <a:lnTo>
                  <a:pt x="2196" y="1341"/>
                </a:lnTo>
                <a:lnTo>
                  <a:pt x="2192" y="1363"/>
                </a:lnTo>
                <a:lnTo>
                  <a:pt x="2188" y="1387"/>
                </a:lnTo>
                <a:lnTo>
                  <a:pt x="2187" y="1399"/>
                </a:lnTo>
                <a:lnTo>
                  <a:pt x="2185" y="1413"/>
                </a:lnTo>
                <a:lnTo>
                  <a:pt x="2183" y="1443"/>
                </a:lnTo>
                <a:lnTo>
                  <a:pt x="2181" y="1477"/>
                </a:lnTo>
                <a:lnTo>
                  <a:pt x="2180" y="1513"/>
                </a:lnTo>
                <a:lnTo>
                  <a:pt x="2180" y="1551"/>
                </a:lnTo>
                <a:lnTo>
                  <a:pt x="2180" y="1591"/>
                </a:lnTo>
                <a:lnTo>
                  <a:pt x="2181" y="1627"/>
                </a:lnTo>
                <a:lnTo>
                  <a:pt x="2183" y="1659"/>
                </a:lnTo>
                <a:lnTo>
                  <a:pt x="2185" y="1689"/>
                </a:lnTo>
                <a:lnTo>
                  <a:pt x="2188" y="1714"/>
                </a:lnTo>
                <a:lnTo>
                  <a:pt x="2192" y="1738"/>
                </a:lnTo>
                <a:lnTo>
                  <a:pt x="2196" y="1760"/>
                </a:lnTo>
                <a:lnTo>
                  <a:pt x="2201" y="1780"/>
                </a:lnTo>
                <a:lnTo>
                  <a:pt x="2207" y="1796"/>
                </a:lnTo>
                <a:lnTo>
                  <a:pt x="2213" y="1810"/>
                </a:lnTo>
                <a:lnTo>
                  <a:pt x="2220" y="1820"/>
                </a:lnTo>
                <a:lnTo>
                  <a:pt x="2227" y="1830"/>
                </a:lnTo>
                <a:lnTo>
                  <a:pt x="2234" y="1836"/>
                </a:lnTo>
                <a:lnTo>
                  <a:pt x="2242" y="1842"/>
                </a:lnTo>
                <a:lnTo>
                  <a:pt x="2251" y="1844"/>
                </a:lnTo>
                <a:lnTo>
                  <a:pt x="2260" y="1846"/>
                </a:lnTo>
                <a:lnTo>
                  <a:pt x="2269" y="1844"/>
                </a:lnTo>
                <a:lnTo>
                  <a:pt x="2273" y="1844"/>
                </a:lnTo>
                <a:lnTo>
                  <a:pt x="2277" y="1842"/>
                </a:lnTo>
                <a:lnTo>
                  <a:pt x="2285" y="1836"/>
                </a:lnTo>
                <a:lnTo>
                  <a:pt x="2293" y="1830"/>
                </a:lnTo>
                <a:lnTo>
                  <a:pt x="2296" y="1826"/>
                </a:lnTo>
                <a:lnTo>
                  <a:pt x="2300" y="1820"/>
                </a:lnTo>
                <a:lnTo>
                  <a:pt x="2306" y="1808"/>
                </a:lnTo>
                <a:lnTo>
                  <a:pt x="2309" y="1802"/>
                </a:lnTo>
                <a:lnTo>
                  <a:pt x="2312" y="1796"/>
                </a:lnTo>
                <a:lnTo>
                  <a:pt x="2318" y="1778"/>
                </a:lnTo>
                <a:lnTo>
                  <a:pt x="2320" y="1770"/>
                </a:lnTo>
                <a:lnTo>
                  <a:pt x="2323" y="1760"/>
                </a:lnTo>
                <a:lnTo>
                  <a:pt x="2327" y="1738"/>
                </a:lnTo>
                <a:lnTo>
                  <a:pt x="2331" y="1714"/>
                </a:lnTo>
                <a:lnTo>
                  <a:pt x="2332" y="1703"/>
                </a:lnTo>
                <a:lnTo>
                  <a:pt x="2334" y="1689"/>
                </a:lnTo>
                <a:lnTo>
                  <a:pt x="2336" y="1659"/>
                </a:lnTo>
                <a:lnTo>
                  <a:pt x="2338" y="1625"/>
                </a:lnTo>
                <a:lnTo>
                  <a:pt x="2339" y="1591"/>
                </a:lnTo>
                <a:lnTo>
                  <a:pt x="2340" y="1551"/>
                </a:lnTo>
                <a:lnTo>
                  <a:pt x="2339" y="1513"/>
                </a:lnTo>
                <a:lnTo>
                  <a:pt x="2338" y="1477"/>
                </a:lnTo>
                <a:lnTo>
                  <a:pt x="2336" y="1443"/>
                </a:lnTo>
                <a:lnTo>
                  <a:pt x="2334" y="1415"/>
                </a:lnTo>
                <a:lnTo>
                  <a:pt x="2331" y="1387"/>
                </a:lnTo>
                <a:lnTo>
                  <a:pt x="2327" y="1363"/>
                </a:lnTo>
                <a:lnTo>
                  <a:pt x="2323" y="1341"/>
                </a:lnTo>
                <a:lnTo>
                  <a:pt x="2318" y="1323"/>
                </a:lnTo>
                <a:lnTo>
                  <a:pt x="2312" y="1307"/>
                </a:lnTo>
                <a:lnTo>
                  <a:pt x="2306" y="1293"/>
                </a:lnTo>
                <a:lnTo>
                  <a:pt x="2300" y="1281"/>
                </a:lnTo>
                <a:lnTo>
                  <a:pt x="2293" y="1271"/>
                </a:lnTo>
                <a:lnTo>
                  <a:pt x="2285" y="1265"/>
                </a:lnTo>
                <a:lnTo>
                  <a:pt x="2277" y="1259"/>
                </a:lnTo>
                <a:lnTo>
                  <a:pt x="2273" y="1259"/>
                </a:lnTo>
                <a:lnTo>
                  <a:pt x="2269" y="1257"/>
                </a:lnTo>
                <a:lnTo>
                  <a:pt x="2260" y="1257"/>
                </a:lnTo>
                <a:close/>
                <a:moveTo>
                  <a:pt x="2485" y="1936"/>
                </a:moveTo>
                <a:lnTo>
                  <a:pt x="2485" y="1166"/>
                </a:lnTo>
                <a:lnTo>
                  <a:pt x="2549" y="1166"/>
                </a:lnTo>
                <a:lnTo>
                  <a:pt x="2549" y="1828"/>
                </a:lnTo>
                <a:lnTo>
                  <a:pt x="2709" y="1828"/>
                </a:lnTo>
                <a:lnTo>
                  <a:pt x="2709" y="1936"/>
                </a:lnTo>
                <a:lnTo>
                  <a:pt x="2485" y="1936"/>
                </a:lnTo>
                <a:close/>
                <a:moveTo>
                  <a:pt x="2769" y="1936"/>
                </a:moveTo>
                <a:lnTo>
                  <a:pt x="2769" y="1166"/>
                </a:lnTo>
                <a:lnTo>
                  <a:pt x="2835" y="1166"/>
                </a:lnTo>
                <a:lnTo>
                  <a:pt x="2835" y="1828"/>
                </a:lnTo>
                <a:lnTo>
                  <a:pt x="2994" y="1828"/>
                </a:lnTo>
                <a:lnTo>
                  <a:pt x="2994" y="1936"/>
                </a:lnTo>
                <a:lnTo>
                  <a:pt x="2769" y="1936"/>
                </a:lnTo>
                <a:close/>
                <a:moveTo>
                  <a:pt x="3055" y="1166"/>
                </a:moveTo>
                <a:lnTo>
                  <a:pt x="3120" y="1166"/>
                </a:lnTo>
                <a:lnTo>
                  <a:pt x="3120" y="1936"/>
                </a:lnTo>
                <a:lnTo>
                  <a:pt x="3055" y="1936"/>
                </a:lnTo>
                <a:lnTo>
                  <a:pt x="3055" y="1166"/>
                </a:lnTo>
                <a:close/>
                <a:moveTo>
                  <a:pt x="3337" y="1954"/>
                </a:moveTo>
                <a:lnTo>
                  <a:pt x="3321" y="1954"/>
                </a:lnTo>
                <a:lnTo>
                  <a:pt x="3305" y="1950"/>
                </a:lnTo>
                <a:lnTo>
                  <a:pt x="3291" y="1944"/>
                </a:lnTo>
                <a:lnTo>
                  <a:pt x="3284" y="1940"/>
                </a:lnTo>
                <a:lnTo>
                  <a:pt x="3278" y="1936"/>
                </a:lnTo>
                <a:lnTo>
                  <a:pt x="3266" y="1928"/>
                </a:lnTo>
                <a:lnTo>
                  <a:pt x="3260" y="1922"/>
                </a:lnTo>
                <a:lnTo>
                  <a:pt x="3255" y="1916"/>
                </a:lnTo>
                <a:lnTo>
                  <a:pt x="3245" y="1902"/>
                </a:lnTo>
                <a:lnTo>
                  <a:pt x="3241" y="1896"/>
                </a:lnTo>
                <a:lnTo>
                  <a:pt x="3236" y="1888"/>
                </a:lnTo>
                <a:lnTo>
                  <a:pt x="3232" y="1880"/>
                </a:lnTo>
                <a:lnTo>
                  <a:pt x="3229" y="1872"/>
                </a:lnTo>
                <a:lnTo>
                  <a:pt x="3225" y="1864"/>
                </a:lnTo>
                <a:lnTo>
                  <a:pt x="3222" y="1854"/>
                </a:lnTo>
                <a:lnTo>
                  <a:pt x="3216" y="1834"/>
                </a:lnTo>
                <a:lnTo>
                  <a:pt x="3211" y="1814"/>
                </a:lnTo>
                <a:lnTo>
                  <a:pt x="3210" y="1804"/>
                </a:lnTo>
                <a:lnTo>
                  <a:pt x="3208" y="1792"/>
                </a:lnTo>
                <a:lnTo>
                  <a:pt x="3205" y="1770"/>
                </a:lnTo>
                <a:lnTo>
                  <a:pt x="3203" y="1746"/>
                </a:lnTo>
                <a:lnTo>
                  <a:pt x="3203" y="1732"/>
                </a:lnTo>
                <a:lnTo>
                  <a:pt x="3203" y="1720"/>
                </a:lnTo>
                <a:lnTo>
                  <a:pt x="3265" y="1693"/>
                </a:lnTo>
                <a:lnTo>
                  <a:pt x="3266" y="1714"/>
                </a:lnTo>
                <a:lnTo>
                  <a:pt x="3267" y="1734"/>
                </a:lnTo>
                <a:lnTo>
                  <a:pt x="3269" y="1750"/>
                </a:lnTo>
                <a:lnTo>
                  <a:pt x="3271" y="1766"/>
                </a:lnTo>
                <a:lnTo>
                  <a:pt x="3273" y="1774"/>
                </a:lnTo>
                <a:lnTo>
                  <a:pt x="3274" y="1782"/>
                </a:lnTo>
                <a:lnTo>
                  <a:pt x="3278" y="1794"/>
                </a:lnTo>
                <a:lnTo>
                  <a:pt x="3282" y="1804"/>
                </a:lnTo>
                <a:lnTo>
                  <a:pt x="3286" y="1814"/>
                </a:lnTo>
                <a:lnTo>
                  <a:pt x="3291" y="1824"/>
                </a:lnTo>
                <a:lnTo>
                  <a:pt x="3297" y="1830"/>
                </a:lnTo>
                <a:lnTo>
                  <a:pt x="3303" y="1836"/>
                </a:lnTo>
                <a:lnTo>
                  <a:pt x="3310" y="1840"/>
                </a:lnTo>
                <a:lnTo>
                  <a:pt x="3317" y="1844"/>
                </a:lnTo>
                <a:lnTo>
                  <a:pt x="3324" y="1846"/>
                </a:lnTo>
                <a:lnTo>
                  <a:pt x="3332" y="1848"/>
                </a:lnTo>
                <a:lnTo>
                  <a:pt x="3341" y="1848"/>
                </a:lnTo>
                <a:lnTo>
                  <a:pt x="3348" y="1848"/>
                </a:lnTo>
                <a:lnTo>
                  <a:pt x="3355" y="1846"/>
                </a:lnTo>
                <a:lnTo>
                  <a:pt x="3362" y="1844"/>
                </a:lnTo>
                <a:lnTo>
                  <a:pt x="3368" y="1842"/>
                </a:lnTo>
                <a:lnTo>
                  <a:pt x="3374" y="1838"/>
                </a:lnTo>
                <a:lnTo>
                  <a:pt x="3380" y="1832"/>
                </a:lnTo>
                <a:lnTo>
                  <a:pt x="3385" y="1826"/>
                </a:lnTo>
                <a:lnTo>
                  <a:pt x="3390" y="1820"/>
                </a:lnTo>
                <a:lnTo>
                  <a:pt x="3394" y="1812"/>
                </a:lnTo>
                <a:lnTo>
                  <a:pt x="3398" y="1804"/>
                </a:lnTo>
                <a:lnTo>
                  <a:pt x="3401" y="1796"/>
                </a:lnTo>
                <a:lnTo>
                  <a:pt x="3404" y="1786"/>
                </a:lnTo>
                <a:lnTo>
                  <a:pt x="3406" y="1774"/>
                </a:lnTo>
                <a:lnTo>
                  <a:pt x="3407" y="1770"/>
                </a:lnTo>
                <a:lnTo>
                  <a:pt x="3408" y="1764"/>
                </a:lnTo>
                <a:lnTo>
                  <a:pt x="3409" y="1752"/>
                </a:lnTo>
                <a:lnTo>
                  <a:pt x="3409" y="1738"/>
                </a:lnTo>
                <a:lnTo>
                  <a:pt x="3409" y="1728"/>
                </a:lnTo>
                <a:lnTo>
                  <a:pt x="3408" y="1718"/>
                </a:lnTo>
                <a:lnTo>
                  <a:pt x="3407" y="1711"/>
                </a:lnTo>
                <a:lnTo>
                  <a:pt x="3406" y="1701"/>
                </a:lnTo>
                <a:lnTo>
                  <a:pt x="3404" y="1693"/>
                </a:lnTo>
                <a:lnTo>
                  <a:pt x="3402" y="1685"/>
                </a:lnTo>
                <a:lnTo>
                  <a:pt x="3400" y="1677"/>
                </a:lnTo>
                <a:lnTo>
                  <a:pt x="3396" y="1669"/>
                </a:lnTo>
                <a:lnTo>
                  <a:pt x="3389" y="1653"/>
                </a:lnTo>
                <a:lnTo>
                  <a:pt x="3385" y="1645"/>
                </a:lnTo>
                <a:lnTo>
                  <a:pt x="3380" y="1639"/>
                </a:lnTo>
                <a:lnTo>
                  <a:pt x="3369" y="1625"/>
                </a:lnTo>
                <a:lnTo>
                  <a:pt x="3356" y="1613"/>
                </a:lnTo>
                <a:lnTo>
                  <a:pt x="3292" y="1555"/>
                </a:lnTo>
                <a:lnTo>
                  <a:pt x="3282" y="1547"/>
                </a:lnTo>
                <a:lnTo>
                  <a:pt x="3273" y="1537"/>
                </a:lnTo>
                <a:lnTo>
                  <a:pt x="3257" y="1517"/>
                </a:lnTo>
                <a:lnTo>
                  <a:pt x="3243" y="1497"/>
                </a:lnTo>
                <a:lnTo>
                  <a:pt x="3237" y="1485"/>
                </a:lnTo>
                <a:lnTo>
                  <a:pt x="3232" y="1473"/>
                </a:lnTo>
                <a:lnTo>
                  <a:pt x="3227" y="1461"/>
                </a:lnTo>
                <a:lnTo>
                  <a:pt x="3223" y="1447"/>
                </a:lnTo>
                <a:lnTo>
                  <a:pt x="3220" y="1433"/>
                </a:lnTo>
                <a:lnTo>
                  <a:pt x="3217" y="1417"/>
                </a:lnTo>
                <a:lnTo>
                  <a:pt x="3215" y="1401"/>
                </a:lnTo>
                <a:lnTo>
                  <a:pt x="3214" y="1393"/>
                </a:lnTo>
                <a:lnTo>
                  <a:pt x="3213" y="1385"/>
                </a:lnTo>
                <a:lnTo>
                  <a:pt x="3212" y="1367"/>
                </a:lnTo>
                <a:lnTo>
                  <a:pt x="3212" y="1347"/>
                </a:lnTo>
                <a:lnTo>
                  <a:pt x="3212" y="1335"/>
                </a:lnTo>
                <a:lnTo>
                  <a:pt x="3213" y="1323"/>
                </a:lnTo>
                <a:lnTo>
                  <a:pt x="3214" y="1311"/>
                </a:lnTo>
                <a:lnTo>
                  <a:pt x="3215" y="1299"/>
                </a:lnTo>
                <a:lnTo>
                  <a:pt x="3216" y="1289"/>
                </a:lnTo>
                <a:lnTo>
                  <a:pt x="3218" y="1279"/>
                </a:lnTo>
                <a:lnTo>
                  <a:pt x="3222" y="1259"/>
                </a:lnTo>
                <a:lnTo>
                  <a:pt x="3225" y="1249"/>
                </a:lnTo>
                <a:lnTo>
                  <a:pt x="3228" y="1241"/>
                </a:lnTo>
                <a:lnTo>
                  <a:pt x="3234" y="1225"/>
                </a:lnTo>
                <a:lnTo>
                  <a:pt x="3241" y="1210"/>
                </a:lnTo>
                <a:lnTo>
                  <a:pt x="3245" y="1204"/>
                </a:lnTo>
                <a:lnTo>
                  <a:pt x="3250" y="1198"/>
                </a:lnTo>
                <a:lnTo>
                  <a:pt x="3259" y="1186"/>
                </a:lnTo>
                <a:lnTo>
                  <a:pt x="3269" y="1176"/>
                </a:lnTo>
                <a:lnTo>
                  <a:pt x="3279" y="1166"/>
                </a:lnTo>
                <a:lnTo>
                  <a:pt x="3290" y="1160"/>
                </a:lnTo>
                <a:lnTo>
                  <a:pt x="3302" y="1154"/>
                </a:lnTo>
                <a:lnTo>
                  <a:pt x="3314" y="1150"/>
                </a:lnTo>
                <a:lnTo>
                  <a:pt x="3327" y="1148"/>
                </a:lnTo>
                <a:lnTo>
                  <a:pt x="3340" y="1148"/>
                </a:lnTo>
                <a:lnTo>
                  <a:pt x="3355" y="1150"/>
                </a:lnTo>
                <a:lnTo>
                  <a:pt x="3370" y="1152"/>
                </a:lnTo>
                <a:lnTo>
                  <a:pt x="3383" y="1158"/>
                </a:lnTo>
                <a:lnTo>
                  <a:pt x="3389" y="1162"/>
                </a:lnTo>
                <a:lnTo>
                  <a:pt x="3395" y="1166"/>
                </a:lnTo>
                <a:lnTo>
                  <a:pt x="3407" y="1174"/>
                </a:lnTo>
                <a:lnTo>
                  <a:pt x="3417" y="1186"/>
                </a:lnTo>
                <a:lnTo>
                  <a:pt x="3426" y="1198"/>
                </a:lnTo>
                <a:lnTo>
                  <a:pt x="3434" y="1212"/>
                </a:lnTo>
                <a:lnTo>
                  <a:pt x="3438" y="1218"/>
                </a:lnTo>
                <a:lnTo>
                  <a:pt x="3441" y="1225"/>
                </a:lnTo>
                <a:lnTo>
                  <a:pt x="3444" y="1233"/>
                </a:lnTo>
                <a:lnTo>
                  <a:pt x="3447" y="1241"/>
                </a:lnTo>
                <a:lnTo>
                  <a:pt x="3452" y="1259"/>
                </a:lnTo>
                <a:lnTo>
                  <a:pt x="3457" y="1275"/>
                </a:lnTo>
                <a:lnTo>
                  <a:pt x="3460" y="1293"/>
                </a:lnTo>
                <a:lnTo>
                  <a:pt x="3462" y="1313"/>
                </a:lnTo>
                <a:lnTo>
                  <a:pt x="3464" y="1331"/>
                </a:lnTo>
                <a:lnTo>
                  <a:pt x="3464" y="1349"/>
                </a:lnTo>
                <a:lnTo>
                  <a:pt x="3402" y="1375"/>
                </a:lnTo>
                <a:lnTo>
                  <a:pt x="3402" y="1359"/>
                </a:lnTo>
                <a:lnTo>
                  <a:pt x="3400" y="1345"/>
                </a:lnTo>
                <a:lnTo>
                  <a:pt x="3399" y="1331"/>
                </a:lnTo>
                <a:lnTo>
                  <a:pt x="3397" y="1319"/>
                </a:lnTo>
                <a:lnTo>
                  <a:pt x="3394" y="1309"/>
                </a:lnTo>
                <a:lnTo>
                  <a:pt x="3391" y="1299"/>
                </a:lnTo>
                <a:lnTo>
                  <a:pt x="3388" y="1289"/>
                </a:lnTo>
                <a:lnTo>
                  <a:pt x="3384" y="1281"/>
                </a:lnTo>
                <a:lnTo>
                  <a:pt x="3380" y="1275"/>
                </a:lnTo>
                <a:lnTo>
                  <a:pt x="3375" y="1269"/>
                </a:lnTo>
                <a:lnTo>
                  <a:pt x="3370" y="1265"/>
                </a:lnTo>
                <a:lnTo>
                  <a:pt x="3364" y="1261"/>
                </a:lnTo>
                <a:lnTo>
                  <a:pt x="3358" y="1257"/>
                </a:lnTo>
                <a:lnTo>
                  <a:pt x="3352" y="1255"/>
                </a:lnTo>
                <a:lnTo>
                  <a:pt x="3345" y="1255"/>
                </a:lnTo>
                <a:lnTo>
                  <a:pt x="3337" y="1253"/>
                </a:lnTo>
                <a:lnTo>
                  <a:pt x="3325" y="1255"/>
                </a:lnTo>
                <a:lnTo>
                  <a:pt x="3313" y="1259"/>
                </a:lnTo>
                <a:lnTo>
                  <a:pt x="3308" y="1263"/>
                </a:lnTo>
                <a:lnTo>
                  <a:pt x="3303" y="1267"/>
                </a:lnTo>
                <a:lnTo>
                  <a:pt x="3298" y="1271"/>
                </a:lnTo>
                <a:lnTo>
                  <a:pt x="3294" y="1275"/>
                </a:lnTo>
                <a:lnTo>
                  <a:pt x="3290" y="1281"/>
                </a:lnTo>
                <a:lnTo>
                  <a:pt x="3287" y="1287"/>
                </a:lnTo>
                <a:lnTo>
                  <a:pt x="3284" y="1295"/>
                </a:lnTo>
                <a:lnTo>
                  <a:pt x="3281" y="1303"/>
                </a:lnTo>
                <a:lnTo>
                  <a:pt x="3279" y="1311"/>
                </a:lnTo>
                <a:lnTo>
                  <a:pt x="3278" y="1321"/>
                </a:lnTo>
                <a:lnTo>
                  <a:pt x="3277" y="1331"/>
                </a:lnTo>
                <a:lnTo>
                  <a:pt x="3276" y="1341"/>
                </a:lnTo>
                <a:lnTo>
                  <a:pt x="3277" y="1351"/>
                </a:lnTo>
                <a:lnTo>
                  <a:pt x="3277" y="1361"/>
                </a:lnTo>
                <a:lnTo>
                  <a:pt x="3278" y="1371"/>
                </a:lnTo>
                <a:lnTo>
                  <a:pt x="3279" y="1379"/>
                </a:lnTo>
                <a:lnTo>
                  <a:pt x="3281" y="1387"/>
                </a:lnTo>
                <a:lnTo>
                  <a:pt x="3283" y="1395"/>
                </a:lnTo>
                <a:lnTo>
                  <a:pt x="3286" y="1403"/>
                </a:lnTo>
                <a:lnTo>
                  <a:pt x="3288" y="1409"/>
                </a:lnTo>
                <a:lnTo>
                  <a:pt x="3292" y="1415"/>
                </a:lnTo>
                <a:lnTo>
                  <a:pt x="3295" y="1421"/>
                </a:lnTo>
                <a:lnTo>
                  <a:pt x="3304" y="1433"/>
                </a:lnTo>
                <a:lnTo>
                  <a:pt x="3314" y="1445"/>
                </a:lnTo>
                <a:lnTo>
                  <a:pt x="3326" y="1457"/>
                </a:lnTo>
                <a:lnTo>
                  <a:pt x="3388" y="1511"/>
                </a:lnTo>
                <a:lnTo>
                  <a:pt x="3398" y="1521"/>
                </a:lnTo>
                <a:lnTo>
                  <a:pt x="3408" y="1531"/>
                </a:lnTo>
                <a:lnTo>
                  <a:pt x="3418" y="1541"/>
                </a:lnTo>
                <a:lnTo>
                  <a:pt x="3426" y="1553"/>
                </a:lnTo>
                <a:lnTo>
                  <a:pt x="3434" y="1565"/>
                </a:lnTo>
                <a:lnTo>
                  <a:pt x="3441" y="1575"/>
                </a:lnTo>
                <a:lnTo>
                  <a:pt x="3447" y="1589"/>
                </a:lnTo>
                <a:lnTo>
                  <a:pt x="3453" y="1601"/>
                </a:lnTo>
                <a:lnTo>
                  <a:pt x="3458" y="1615"/>
                </a:lnTo>
                <a:lnTo>
                  <a:pt x="3462" y="1629"/>
                </a:lnTo>
                <a:lnTo>
                  <a:pt x="3466" y="1643"/>
                </a:lnTo>
                <a:lnTo>
                  <a:pt x="3469" y="1659"/>
                </a:lnTo>
                <a:lnTo>
                  <a:pt x="3471" y="1675"/>
                </a:lnTo>
                <a:lnTo>
                  <a:pt x="3472" y="1685"/>
                </a:lnTo>
                <a:lnTo>
                  <a:pt x="3472" y="1693"/>
                </a:lnTo>
                <a:lnTo>
                  <a:pt x="3473" y="1711"/>
                </a:lnTo>
                <a:lnTo>
                  <a:pt x="3474" y="1730"/>
                </a:lnTo>
                <a:lnTo>
                  <a:pt x="3473" y="1756"/>
                </a:lnTo>
                <a:lnTo>
                  <a:pt x="3471" y="1780"/>
                </a:lnTo>
                <a:lnTo>
                  <a:pt x="3470" y="1792"/>
                </a:lnTo>
                <a:lnTo>
                  <a:pt x="3468" y="1802"/>
                </a:lnTo>
                <a:lnTo>
                  <a:pt x="3466" y="1814"/>
                </a:lnTo>
                <a:lnTo>
                  <a:pt x="3464" y="1824"/>
                </a:lnTo>
                <a:lnTo>
                  <a:pt x="3461" y="1834"/>
                </a:lnTo>
                <a:lnTo>
                  <a:pt x="3459" y="1844"/>
                </a:lnTo>
                <a:lnTo>
                  <a:pt x="3452" y="1862"/>
                </a:lnTo>
                <a:lnTo>
                  <a:pt x="3449" y="1870"/>
                </a:lnTo>
                <a:lnTo>
                  <a:pt x="3445" y="1880"/>
                </a:lnTo>
                <a:lnTo>
                  <a:pt x="3437" y="1894"/>
                </a:lnTo>
                <a:lnTo>
                  <a:pt x="3432" y="1902"/>
                </a:lnTo>
                <a:lnTo>
                  <a:pt x="3427" y="1908"/>
                </a:lnTo>
                <a:lnTo>
                  <a:pt x="3422" y="1914"/>
                </a:lnTo>
                <a:lnTo>
                  <a:pt x="3417" y="1920"/>
                </a:lnTo>
                <a:lnTo>
                  <a:pt x="3406" y="1930"/>
                </a:lnTo>
                <a:lnTo>
                  <a:pt x="3394" y="1938"/>
                </a:lnTo>
                <a:lnTo>
                  <a:pt x="3381" y="1946"/>
                </a:lnTo>
                <a:lnTo>
                  <a:pt x="3367" y="1950"/>
                </a:lnTo>
                <a:lnTo>
                  <a:pt x="3360" y="1952"/>
                </a:lnTo>
                <a:lnTo>
                  <a:pt x="3353" y="1952"/>
                </a:lnTo>
                <a:lnTo>
                  <a:pt x="3337" y="1954"/>
                </a:lnTo>
                <a:close/>
                <a:moveTo>
                  <a:pt x="3582" y="1882"/>
                </a:moveTo>
                <a:lnTo>
                  <a:pt x="3574" y="1866"/>
                </a:lnTo>
                <a:lnTo>
                  <a:pt x="3567" y="1848"/>
                </a:lnTo>
                <a:lnTo>
                  <a:pt x="3562" y="1828"/>
                </a:lnTo>
                <a:lnTo>
                  <a:pt x="3559" y="1816"/>
                </a:lnTo>
                <a:lnTo>
                  <a:pt x="3557" y="1806"/>
                </a:lnTo>
                <a:lnTo>
                  <a:pt x="3554" y="1782"/>
                </a:lnTo>
                <a:lnTo>
                  <a:pt x="3551" y="1756"/>
                </a:lnTo>
                <a:lnTo>
                  <a:pt x="3550" y="1742"/>
                </a:lnTo>
                <a:lnTo>
                  <a:pt x="3550" y="1726"/>
                </a:lnTo>
                <a:lnTo>
                  <a:pt x="3549" y="1697"/>
                </a:lnTo>
                <a:lnTo>
                  <a:pt x="3549" y="1166"/>
                </a:lnTo>
                <a:lnTo>
                  <a:pt x="3615" y="1166"/>
                </a:lnTo>
                <a:lnTo>
                  <a:pt x="3615" y="1691"/>
                </a:lnTo>
                <a:lnTo>
                  <a:pt x="3615" y="1711"/>
                </a:lnTo>
                <a:lnTo>
                  <a:pt x="3616" y="1728"/>
                </a:lnTo>
                <a:lnTo>
                  <a:pt x="3617" y="1744"/>
                </a:lnTo>
                <a:lnTo>
                  <a:pt x="3618" y="1758"/>
                </a:lnTo>
                <a:lnTo>
                  <a:pt x="3620" y="1772"/>
                </a:lnTo>
                <a:lnTo>
                  <a:pt x="3623" y="1784"/>
                </a:lnTo>
                <a:lnTo>
                  <a:pt x="3625" y="1796"/>
                </a:lnTo>
                <a:lnTo>
                  <a:pt x="3629" y="1804"/>
                </a:lnTo>
                <a:lnTo>
                  <a:pt x="3633" y="1814"/>
                </a:lnTo>
                <a:lnTo>
                  <a:pt x="3637" y="1822"/>
                </a:lnTo>
                <a:lnTo>
                  <a:pt x="3643" y="1830"/>
                </a:lnTo>
                <a:lnTo>
                  <a:pt x="3649" y="1836"/>
                </a:lnTo>
                <a:lnTo>
                  <a:pt x="3652" y="1838"/>
                </a:lnTo>
                <a:lnTo>
                  <a:pt x="3655" y="1840"/>
                </a:lnTo>
                <a:lnTo>
                  <a:pt x="3662" y="1844"/>
                </a:lnTo>
                <a:lnTo>
                  <a:pt x="3670" y="1846"/>
                </a:lnTo>
                <a:lnTo>
                  <a:pt x="3678" y="1846"/>
                </a:lnTo>
                <a:lnTo>
                  <a:pt x="3686" y="1846"/>
                </a:lnTo>
                <a:lnTo>
                  <a:pt x="3694" y="1844"/>
                </a:lnTo>
                <a:lnTo>
                  <a:pt x="3701" y="1840"/>
                </a:lnTo>
                <a:lnTo>
                  <a:pt x="3708" y="1836"/>
                </a:lnTo>
                <a:lnTo>
                  <a:pt x="3713" y="1830"/>
                </a:lnTo>
                <a:lnTo>
                  <a:pt x="3719" y="1822"/>
                </a:lnTo>
                <a:lnTo>
                  <a:pt x="3723" y="1814"/>
                </a:lnTo>
                <a:lnTo>
                  <a:pt x="3728" y="1804"/>
                </a:lnTo>
                <a:lnTo>
                  <a:pt x="3731" y="1796"/>
                </a:lnTo>
                <a:lnTo>
                  <a:pt x="3734" y="1784"/>
                </a:lnTo>
                <a:lnTo>
                  <a:pt x="3736" y="1772"/>
                </a:lnTo>
                <a:lnTo>
                  <a:pt x="3738" y="1758"/>
                </a:lnTo>
                <a:lnTo>
                  <a:pt x="3740" y="1744"/>
                </a:lnTo>
                <a:lnTo>
                  <a:pt x="3741" y="1728"/>
                </a:lnTo>
                <a:lnTo>
                  <a:pt x="3741" y="1711"/>
                </a:lnTo>
                <a:lnTo>
                  <a:pt x="3741" y="1691"/>
                </a:lnTo>
                <a:lnTo>
                  <a:pt x="3741" y="1166"/>
                </a:lnTo>
                <a:lnTo>
                  <a:pt x="3807" y="1166"/>
                </a:lnTo>
                <a:lnTo>
                  <a:pt x="3807" y="1697"/>
                </a:lnTo>
                <a:lnTo>
                  <a:pt x="3806" y="1726"/>
                </a:lnTo>
                <a:lnTo>
                  <a:pt x="3805" y="1742"/>
                </a:lnTo>
                <a:lnTo>
                  <a:pt x="3805" y="1756"/>
                </a:lnTo>
                <a:lnTo>
                  <a:pt x="3802" y="1782"/>
                </a:lnTo>
                <a:lnTo>
                  <a:pt x="3798" y="1806"/>
                </a:lnTo>
                <a:lnTo>
                  <a:pt x="3796" y="1816"/>
                </a:lnTo>
                <a:lnTo>
                  <a:pt x="3794" y="1828"/>
                </a:lnTo>
                <a:lnTo>
                  <a:pt x="3788" y="1848"/>
                </a:lnTo>
                <a:lnTo>
                  <a:pt x="3785" y="1856"/>
                </a:lnTo>
                <a:lnTo>
                  <a:pt x="3782" y="1866"/>
                </a:lnTo>
                <a:lnTo>
                  <a:pt x="3779" y="1874"/>
                </a:lnTo>
                <a:lnTo>
                  <a:pt x="3775" y="1882"/>
                </a:lnTo>
                <a:lnTo>
                  <a:pt x="3771" y="1890"/>
                </a:lnTo>
                <a:lnTo>
                  <a:pt x="3766" y="1898"/>
                </a:lnTo>
                <a:lnTo>
                  <a:pt x="3756" y="1914"/>
                </a:lnTo>
                <a:lnTo>
                  <a:pt x="3745" y="1926"/>
                </a:lnTo>
                <a:lnTo>
                  <a:pt x="3739" y="1930"/>
                </a:lnTo>
                <a:lnTo>
                  <a:pt x="3733" y="1936"/>
                </a:lnTo>
                <a:lnTo>
                  <a:pt x="3720" y="1944"/>
                </a:lnTo>
                <a:lnTo>
                  <a:pt x="3714" y="1946"/>
                </a:lnTo>
                <a:lnTo>
                  <a:pt x="3707" y="1950"/>
                </a:lnTo>
                <a:lnTo>
                  <a:pt x="3693" y="1952"/>
                </a:lnTo>
                <a:lnTo>
                  <a:pt x="3685" y="1954"/>
                </a:lnTo>
                <a:lnTo>
                  <a:pt x="3678" y="1954"/>
                </a:lnTo>
                <a:lnTo>
                  <a:pt x="3663" y="1952"/>
                </a:lnTo>
                <a:lnTo>
                  <a:pt x="3649" y="1950"/>
                </a:lnTo>
                <a:lnTo>
                  <a:pt x="3643" y="1946"/>
                </a:lnTo>
                <a:lnTo>
                  <a:pt x="3636" y="1944"/>
                </a:lnTo>
                <a:lnTo>
                  <a:pt x="3624" y="1936"/>
                </a:lnTo>
                <a:lnTo>
                  <a:pt x="3612" y="1926"/>
                </a:lnTo>
                <a:lnTo>
                  <a:pt x="3601" y="1914"/>
                </a:lnTo>
                <a:lnTo>
                  <a:pt x="3591" y="1898"/>
                </a:lnTo>
                <a:lnTo>
                  <a:pt x="3586" y="1890"/>
                </a:lnTo>
                <a:lnTo>
                  <a:pt x="3582" y="1882"/>
                </a:lnTo>
                <a:close/>
                <a:moveTo>
                  <a:pt x="3934" y="1882"/>
                </a:moveTo>
                <a:lnTo>
                  <a:pt x="3927" y="1866"/>
                </a:lnTo>
                <a:lnTo>
                  <a:pt x="3920" y="1848"/>
                </a:lnTo>
                <a:lnTo>
                  <a:pt x="3915" y="1828"/>
                </a:lnTo>
                <a:lnTo>
                  <a:pt x="3912" y="1816"/>
                </a:lnTo>
                <a:lnTo>
                  <a:pt x="3910" y="1806"/>
                </a:lnTo>
                <a:lnTo>
                  <a:pt x="3907" y="1782"/>
                </a:lnTo>
                <a:lnTo>
                  <a:pt x="3904" y="1756"/>
                </a:lnTo>
                <a:lnTo>
                  <a:pt x="3903" y="1742"/>
                </a:lnTo>
                <a:lnTo>
                  <a:pt x="3903" y="1726"/>
                </a:lnTo>
                <a:lnTo>
                  <a:pt x="3902" y="1697"/>
                </a:lnTo>
                <a:lnTo>
                  <a:pt x="3902" y="1166"/>
                </a:lnTo>
                <a:lnTo>
                  <a:pt x="3968" y="1166"/>
                </a:lnTo>
                <a:lnTo>
                  <a:pt x="3968" y="1691"/>
                </a:lnTo>
                <a:lnTo>
                  <a:pt x="3968" y="1711"/>
                </a:lnTo>
                <a:lnTo>
                  <a:pt x="3969" y="1728"/>
                </a:lnTo>
                <a:lnTo>
                  <a:pt x="3970" y="1744"/>
                </a:lnTo>
                <a:lnTo>
                  <a:pt x="3972" y="1758"/>
                </a:lnTo>
                <a:lnTo>
                  <a:pt x="3973" y="1772"/>
                </a:lnTo>
                <a:lnTo>
                  <a:pt x="3976" y="1784"/>
                </a:lnTo>
                <a:lnTo>
                  <a:pt x="3979" y="1796"/>
                </a:lnTo>
                <a:lnTo>
                  <a:pt x="3982" y="1804"/>
                </a:lnTo>
                <a:lnTo>
                  <a:pt x="3986" y="1814"/>
                </a:lnTo>
                <a:lnTo>
                  <a:pt x="3991" y="1822"/>
                </a:lnTo>
                <a:lnTo>
                  <a:pt x="3996" y="1830"/>
                </a:lnTo>
                <a:lnTo>
                  <a:pt x="4002" y="1836"/>
                </a:lnTo>
                <a:lnTo>
                  <a:pt x="4005" y="1838"/>
                </a:lnTo>
                <a:lnTo>
                  <a:pt x="4008" y="1840"/>
                </a:lnTo>
                <a:lnTo>
                  <a:pt x="4015" y="1844"/>
                </a:lnTo>
                <a:lnTo>
                  <a:pt x="4023" y="1846"/>
                </a:lnTo>
                <a:lnTo>
                  <a:pt x="4031" y="1846"/>
                </a:lnTo>
                <a:lnTo>
                  <a:pt x="4040" y="1846"/>
                </a:lnTo>
                <a:lnTo>
                  <a:pt x="4047" y="1844"/>
                </a:lnTo>
                <a:lnTo>
                  <a:pt x="4054" y="1840"/>
                </a:lnTo>
                <a:lnTo>
                  <a:pt x="4061" y="1836"/>
                </a:lnTo>
                <a:lnTo>
                  <a:pt x="4067" y="1830"/>
                </a:lnTo>
                <a:lnTo>
                  <a:pt x="4072" y="1822"/>
                </a:lnTo>
                <a:lnTo>
                  <a:pt x="4077" y="1814"/>
                </a:lnTo>
                <a:lnTo>
                  <a:pt x="4081" y="1804"/>
                </a:lnTo>
                <a:lnTo>
                  <a:pt x="4084" y="1796"/>
                </a:lnTo>
                <a:lnTo>
                  <a:pt x="4087" y="1784"/>
                </a:lnTo>
                <a:lnTo>
                  <a:pt x="4090" y="1772"/>
                </a:lnTo>
                <a:lnTo>
                  <a:pt x="4091" y="1758"/>
                </a:lnTo>
                <a:lnTo>
                  <a:pt x="4093" y="1744"/>
                </a:lnTo>
                <a:lnTo>
                  <a:pt x="4094" y="1728"/>
                </a:lnTo>
                <a:lnTo>
                  <a:pt x="4094" y="1711"/>
                </a:lnTo>
                <a:lnTo>
                  <a:pt x="4094" y="1691"/>
                </a:lnTo>
                <a:lnTo>
                  <a:pt x="4094" y="1166"/>
                </a:lnTo>
                <a:lnTo>
                  <a:pt x="4160" y="1166"/>
                </a:lnTo>
                <a:lnTo>
                  <a:pt x="4160" y="1697"/>
                </a:lnTo>
                <a:lnTo>
                  <a:pt x="4159" y="1726"/>
                </a:lnTo>
                <a:lnTo>
                  <a:pt x="4159" y="1742"/>
                </a:lnTo>
                <a:lnTo>
                  <a:pt x="4158" y="1756"/>
                </a:lnTo>
                <a:lnTo>
                  <a:pt x="4155" y="1782"/>
                </a:lnTo>
                <a:lnTo>
                  <a:pt x="4152" y="1806"/>
                </a:lnTo>
                <a:lnTo>
                  <a:pt x="4149" y="1816"/>
                </a:lnTo>
                <a:lnTo>
                  <a:pt x="4147" y="1828"/>
                </a:lnTo>
                <a:lnTo>
                  <a:pt x="4142" y="1848"/>
                </a:lnTo>
                <a:lnTo>
                  <a:pt x="4139" y="1856"/>
                </a:lnTo>
                <a:lnTo>
                  <a:pt x="4135" y="1866"/>
                </a:lnTo>
                <a:lnTo>
                  <a:pt x="4132" y="1874"/>
                </a:lnTo>
                <a:lnTo>
                  <a:pt x="4128" y="1882"/>
                </a:lnTo>
                <a:lnTo>
                  <a:pt x="4124" y="1890"/>
                </a:lnTo>
                <a:lnTo>
                  <a:pt x="4119" y="1898"/>
                </a:lnTo>
                <a:lnTo>
                  <a:pt x="4109" y="1914"/>
                </a:lnTo>
                <a:lnTo>
                  <a:pt x="4098" y="1926"/>
                </a:lnTo>
                <a:lnTo>
                  <a:pt x="4092" y="1930"/>
                </a:lnTo>
                <a:lnTo>
                  <a:pt x="4086" y="1936"/>
                </a:lnTo>
                <a:lnTo>
                  <a:pt x="4073" y="1944"/>
                </a:lnTo>
                <a:lnTo>
                  <a:pt x="4067" y="1946"/>
                </a:lnTo>
                <a:lnTo>
                  <a:pt x="4060" y="1950"/>
                </a:lnTo>
                <a:lnTo>
                  <a:pt x="4046" y="1952"/>
                </a:lnTo>
                <a:lnTo>
                  <a:pt x="4039" y="1954"/>
                </a:lnTo>
                <a:lnTo>
                  <a:pt x="4031" y="1954"/>
                </a:lnTo>
                <a:lnTo>
                  <a:pt x="4017" y="1952"/>
                </a:lnTo>
                <a:lnTo>
                  <a:pt x="4003" y="1950"/>
                </a:lnTo>
                <a:lnTo>
                  <a:pt x="3996" y="1946"/>
                </a:lnTo>
                <a:lnTo>
                  <a:pt x="3989" y="1944"/>
                </a:lnTo>
                <a:lnTo>
                  <a:pt x="3977" y="1936"/>
                </a:lnTo>
                <a:lnTo>
                  <a:pt x="3965" y="1926"/>
                </a:lnTo>
                <a:lnTo>
                  <a:pt x="3954" y="1914"/>
                </a:lnTo>
                <a:lnTo>
                  <a:pt x="3943" y="1898"/>
                </a:lnTo>
                <a:lnTo>
                  <a:pt x="3938" y="1890"/>
                </a:lnTo>
                <a:lnTo>
                  <a:pt x="3934" y="1882"/>
                </a:lnTo>
                <a:close/>
                <a:moveTo>
                  <a:pt x="4370" y="1954"/>
                </a:moveTo>
                <a:lnTo>
                  <a:pt x="4354" y="1954"/>
                </a:lnTo>
                <a:lnTo>
                  <a:pt x="4339" y="1950"/>
                </a:lnTo>
                <a:lnTo>
                  <a:pt x="4324" y="1944"/>
                </a:lnTo>
                <a:lnTo>
                  <a:pt x="4317" y="1940"/>
                </a:lnTo>
                <a:lnTo>
                  <a:pt x="4310" y="1936"/>
                </a:lnTo>
                <a:lnTo>
                  <a:pt x="4298" y="1928"/>
                </a:lnTo>
                <a:lnTo>
                  <a:pt x="4292" y="1922"/>
                </a:lnTo>
                <a:lnTo>
                  <a:pt x="4287" y="1916"/>
                </a:lnTo>
                <a:lnTo>
                  <a:pt x="4277" y="1902"/>
                </a:lnTo>
                <a:lnTo>
                  <a:pt x="4273" y="1896"/>
                </a:lnTo>
                <a:lnTo>
                  <a:pt x="4268" y="1888"/>
                </a:lnTo>
                <a:lnTo>
                  <a:pt x="4264" y="1880"/>
                </a:lnTo>
                <a:lnTo>
                  <a:pt x="4261" y="1872"/>
                </a:lnTo>
                <a:lnTo>
                  <a:pt x="4257" y="1864"/>
                </a:lnTo>
                <a:lnTo>
                  <a:pt x="4254" y="1854"/>
                </a:lnTo>
                <a:lnTo>
                  <a:pt x="4248" y="1834"/>
                </a:lnTo>
                <a:lnTo>
                  <a:pt x="4244" y="1814"/>
                </a:lnTo>
                <a:lnTo>
                  <a:pt x="4242" y="1804"/>
                </a:lnTo>
                <a:lnTo>
                  <a:pt x="4240" y="1792"/>
                </a:lnTo>
                <a:lnTo>
                  <a:pt x="4237" y="1770"/>
                </a:lnTo>
                <a:lnTo>
                  <a:pt x="4236" y="1746"/>
                </a:lnTo>
                <a:lnTo>
                  <a:pt x="4235" y="1732"/>
                </a:lnTo>
                <a:lnTo>
                  <a:pt x="4235" y="1720"/>
                </a:lnTo>
                <a:lnTo>
                  <a:pt x="4298" y="1693"/>
                </a:lnTo>
                <a:lnTo>
                  <a:pt x="4298" y="1714"/>
                </a:lnTo>
                <a:lnTo>
                  <a:pt x="4299" y="1734"/>
                </a:lnTo>
                <a:lnTo>
                  <a:pt x="4301" y="1750"/>
                </a:lnTo>
                <a:lnTo>
                  <a:pt x="4303" y="1766"/>
                </a:lnTo>
                <a:lnTo>
                  <a:pt x="4305" y="1774"/>
                </a:lnTo>
                <a:lnTo>
                  <a:pt x="4306" y="1782"/>
                </a:lnTo>
                <a:lnTo>
                  <a:pt x="4310" y="1794"/>
                </a:lnTo>
                <a:lnTo>
                  <a:pt x="4314" y="1804"/>
                </a:lnTo>
                <a:lnTo>
                  <a:pt x="4318" y="1814"/>
                </a:lnTo>
                <a:lnTo>
                  <a:pt x="4324" y="1824"/>
                </a:lnTo>
                <a:lnTo>
                  <a:pt x="4330" y="1830"/>
                </a:lnTo>
                <a:lnTo>
                  <a:pt x="4336" y="1836"/>
                </a:lnTo>
                <a:lnTo>
                  <a:pt x="4343" y="1840"/>
                </a:lnTo>
                <a:lnTo>
                  <a:pt x="4350" y="1844"/>
                </a:lnTo>
                <a:lnTo>
                  <a:pt x="4357" y="1846"/>
                </a:lnTo>
                <a:lnTo>
                  <a:pt x="4365" y="1848"/>
                </a:lnTo>
                <a:lnTo>
                  <a:pt x="4374" y="1848"/>
                </a:lnTo>
                <a:lnTo>
                  <a:pt x="4381" y="1848"/>
                </a:lnTo>
                <a:lnTo>
                  <a:pt x="4388" y="1846"/>
                </a:lnTo>
                <a:lnTo>
                  <a:pt x="4395" y="1844"/>
                </a:lnTo>
                <a:lnTo>
                  <a:pt x="4401" y="1842"/>
                </a:lnTo>
                <a:lnTo>
                  <a:pt x="4407" y="1838"/>
                </a:lnTo>
                <a:lnTo>
                  <a:pt x="4413" y="1832"/>
                </a:lnTo>
                <a:lnTo>
                  <a:pt x="4418" y="1826"/>
                </a:lnTo>
                <a:lnTo>
                  <a:pt x="4423" y="1820"/>
                </a:lnTo>
                <a:lnTo>
                  <a:pt x="4427" y="1812"/>
                </a:lnTo>
                <a:lnTo>
                  <a:pt x="4431" y="1804"/>
                </a:lnTo>
                <a:lnTo>
                  <a:pt x="4434" y="1796"/>
                </a:lnTo>
                <a:lnTo>
                  <a:pt x="4437" y="1786"/>
                </a:lnTo>
                <a:lnTo>
                  <a:pt x="4439" y="1774"/>
                </a:lnTo>
                <a:lnTo>
                  <a:pt x="4440" y="1770"/>
                </a:lnTo>
                <a:lnTo>
                  <a:pt x="4441" y="1764"/>
                </a:lnTo>
                <a:lnTo>
                  <a:pt x="4442" y="1752"/>
                </a:lnTo>
                <a:lnTo>
                  <a:pt x="4442" y="1738"/>
                </a:lnTo>
                <a:lnTo>
                  <a:pt x="4442" y="1728"/>
                </a:lnTo>
                <a:lnTo>
                  <a:pt x="4442" y="1718"/>
                </a:lnTo>
                <a:lnTo>
                  <a:pt x="4441" y="1711"/>
                </a:lnTo>
                <a:lnTo>
                  <a:pt x="4439" y="1701"/>
                </a:lnTo>
                <a:lnTo>
                  <a:pt x="4437" y="1693"/>
                </a:lnTo>
                <a:lnTo>
                  <a:pt x="4435" y="1685"/>
                </a:lnTo>
                <a:lnTo>
                  <a:pt x="4433" y="1677"/>
                </a:lnTo>
                <a:lnTo>
                  <a:pt x="4430" y="1669"/>
                </a:lnTo>
                <a:lnTo>
                  <a:pt x="4422" y="1653"/>
                </a:lnTo>
                <a:lnTo>
                  <a:pt x="4418" y="1645"/>
                </a:lnTo>
                <a:lnTo>
                  <a:pt x="4413" y="1639"/>
                </a:lnTo>
                <a:lnTo>
                  <a:pt x="4402" y="1625"/>
                </a:lnTo>
                <a:lnTo>
                  <a:pt x="4389" y="1613"/>
                </a:lnTo>
                <a:lnTo>
                  <a:pt x="4325" y="1555"/>
                </a:lnTo>
                <a:lnTo>
                  <a:pt x="4315" y="1547"/>
                </a:lnTo>
                <a:lnTo>
                  <a:pt x="4305" y="1537"/>
                </a:lnTo>
                <a:lnTo>
                  <a:pt x="4289" y="1517"/>
                </a:lnTo>
                <a:lnTo>
                  <a:pt x="4275" y="1497"/>
                </a:lnTo>
                <a:lnTo>
                  <a:pt x="4270" y="1485"/>
                </a:lnTo>
                <a:lnTo>
                  <a:pt x="4264" y="1473"/>
                </a:lnTo>
                <a:lnTo>
                  <a:pt x="4260" y="1461"/>
                </a:lnTo>
                <a:lnTo>
                  <a:pt x="4255" y="1447"/>
                </a:lnTo>
                <a:lnTo>
                  <a:pt x="4252" y="1433"/>
                </a:lnTo>
                <a:lnTo>
                  <a:pt x="4249" y="1417"/>
                </a:lnTo>
                <a:lnTo>
                  <a:pt x="4247" y="1401"/>
                </a:lnTo>
                <a:lnTo>
                  <a:pt x="4246" y="1393"/>
                </a:lnTo>
                <a:lnTo>
                  <a:pt x="4245" y="1385"/>
                </a:lnTo>
                <a:lnTo>
                  <a:pt x="4244" y="1367"/>
                </a:lnTo>
                <a:lnTo>
                  <a:pt x="4244" y="1347"/>
                </a:lnTo>
                <a:lnTo>
                  <a:pt x="4244" y="1335"/>
                </a:lnTo>
                <a:lnTo>
                  <a:pt x="4245" y="1323"/>
                </a:lnTo>
                <a:lnTo>
                  <a:pt x="4246" y="1311"/>
                </a:lnTo>
                <a:lnTo>
                  <a:pt x="4247" y="1299"/>
                </a:lnTo>
                <a:lnTo>
                  <a:pt x="4248" y="1289"/>
                </a:lnTo>
                <a:lnTo>
                  <a:pt x="4250" y="1279"/>
                </a:lnTo>
                <a:lnTo>
                  <a:pt x="4254" y="1259"/>
                </a:lnTo>
                <a:lnTo>
                  <a:pt x="4257" y="1249"/>
                </a:lnTo>
                <a:lnTo>
                  <a:pt x="4260" y="1241"/>
                </a:lnTo>
                <a:lnTo>
                  <a:pt x="4266" y="1225"/>
                </a:lnTo>
                <a:lnTo>
                  <a:pt x="4273" y="1210"/>
                </a:lnTo>
                <a:lnTo>
                  <a:pt x="4277" y="1204"/>
                </a:lnTo>
                <a:lnTo>
                  <a:pt x="4282" y="1198"/>
                </a:lnTo>
                <a:lnTo>
                  <a:pt x="4291" y="1186"/>
                </a:lnTo>
                <a:lnTo>
                  <a:pt x="4301" y="1176"/>
                </a:lnTo>
                <a:lnTo>
                  <a:pt x="4311" y="1166"/>
                </a:lnTo>
                <a:lnTo>
                  <a:pt x="4323" y="1160"/>
                </a:lnTo>
                <a:lnTo>
                  <a:pt x="4335" y="1154"/>
                </a:lnTo>
                <a:lnTo>
                  <a:pt x="4347" y="1150"/>
                </a:lnTo>
                <a:lnTo>
                  <a:pt x="4360" y="1148"/>
                </a:lnTo>
                <a:lnTo>
                  <a:pt x="4373" y="1148"/>
                </a:lnTo>
                <a:lnTo>
                  <a:pt x="4388" y="1150"/>
                </a:lnTo>
                <a:lnTo>
                  <a:pt x="4403" y="1152"/>
                </a:lnTo>
                <a:lnTo>
                  <a:pt x="4416" y="1158"/>
                </a:lnTo>
                <a:lnTo>
                  <a:pt x="4422" y="1162"/>
                </a:lnTo>
                <a:lnTo>
                  <a:pt x="4428" y="1166"/>
                </a:lnTo>
                <a:lnTo>
                  <a:pt x="4440" y="1174"/>
                </a:lnTo>
                <a:lnTo>
                  <a:pt x="4450" y="1186"/>
                </a:lnTo>
                <a:lnTo>
                  <a:pt x="4459" y="1198"/>
                </a:lnTo>
                <a:lnTo>
                  <a:pt x="4467" y="1212"/>
                </a:lnTo>
                <a:lnTo>
                  <a:pt x="4471" y="1218"/>
                </a:lnTo>
                <a:lnTo>
                  <a:pt x="4474" y="1225"/>
                </a:lnTo>
                <a:lnTo>
                  <a:pt x="4477" y="1233"/>
                </a:lnTo>
                <a:lnTo>
                  <a:pt x="4480" y="1241"/>
                </a:lnTo>
                <a:lnTo>
                  <a:pt x="4485" y="1259"/>
                </a:lnTo>
                <a:lnTo>
                  <a:pt x="4490" y="1275"/>
                </a:lnTo>
                <a:lnTo>
                  <a:pt x="4493" y="1293"/>
                </a:lnTo>
                <a:lnTo>
                  <a:pt x="4495" y="1313"/>
                </a:lnTo>
                <a:lnTo>
                  <a:pt x="4497" y="1331"/>
                </a:lnTo>
                <a:lnTo>
                  <a:pt x="4497" y="1349"/>
                </a:lnTo>
                <a:lnTo>
                  <a:pt x="4435" y="1375"/>
                </a:lnTo>
                <a:lnTo>
                  <a:pt x="4435" y="1359"/>
                </a:lnTo>
                <a:lnTo>
                  <a:pt x="4433" y="1345"/>
                </a:lnTo>
                <a:lnTo>
                  <a:pt x="4432" y="1331"/>
                </a:lnTo>
                <a:lnTo>
                  <a:pt x="4430" y="1319"/>
                </a:lnTo>
                <a:lnTo>
                  <a:pt x="4427" y="1309"/>
                </a:lnTo>
                <a:lnTo>
                  <a:pt x="4426" y="1303"/>
                </a:lnTo>
                <a:lnTo>
                  <a:pt x="4424" y="1299"/>
                </a:lnTo>
                <a:lnTo>
                  <a:pt x="4421" y="1289"/>
                </a:lnTo>
                <a:lnTo>
                  <a:pt x="4417" y="1281"/>
                </a:lnTo>
                <a:lnTo>
                  <a:pt x="4413" y="1275"/>
                </a:lnTo>
                <a:lnTo>
                  <a:pt x="4408" y="1269"/>
                </a:lnTo>
                <a:lnTo>
                  <a:pt x="4403" y="1265"/>
                </a:lnTo>
                <a:lnTo>
                  <a:pt x="4397" y="1261"/>
                </a:lnTo>
                <a:lnTo>
                  <a:pt x="4391" y="1257"/>
                </a:lnTo>
                <a:lnTo>
                  <a:pt x="4385" y="1255"/>
                </a:lnTo>
                <a:lnTo>
                  <a:pt x="4378" y="1255"/>
                </a:lnTo>
                <a:lnTo>
                  <a:pt x="4370" y="1253"/>
                </a:lnTo>
                <a:lnTo>
                  <a:pt x="4358" y="1255"/>
                </a:lnTo>
                <a:lnTo>
                  <a:pt x="4346" y="1259"/>
                </a:lnTo>
                <a:lnTo>
                  <a:pt x="4341" y="1263"/>
                </a:lnTo>
                <a:lnTo>
                  <a:pt x="4336" y="1267"/>
                </a:lnTo>
                <a:lnTo>
                  <a:pt x="4331" y="1271"/>
                </a:lnTo>
                <a:lnTo>
                  <a:pt x="4327" y="1275"/>
                </a:lnTo>
                <a:lnTo>
                  <a:pt x="4323" y="1281"/>
                </a:lnTo>
                <a:lnTo>
                  <a:pt x="4319" y="1287"/>
                </a:lnTo>
                <a:lnTo>
                  <a:pt x="4316" y="1295"/>
                </a:lnTo>
                <a:lnTo>
                  <a:pt x="4313" y="1303"/>
                </a:lnTo>
                <a:lnTo>
                  <a:pt x="4311" y="1311"/>
                </a:lnTo>
                <a:lnTo>
                  <a:pt x="4310" y="1321"/>
                </a:lnTo>
                <a:lnTo>
                  <a:pt x="4309" y="1331"/>
                </a:lnTo>
                <a:lnTo>
                  <a:pt x="4308" y="1341"/>
                </a:lnTo>
                <a:lnTo>
                  <a:pt x="4309" y="1351"/>
                </a:lnTo>
                <a:lnTo>
                  <a:pt x="4309" y="1361"/>
                </a:lnTo>
                <a:lnTo>
                  <a:pt x="4310" y="1371"/>
                </a:lnTo>
                <a:lnTo>
                  <a:pt x="4311" y="1379"/>
                </a:lnTo>
                <a:lnTo>
                  <a:pt x="4313" y="1387"/>
                </a:lnTo>
                <a:lnTo>
                  <a:pt x="4315" y="1395"/>
                </a:lnTo>
                <a:lnTo>
                  <a:pt x="4318" y="1403"/>
                </a:lnTo>
                <a:lnTo>
                  <a:pt x="4321" y="1409"/>
                </a:lnTo>
                <a:lnTo>
                  <a:pt x="4325" y="1415"/>
                </a:lnTo>
                <a:lnTo>
                  <a:pt x="4328" y="1421"/>
                </a:lnTo>
                <a:lnTo>
                  <a:pt x="4337" y="1433"/>
                </a:lnTo>
                <a:lnTo>
                  <a:pt x="4347" y="1445"/>
                </a:lnTo>
                <a:lnTo>
                  <a:pt x="4359" y="1457"/>
                </a:lnTo>
                <a:lnTo>
                  <a:pt x="4421" y="1511"/>
                </a:lnTo>
                <a:lnTo>
                  <a:pt x="4431" y="1521"/>
                </a:lnTo>
                <a:lnTo>
                  <a:pt x="4442" y="1531"/>
                </a:lnTo>
                <a:lnTo>
                  <a:pt x="4451" y="1541"/>
                </a:lnTo>
                <a:lnTo>
                  <a:pt x="4459" y="1553"/>
                </a:lnTo>
                <a:lnTo>
                  <a:pt x="4467" y="1565"/>
                </a:lnTo>
                <a:lnTo>
                  <a:pt x="4474" y="1575"/>
                </a:lnTo>
                <a:lnTo>
                  <a:pt x="4480" y="1589"/>
                </a:lnTo>
                <a:lnTo>
                  <a:pt x="4486" y="1601"/>
                </a:lnTo>
                <a:lnTo>
                  <a:pt x="4491" y="1615"/>
                </a:lnTo>
                <a:lnTo>
                  <a:pt x="4495" y="1629"/>
                </a:lnTo>
                <a:lnTo>
                  <a:pt x="4499" y="1643"/>
                </a:lnTo>
                <a:lnTo>
                  <a:pt x="4502" y="1659"/>
                </a:lnTo>
                <a:lnTo>
                  <a:pt x="4504" y="1675"/>
                </a:lnTo>
                <a:lnTo>
                  <a:pt x="4505" y="1685"/>
                </a:lnTo>
                <a:lnTo>
                  <a:pt x="4505" y="1693"/>
                </a:lnTo>
                <a:lnTo>
                  <a:pt x="4506" y="1711"/>
                </a:lnTo>
                <a:lnTo>
                  <a:pt x="4507" y="1730"/>
                </a:lnTo>
                <a:lnTo>
                  <a:pt x="4506" y="1756"/>
                </a:lnTo>
                <a:lnTo>
                  <a:pt x="4504" y="1780"/>
                </a:lnTo>
                <a:lnTo>
                  <a:pt x="4503" y="1792"/>
                </a:lnTo>
                <a:lnTo>
                  <a:pt x="4501" y="1802"/>
                </a:lnTo>
                <a:lnTo>
                  <a:pt x="4499" y="1814"/>
                </a:lnTo>
                <a:lnTo>
                  <a:pt x="4497" y="1824"/>
                </a:lnTo>
                <a:lnTo>
                  <a:pt x="4494" y="1834"/>
                </a:lnTo>
                <a:lnTo>
                  <a:pt x="4492" y="1844"/>
                </a:lnTo>
                <a:lnTo>
                  <a:pt x="4485" y="1862"/>
                </a:lnTo>
                <a:lnTo>
                  <a:pt x="4482" y="1870"/>
                </a:lnTo>
                <a:lnTo>
                  <a:pt x="4478" y="1880"/>
                </a:lnTo>
                <a:lnTo>
                  <a:pt x="4470" y="1894"/>
                </a:lnTo>
                <a:lnTo>
                  <a:pt x="4465" y="1902"/>
                </a:lnTo>
                <a:lnTo>
                  <a:pt x="4460" y="1908"/>
                </a:lnTo>
                <a:lnTo>
                  <a:pt x="4455" y="1914"/>
                </a:lnTo>
                <a:lnTo>
                  <a:pt x="4450" y="1920"/>
                </a:lnTo>
                <a:lnTo>
                  <a:pt x="4439" y="1930"/>
                </a:lnTo>
                <a:lnTo>
                  <a:pt x="4427" y="1938"/>
                </a:lnTo>
                <a:lnTo>
                  <a:pt x="4414" y="1946"/>
                </a:lnTo>
                <a:lnTo>
                  <a:pt x="4400" y="1950"/>
                </a:lnTo>
                <a:lnTo>
                  <a:pt x="4393" y="1952"/>
                </a:lnTo>
                <a:lnTo>
                  <a:pt x="4386" y="1952"/>
                </a:lnTo>
                <a:lnTo>
                  <a:pt x="4370" y="19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F5A17A4-EA2D-AFFF-38DF-9699B925DC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98587" y="4797152"/>
            <a:ext cx="9793263" cy="1296144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Yhteystiedot</a:t>
            </a:r>
          </a:p>
        </p:txBody>
      </p:sp>
    </p:spTree>
    <p:extLst>
      <p:ext uri="{BB962C8B-B14F-4D97-AF65-F5344CB8AC3E}">
        <p14:creationId xmlns:p14="http://schemas.microsoft.com/office/powerpoint/2010/main" val="16847499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6924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iitos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89437-0A9F-6907-E834-ECE3DB6251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00150" y="2060575"/>
            <a:ext cx="9791700" cy="2592561"/>
          </a:xfrm>
        </p:spPr>
        <p:txBody>
          <a:bodyPr anchor="b" anchorCtr="0"/>
          <a:lstStyle>
            <a:lvl1pPr algn="l">
              <a:defRPr sz="80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Lisää kiitos viesti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98F4D-E89B-8263-EB37-8F8B305D4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68255AF-C412-46D4-B4A2-4ECF3B16816B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B5C31-D7B7-0A4A-9FF1-A8910751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9B765-A518-625F-2D82-59131FF13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CD5646D-347F-0693-85B7-82EEFAEE1F7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07368" y="333375"/>
            <a:ext cx="2325003" cy="504000"/>
          </a:xfrm>
          <a:custGeom>
            <a:avLst/>
            <a:gdLst>
              <a:gd name="T0" fmla="*/ 11 w 4507"/>
              <a:gd name="T1" fmla="*/ 18 h 1954"/>
              <a:gd name="T2" fmla="*/ 659 w 4507"/>
              <a:gd name="T3" fmla="*/ 297 h 1954"/>
              <a:gd name="T4" fmla="*/ 666 w 4507"/>
              <a:gd name="T5" fmla="*/ 916 h 1954"/>
              <a:gd name="T6" fmla="*/ 347 w 4507"/>
              <a:gd name="T7" fmla="*/ 880 h 1954"/>
              <a:gd name="T8" fmla="*/ 471 w 4507"/>
              <a:gd name="T9" fmla="*/ 675 h 1954"/>
              <a:gd name="T10" fmla="*/ 375 w 4507"/>
              <a:gd name="T11" fmla="*/ 401 h 1954"/>
              <a:gd name="T12" fmla="*/ 1722 w 4507"/>
              <a:gd name="T13" fmla="*/ 26 h 1954"/>
              <a:gd name="T14" fmla="*/ 1804 w 4507"/>
              <a:gd name="T15" fmla="*/ 309 h 1954"/>
              <a:gd name="T16" fmla="*/ 1741 w 4507"/>
              <a:gd name="T17" fmla="*/ 269 h 1954"/>
              <a:gd name="T18" fmla="*/ 1854 w 4507"/>
              <a:gd name="T19" fmla="*/ 788 h 1954"/>
              <a:gd name="T20" fmla="*/ 2410 w 4507"/>
              <a:gd name="T21" fmla="*/ 18 h 1954"/>
              <a:gd name="T22" fmla="*/ 3053 w 4507"/>
              <a:gd name="T23" fmla="*/ 553 h 1954"/>
              <a:gd name="T24" fmla="*/ 3419 w 4507"/>
              <a:gd name="T25" fmla="*/ 539 h 1954"/>
              <a:gd name="T26" fmla="*/ 3595 w 4507"/>
              <a:gd name="T27" fmla="*/ 659 h 1954"/>
              <a:gd name="T28" fmla="*/ 3699 w 4507"/>
              <a:gd name="T29" fmla="*/ 697 h 1954"/>
              <a:gd name="T30" fmla="*/ 3842 w 4507"/>
              <a:gd name="T31" fmla="*/ 595 h 1954"/>
              <a:gd name="T32" fmla="*/ 3700 w 4507"/>
              <a:gd name="T33" fmla="*/ 806 h 1954"/>
              <a:gd name="T34" fmla="*/ 3943 w 4507"/>
              <a:gd name="T35" fmla="*/ 725 h 1954"/>
              <a:gd name="T36" fmla="*/ 4018 w 4507"/>
              <a:gd name="T37" fmla="*/ 689 h 1954"/>
              <a:gd name="T38" fmla="*/ 4124 w 4507"/>
              <a:gd name="T39" fmla="*/ 581 h 1954"/>
              <a:gd name="T40" fmla="*/ 3931 w 4507"/>
              <a:gd name="T41" fmla="*/ 269 h 1954"/>
              <a:gd name="T42" fmla="*/ 4017 w 4507"/>
              <a:gd name="T43" fmla="*/ 6 h 1954"/>
              <a:gd name="T44" fmla="*/ 4117 w 4507"/>
              <a:gd name="T45" fmla="*/ 228 h 1954"/>
              <a:gd name="T46" fmla="*/ 4005 w 4507"/>
              <a:gd name="T47" fmla="*/ 134 h 1954"/>
              <a:gd name="T48" fmla="*/ 4123 w 4507"/>
              <a:gd name="T49" fmla="*/ 383 h 1954"/>
              <a:gd name="T50" fmla="*/ 4174 w 4507"/>
              <a:gd name="T51" fmla="*/ 697 h 1954"/>
              <a:gd name="T52" fmla="*/ 1767 w 4507"/>
              <a:gd name="T53" fmla="*/ 1273 h 1954"/>
              <a:gd name="T54" fmla="*/ 2197 w 4507"/>
              <a:gd name="T55" fmla="*/ 1926 h 1954"/>
              <a:gd name="T56" fmla="*/ 2114 w 4507"/>
              <a:gd name="T57" fmla="*/ 1551 h 1954"/>
              <a:gd name="T58" fmla="*/ 2226 w 4507"/>
              <a:gd name="T59" fmla="*/ 1156 h 1954"/>
              <a:gd name="T60" fmla="*/ 2385 w 4507"/>
              <a:gd name="T61" fmla="*/ 1313 h 1954"/>
              <a:gd name="T62" fmla="*/ 2373 w 4507"/>
              <a:gd name="T63" fmla="*/ 1834 h 1954"/>
              <a:gd name="T64" fmla="*/ 2227 w 4507"/>
              <a:gd name="T65" fmla="*/ 1271 h 1954"/>
              <a:gd name="T66" fmla="*/ 2192 w 4507"/>
              <a:gd name="T67" fmla="*/ 1738 h 1954"/>
              <a:gd name="T68" fmla="*/ 2323 w 4507"/>
              <a:gd name="T69" fmla="*/ 1760 h 1954"/>
              <a:gd name="T70" fmla="*/ 2273 w 4507"/>
              <a:gd name="T71" fmla="*/ 1259 h 1954"/>
              <a:gd name="T72" fmla="*/ 3321 w 4507"/>
              <a:gd name="T73" fmla="*/ 1954 h 1954"/>
              <a:gd name="T74" fmla="*/ 3265 w 4507"/>
              <a:gd name="T75" fmla="*/ 1693 h 1954"/>
              <a:gd name="T76" fmla="*/ 3380 w 4507"/>
              <a:gd name="T77" fmla="*/ 1832 h 1954"/>
              <a:gd name="T78" fmla="*/ 3369 w 4507"/>
              <a:gd name="T79" fmla="*/ 1625 h 1954"/>
              <a:gd name="T80" fmla="*/ 3218 w 4507"/>
              <a:gd name="T81" fmla="*/ 1279 h 1954"/>
              <a:gd name="T82" fmla="*/ 3426 w 4507"/>
              <a:gd name="T83" fmla="*/ 1198 h 1954"/>
              <a:gd name="T84" fmla="*/ 3370 w 4507"/>
              <a:gd name="T85" fmla="*/ 1265 h 1954"/>
              <a:gd name="T86" fmla="*/ 3279 w 4507"/>
              <a:gd name="T87" fmla="*/ 1379 h 1954"/>
              <a:gd name="T88" fmla="*/ 3471 w 4507"/>
              <a:gd name="T89" fmla="*/ 1675 h 1954"/>
              <a:gd name="T90" fmla="*/ 3381 w 4507"/>
              <a:gd name="T91" fmla="*/ 1946 h 1954"/>
              <a:gd name="T92" fmla="*/ 3620 w 4507"/>
              <a:gd name="T93" fmla="*/ 1772 h 1954"/>
              <a:gd name="T94" fmla="*/ 3736 w 4507"/>
              <a:gd name="T95" fmla="*/ 1772 h 1954"/>
              <a:gd name="T96" fmla="*/ 3756 w 4507"/>
              <a:gd name="T97" fmla="*/ 1914 h 1954"/>
              <a:gd name="T98" fmla="*/ 3915 w 4507"/>
              <a:gd name="T99" fmla="*/ 1828 h 1954"/>
              <a:gd name="T100" fmla="*/ 4005 w 4507"/>
              <a:gd name="T101" fmla="*/ 1838 h 1954"/>
              <a:gd name="T102" fmla="*/ 4160 w 4507"/>
              <a:gd name="T103" fmla="*/ 1697 h 1954"/>
              <a:gd name="T104" fmla="*/ 4039 w 4507"/>
              <a:gd name="T105" fmla="*/ 1954 h 1954"/>
              <a:gd name="T106" fmla="*/ 4268 w 4507"/>
              <a:gd name="T107" fmla="*/ 1888 h 1954"/>
              <a:gd name="T108" fmla="*/ 4324 w 4507"/>
              <a:gd name="T109" fmla="*/ 1824 h 1954"/>
              <a:gd name="T110" fmla="*/ 4442 w 4507"/>
              <a:gd name="T111" fmla="*/ 1752 h 1954"/>
              <a:gd name="T112" fmla="*/ 4255 w 4507"/>
              <a:gd name="T113" fmla="*/ 1447 h 1954"/>
              <a:gd name="T114" fmla="*/ 4311 w 4507"/>
              <a:gd name="T115" fmla="*/ 1166 h 1954"/>
              <a:gd name="T116" fmla="*/ 4497 w 4507"/>
              <a:gd name="T117" fmla="*/ 1331 h 1954"/>
              <a:gd name="T118" fmla="*/ 4336 w 4507"/>
              <a:gd name="T119" fmla="*/ 1267 h 1954"/>
              <a:gd name="T120" fmla="*/ 4359 w 4507"/>
              <a:gd name="T121" fmla="*/ 1457 h 1954"/>
              <a:gd name="T122" fmla="*/ 4499 w 4507"/>
              <a:gd name="T123" fmla="*/ 1814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507" h="1954">
                <a:moveTo>
                  <a:pt x="4307" y="327"/>
                </a:moveTo>
                <a:lnTo>
                  <a:pt x="4377" y="327"/>
                </a:lnTo>
                <a:lnTo>
                  <a:pt x="4377" y="463"/>
                </a:lnTo>
                <a:lnTo>
                  <a:pt x="4307" y="463"/>
                </a:lnTo>
                <a:lnTo>
                  <a:pt x="4307" y="327"/>
                </a:lnTo>
                <a:close/>
                <a:moveTo>
                  <a:pt x="1248" y="18"/>
                </a:moveTo>
                <a:lnTo>
                  <a:pt x="1248" y="473"/>
                </a:lnTo>
                <a:lnTo>
                  <a:pt x="1051" y="473"/>
                </a:lnTo>
                <a:lnTo>
                  <a:pt x="1051" y="1936"/>
                </a:lnTo>
                <a:lnTo>
                  <a:pt x="821" y="1936"/>
                </a:lnTo>
                <a:lnTo>
                  <a:pt x="821" y="473"/>
                </a:lnTo>
                <a:lnTo>
                  <a:pt x="655" y="18"/>
                </a:lnTo>
                <a:lnTo>
                  <a:pt x="1248" y="18"/>
                </a:lnTo>
                <a:close/>
                <a:moveTo>
                  <a:pt x="0" y="1481"/>
                </a:moveTo>
                <a:lnTo>
                  <a:pt x="230" y="1481"/>
                </a:lnTo>
                <a:lnTo>
                  <a:pt x="230" y="1936"/>
                </a:lnTo>
                <a:lnTo>
                  <a:pt x="0" y="1936"/>
                </a:lnTo>
                <a:lnTo>
                  <a:pt x="0" y="1481"/>
                </a:lnTo>
                <a:close/>
                <a:moveTo>
                  <a:pt x="487" y="1186"/>
                </a:moveTo>
                <a:lnTo>
                  <a:pt x="752" y="1936"/>
                </a:lnTo>
                <a:lnTo>
                  <a:pt x="495" y="1936"/>
                </a:lnTo>
                <a:lnTo>
                  <a:pt x="11" y="559"/>
                </a:lnTo>
                <a:lnTo>
                  <a:pt x="11" y="18"/>
                </a:lnTo>
                <a:lnTo>
                  <a:pt x="309" y="18"/>
                </a:lnTo>
                <a:lnTo>
                  <a:pt x="335" y="18"/>
                </a:lnTo>
                <a:lnTo>
                  <a:pt x="359" y="20"/>
                </a:lnTo>
                <a:lnTo>
                  <a:pt x="382" y="24"/>
                </a:lnTo>
                <a:lnTo>
                  <a:pt x="404" y="30"/>
                </a:lnTo>
                <a:lnTo>
                  <a:pt x="426" y="36"/>
                </a:lnTo>
                <a:lnTo>
                  <a:pt x="447" y="44"/>
                </a:lnTo>
                <a:lnTo>
                  <a:pt x="467" y="52"/>
                </a:lnTo>
                <a:lnTo>
                  <a:pt x="476" y="58"/>
                </a:lnTo>
                <a:lnTo>
                  <a:pt x="486" y="62"/>
                </a:lnTo>
                <a:lnTo>
                  <a:pt x="504" y="74"/>
                </a:lnTo>
                <a:lnTo>
                  <a:pt x="521" y="88"/>
                </a:lnTo>
                <a:lnTo>
                  <a:pt x="538" y="102"/>
                </a:lnTo>
                <a:lnTo>
                  <a:pt x="553" y="116"/>
                </a:lnTo>
                <a:lnTo>
                  <a:pt x="569" y="132"/>
                </a:lnTo>
                <a:lnTo>
                  <a:pt x="583" y="150"/>
                </a:lnTo>
                <a:lnTo>
                  <a:pt x="596" y="168"/>
                </a:lnTo>
                <a:lnTo>
                  <a:pt x="609" y="188"/>
                </a:lnTo>
                <a:lnTo>
                  <a:pt x="620" y="208"/>
                </a:lnTo>
                <a:lnTo>
                  <a:pt x="631" y="230"/>
                </a:lnTo>
                <a:lnTo>
                  <a:pt x="641" y="251"/>
                </a:lnTo>
                <a:lnTo>
                  <a:pt x="650" y="273"/>
                </a:lnTo>
                <a:lnTo>
                  <a:pt x="659" y="297"/>
                </a:lnTo>
                <a:lnTo>
                  <a:pt x="666" y="323"/>
                </a:lnTo>
                <a:lnTo>
                  <a:pt x="673" y="349"/>
                </a:lnTo>
                <a:lnTo>
                  <a:pt x="680" y="375"/>
                </a:lnTo>
                <a:lnTo>
                  <a:pt x="685" y="401"/>
                </a:lnTo>
                <a:lnTo>
                  <a:pt x="690" y="429"/>
                </a:lnTo>
                <a:lnTo>
                  <a:pt x="694" y="459"/>
                </a:lnTo>
                <a:lnTo>
                  <a:pt x="697" y="487"/>
                </a:lnTo>
                <a:lnTo>
                  <a:pt x="699" y="517"/>
                </a:lnTo>
                <a:lnTo>
                  <a:pt x="701" y="547"/>
                </a:lnTo>
                <a:lnTo>
                  <a:pt x="702" y="579"/>
                </a:lnTo>
                <a:lnTo>
                  <a:pt x="703" y="611"/>
                </a:lnTo>
                <a:lnTo>
                  <a:pt x="702" y="661"/>
                </a:lnTo>
                <a:lnTo>
                  <a:pt x="701" y="687"/>
                </a:lnTo>
                <a:lnTo>
                  <a:pt x="699" y="711"/>
                </a:lnTo>
                <a:lnTo>
                  <a:pt x="697" y="735"/>
                </a:lnTo>
                <a:lnTo>
                  <a:pt x="695" y="758"/>
                </a:lnTo>
                <a:lnTo>
                  <a:pt x="692" y="782"/>
                </a:lnTo>
                <a:lnTo>
                  <a:pt x="689" y="806"/>
                </a:lnTo>
                <a:lnTo>
                  <a:pt x="685" y="830"/>
                </a:lnTo>
                <a:lnTo>
                  <a:pt x="681" y="852"/>
                </a:lnTo>
                <a:lnTo>
                  <a:pt x="677" y="874"/>
                </a:lnTo>
                <a:lnTo>
                  <a:pt x="672" y="896"/>
                </a:lnTo>
                <a:lnTo>
                  <a:pt x="666" y="916"/>
                </a:lnTo>
                <a:lnTo>
                  <a:pt x="661" y="938"/>
                </a:lnTo>
                <a:lnTo>
                  <a:pt x="655" y="958"/>
                </a:lnTo>
                <a:lnTo>
                  <a:pt x="648" y="976"/>
                </a:lnTo>
                <a:lnTo>
                  <a:pt x="641" y="996"/>
                </a:lnTo>
                <a:lnTo>
                  <a:pt x="634" y="1014"/>
                </a:lnTo>
                <a:lnTo>
                  <a:pt x="626" y="1030"/>
                </a:lnTo>
                <a:lnTo>
                  <a:pt x="618" y="1048"/>
                </a:lnTo>
                <a:lnTo>
                  <a:pt x="609" y="1064"/>
                </a:lnTo>
                <a:lnTo>
                  <a:pt x="600" y="1080"/>
                </a:lnTo>
                <a:lnTo>
                  <a:pt x="591" y="1094"/>
                </a:lnTo>
                <a:lnTo>
                  <a:pt x="581" y="1108"/>
                </a:lnTo>
                <a:lnTo>
                  <a:pt x="571" y="1120"/>
                </a:lnTo>
                <a:lnTo>
                  <a:pt x="559" y="1132"/>
                </a:lnTo>
                <a:lnTo>
                  <a:pt x="548" y="1144"/>
                </a:lnTo>
                <a:lnTo>
                  <a:pt x="537" y="1154"/>
                </a:lnTo>
                <a:lnTo>
                  <a:pt x="525" y="1164"/>
                </a:lnTo>
                <a:lnTo>
                  <a:pt x="513" y="1172"/>
                </a:lnTo>
                <a:lnTo>
                  <a:pt x="500" y="1180"/>
                </a:lnTo>
                <a:lnTo>
                  <a:pt x="487" y="1186"/>
                </a:lnTo>
                <a:close/>
                <a:moveTo>
                  <a:pt x="239" y="391"/>
                </a:moveTo>
                <a:lnTo>
                  <a:pt x="239" y="880"/>
                </a:lnTo>
                <a:lnTo>
                  <a:pt x="337" y="880"/>
                </a:lnTo>
                <a:lnTo>
                  <a:pt x="347" y="880"/>
                </a:lnTo>
                <a:lnTo>
                  <a:pt x="357" y="880"/>
                </a:lnTo>
                <a:lnTo>
                  <a:pt x="367" y="878"/>
                </a:lnTo>
                <a:lnTo>
                  <a:pt x="376" y="874"/>
                </a:lnTo>
                <a:lnTo>
                  <a:pt x="384" y="872"/>
                </a:lnTo>
                <a:lnTo>
                  <a:pt x="392" y="868"/>
                </a:lnTo>
                <a:lnTo>
                  <a:pt x="400" y="862"/>
                </a:lnTo>
                <a:lnTo>
                  <a:pt x="407" y="858"/>
                </a:lnTo>
                <a:lnTo>
                  <a:pt x="413" y="852"/>
                </a:lnTo>
                <a:lnTo>
                  <a:pt x="419" y="844"/>
                </a:lnTo>
                <a:lnTo>
                  <a:pt x="425" y="838"/>
                </a:lnTo>
                <a:lnTo>
                  <a:pt x="430" y="830"/>
                </a:lnTo>
                <a:lnTo>
                  <a:pt x="435" y="822"/>
                </a:lnTo>
                <a:lnTo>
                  <a:pt x="440" y="814"/>
                </a:lnTo>
                <a:lnTo>
                  <a:pt x="444" y="806"/>
                </a:lnTo>
                <a:lnTo>
                  <a:pt x="448" y="796"/>
                </a:lnTo>
                <a:lnTo>
                  <a:pt x="451" y="788"/>
                </a:lnTo>
                <a:lnTo>
                  <a:pt x="454" y="778"/>
                </a:lnTo>
                <a:lnTo>
                  <a:pt x="457" y="768"/>
                </a:lnTo>
                <a:lnTo>
                  <a:pt x="460" y="758"/>
                </a:lnTo>
                <a:lnTo>
                  <a:pt x="464" y="738"/>
                </a:lnTo>
                <a:lnTo>
                  <a:pt x="467" y="717"/>
                </a:lnTo>
                <a:lnTo>
                  <a:pt x="470" y="697"/>
                </a:lnTo>
                <a:lnTo>
                  <a:pt x="471" y="675"/>
                </a:lnTo>
                <a:lnTo>
                  <a:pt x="472" y="655"/>
                </a:lnTo>
                <a:lnTo>
                  <a:pt x="472" y="635"/>
                </a:lnTo>
                <a:lnTo>
                  <a:pt x="472" y="615"/>
                </a:lnTo>
                <a:lnTo>
                  <a:pt x="470" y="593"/>
                </a:lnTo>
                <a:lnTo>
                  <a:pt x="468" y="573"/>
                </a:lnTo>
                <a:lnTo>
                  <a:pt x="464" y="551"/>
                </a:lnTo>
                <a:lnTo>
                  <a:pt x="462" y="541"/>
                </a:lnTo>
                <a:lnTo>
                  <a:pt x="459" y="531"/>
                </a:lnTo>
                <a:lnTo>
                  <a:pt x="457" y="521"/>
                </a:lnTo>
                <a:lnTo>
                  <a:pt x="454" y="511"/>
                </a:lnTo>
                <a:lnTo>
                  <a:pt x="447" y="491"/>
                </a:lnTo>
                <a:lnTo>
                  <a:pt x="443" y="483"/>
                </a:lnTo>
                <a:lnTo>
                  <a:pt x="439" y="473"/>
                </a:lnTo>
                <a:lnTo>
                  <a:pt x="435" y="465"/>
                </a:lnTo>
                <a:lnTo>
                  <a:pt x="430" y="457"/>
                </a:lnTo>
                <a:lnTo>
                  <a:pt x="420" y="441"/>
                </a:lnTo>
                <a:lnTo>
                  <a:pt x="414" y="433"/>
                </a:lnTo>
                <a:lnTo>
                  <a:pt x="408" y="427"/>
                </a:lnTo>
                <a:lnTo>
                  <a:pt x="402" y="421"/>
                </a:lnTo>
                <a:lnTo>
                  <a:pt x="396" y="415"/>
                </a:lnTo>
                <a:lnTo>
                  <a:pt x="389" y="409"/>
                </a:lnTo>
                <a:lnTo>
                  <a:pt x="382" y="405"/>
                </a:lnTo>
                <a:lnTo>
                  <a:pt x="375" y="401"/>
                </a:lnTo>
                <a:lnTo>
                  <a:pt x="367" y="397"/>
                </a:lnTo>
                <a:lnTo>
                  <a:pt x="359" y="395"/>
                </a:lnTo>
                <a:lnTo>
                  <a:pt x="351" y="393"/>
                </a:lnTo>
                <a:lnTo>
                  <a:pt x="333" y="391"/>
                </a:lnTo>
                <a:lnTo>
                  <a:pt x="239" y="391"/>
                </a:lnTo>
                <a:close/>
                <a:moveTo>
                  <a:pt x="1780" y="395"/>
                </a:moveTo>
                <a:lnTo>
                  <a:pt x="1776" y="403"/>
                </a:lnTo>
                <a:lnTo>
                  <a:pt x="1772" y="411"/>
                </a:lnTo>
                <a:lnTo>
                  <a:pt x="1763" y="423"/>
                </a:lnTo>
                <a:lnTo>
                  <a:pt x="1754" y="433"/>
                </a:lnTo>
                <a:lnTo>
                  <a:pt x="1743" y="443"/>
                </a:lnTo>
                <a:lnTo>
                  <a:pt x="1814" y="788"/>
                </a:lnTo>
                <a:lnTo>
                  <a:pt x="1742" y="788"/>
                </a:lnTo>
                <a:lnTo>
                  <a:pt x="1683" y="465"/>
                </a:lnTo>
                <a:lnTo>
                  <a:pt x="1607" y="465"/>
                </a:lnTo>
                <a:lnTo>
                  <a:pt x="1607" y="788"/>
                </a:lnTo>
                <a:lnTo>
                  <a:pt x="1543" y="788"/>
                </a:lnTo>
                <a:lnTo>
                  <a:pt x="1543" y="18"/>
                </a:lnTo>
                <a:lnTo>
                  <a:pt x="1681" y="18"/>
                </a:lnTo>
                <a:lnTo>
                  <a:pt x="1696" y="18"/>
                </a:lnTo>
                <a:lnTo>
                  <a:pt x="1703" y="20"/>
                </a:lnTo>
                <a:lnTo>
                  <a:pt x="1710" y="22"/>
                </a:lnTo>
                <a:lnTo>
                  <a:pt x="1722" y="26"/>
                </a:lnTo>
                <a:lnTo>
                  <a:pt x="1734" y="32"/>
                </a:lnTo>
                <a:lnTo>
                  <a:pt x="1745" y="40"/>
                </a:lnTo>
                <a:lnTo>
                  <a:pt x="1755" y="50"/>
                </a:lnTo>
                <a:lnTo>
                  <a:pt x="1765" y="62"/>
                </a:lnTo>
                <a:lnTo>
                  <a:pt x="1769" y="68"/>
                </a:lnTo>
                <a:lnTo>
                  <a:pt x="1773" y="76"/>
                </a:lnTo>
                <a:lnTo>
                  <a:pt x="1781" y="92"/>
                </a:lnTo>
                <a:lnTo>
                  <a:pt x="1788" y="108"/>
                </a:lnTo>
                <a:lnTo>
                  <a:pt x="1791" y="118"/>
                </a:lnTo>
                <a:lnTo>
                  <a:pt x="1794" y="126"/>
                </a:lnTo>
                <a:lnTo>
                  <a:pt x="1799" y="146"/>
                </a:lnTo>
                <a:lnTo>
                  <a:pt x="1803" y="168"/>
                </a:lnTo>
                <a:lnTo>
                  <a:pt x="1805" y="178"/>
                </a:lnTo>
                <a:lnTo>
                  <a:pt x="1806" y="190"/>
                </a:lnTo>
                <a:lnTo>
                  <a:pt x="1807" y="200"/>
                </a:lnTo>
                <a:lnTo>
                  <a:pt x="1808" y="212"/>
                </a:lnTo>
                <a:lnTo>
                  <a:pt x="1808" y="224"/>
                </a:lnTo>
                <a:lnTo>
                  <a:pt x="1808" y="236"/>
                </a:lnTo>
                <a:lnTo>
                  <a:pt x="1808" y="263"/>
                </a:lnTo>
                <a:lnTo>
                  <a:pt x="1807" y="275"/>
                </a:lnTo>
                <a:lnTo>
                  <a:pt x="1806" y="287"/>
                </a:lnTo>
                <a:lnTo>
                  <a:pt x="1805" y="299"/>
                </a:lnTo>
                <a:lnTo>
                  <a:pt x="1804" y="309"/>
                </a:lnTo>
                <a:lnTo>
                  <a:pt x="1801" y="331"/>
                </a:lnTo>
                <a:lnTo>
                  <a:pt x="1797" y="349"/>
                </a:lnTo>
                <a:lnTo>
                  <a:pt x="1792" y="367"/>
                </a:lnTo>
                <a:lnTo>
                  <a:pt x="1786" y="381"/>
                </a:lnTo>
                <a:lnTo>
                  <a:pt x="1780" y="395"/>
                </a:lnTo>
                <a:close/>
                <a:moveTo>
                  <a:pt x="1678" y="122"/>
                </a:moveTo>
                <a:lnTo>
                  <a:pt x="1607" y="122"/>
                </a:lnTo>
                <a:lnTo>
                  <a:pt x="1607" y="365"/>
                </a:lnTo>
                <a:lnTo>
                  <a:pt x="1678" y="365"/>
                </a:lnTo>
                <a:lnTo>
                  <a:pt x="1686" y="363"/>
                </a:lnTo>
                <a:lnTo>
                  <a:pt x="1694" y="361"/>
                </a:lnTo>
                <a:lnTo>
                  <a:pt x="1700" y="359"/>
                </a:lnTo>
                <a:lnTo>
                  <a:pt x="1707" y="355"/>
                </a:lnTo>
                <a:lnTo>
                  <a:pt x="1712" y="351"/>
                </a:lnTo>
                <a:lnTo>
                  <a:pt x="1717" y="345"/>
                </a:lnTo>
                <a:lnTo>
                  <a:pt x="1722" y="339"/>
                </a:lnTo>
                <a:lnTo>
                  <a:pt x="1726" y="331"/>
                </a:lnTo>
                <a:lnTo>
                  <a:pt x="1730" y="323"/>
                </a:lnTo>
                <a:lnTo>
                  <a:pt x="1733" y="313"/>
                </a:lnTo>
                <a:lnTo>
                  <a:pt x="1736" y="303"/>
                </a:lnTo>
                <a:lnTo>
                  <a:pt x="1738" y="293"/>
                </a:lnTo>
                <a:lnTo>
                  <a:pt x="1740" y="281"/>
                </a:lnTo>
                <a:lnTo>
                  <a:pt x="1741" y="269"/>
                </a:lnTo>
                <a:lnTo>
                  <a:pt x="1742" y="257"/>
                </a:lnTo>
                <a:lnTo>
                  <a:pt x="1742" y="244"/>
                </a:lnTo>
                <a:lnTo>
                  <a:pt x="1742" y="230"/>
                </a:lnTo>
                <a:lnTo>
                  <a:pt x="1742" y="218"/>
                </a:lnTo>
                <a:lnTo>
                  <a:pt x="1740" y="206"/>
                </a:lnTo>
                <a:lnTo>
                  <a:pt x="1739" y="194"/>
                </a:lnTo>
                <a:lnTo>
                  <a:pt x="1737" y="184"/>
                </a:lnTo>
                <a:lnTo>
                  <a:pt x="1734" y="174"/>
                </a:lnTo>
                <a:lnTo>
                  <a:pt x="1731" y="164"/>
                </a:lnTo>
                <a:lnTo>
                  <a:pt x="1728" y="156"/>
                </a:lnTo>
                <a:lnTo>
                  <a:pt x="1723" y="148"/>
                </a:lnTo>
                <a:lnTo>
                  <a:pt x="1719" y="142"/>
                </a:lnTo>
                <a:lnTo>
                  <a:pt x="1713" y="136"/>
                </a:lnTo>
                <a:lnTo>
                  <a:pt x="1708" y="132"/>
                </a:lnTo>
                <a:lnTo>
                  <a:pt x="1701" y="128"/>
                </a:lnTo>
                <a:lnTo>
                  <a:pt x="1694" y="124"/>
                </a:lnTo>
                <a:lnTo>
                  <a:pt x="1686" y="122"/>
                </a:lnTo>
                <a:lnTo>
                  <a:pt x="1678" y="122"/>
                </a:lnTo>
                <a:close/>
                <a:moveTo>
                  <a:pt x="2090" y="788"/>
                </a:moveTo>
                <a:lnTo>
                  <a:pt x="2069" y="635"/>
                </a:lnTo>
                <a:lnTo>
                  <a:pt x="1942" y="635"/>
                </a:lnTo>
                <a:lnTo>
                  <a:pt x="1921" y="788"/>
                </a:lnTo>
                <a:lnTo>
                  <a:pt x="1854" y="788"/>
                </a:lnTo>
                <a:lnTo>
                  <a:pt x="1975" y="18"/>
                </a:lnTo>
                <a:lnTo>
                  <a:pt x="2037" y="18"/>
                </a:lnTo>
                <a:lnTo>
                  <a:pt x="2160" y="788"/>
                </a:lnTo>
                <a:lnTo>
                  <a:pt x="2090" y="788"/>
                </a:lnTo>
                <a:close/>
                <a:moveTo>
                  <a:pt x="2026" y="323"/>
                </a:moveTo>
                <a:lnTo>
                  <a:pt x="2015" y="250"/>
                </a:lnTo>
                <a:lnTo>
                  <a:pt x="2010" y="210"/>
                </a:lnTo>
                <a:lnTo>
                  <a:pt x="2006" y="170"/>
                </a:lnTo>
                <a:lnTo>
                  <a:pt x="2001" y="210"/>
                </a:lnTo>
                <a:lnTo>
                  <a:pt x="1996" y="250"/>
                </a:lnTo>
                <a:lnTo>
                  <a:pt x="1986" y="325"/>
                </a:lnTo>
                <a:lnTo>
                  <a:pt x="1957" y="529"/>
                </a:lnTo>
                <a:lnTo>
                  <a:pt x="2053" y="529"/>
                </a:lnTo>
                <a:lnTo>
                  <a:pt x="2026" y="323"/>
                </a:lnTo>
                <a:close/>
                <a:moveTo>
                  <a:pt x="2419" y="788"/>
                </a:moveTo>
                <a:lnTo>
                  <a:pt x="2323" y="431"/>
                </a:lnTo>
                <a:lnTo>
                  <a:pt x="2285" y="527"/>
                </a:lnTo>
                <a:lnTo>
                  <a:pt x="2285" y="788"/>
                </a:lnTo>
                <a:lnTo>
                  <a:pt x="2220" y="788"/>
                </a:lnTo>
                <a:lnTo>
                  <a:pt x="2220" y="18"/>
                </a:lnTo>
                <a:lnTo>
                  <a:pt x="2285" y="18"/>
                </a:lnTo>
                <a:lnTo>
                  <a:pt x="2285" y="347"/>
                </a:lnTo>
                <a:lnTo>
                  <a:pt x="2410" y="18"/>
                </a:lnTo>
                <a:lnTo>
                  <a:pt x="2492" y="18"/>
                </a:lnTo>
                <a:lnTo>
                  <a:pt x="2363" y="333"/>
                </a:lnTo>
                <a:lnTo>
                  <a:pt x="2498" y="788"/>
                </a:lnTo>
                <a:lnTo>
                  <a:pt x="2419" y="788"/>
                </a:lnTo>
                <a:close/>
                <a:moveTo>
                  <a:pt x="2558" y="788"/>
                </a:moveTo>
                <a:lnTo>
                  <a:pt x="2558" y="18"/>
                </a:lnTo>
                <a:lnTo>
                  <a:pt x="2786" y="18"/>
                </a:lnTo>
                <a:lnTo>
                  <a:pt x="2786" y="126"/>
                </a:lnTo>
                <a:lnTo>
                  <a:pt x="2623" y="126"/>
                </a:lnTo>
                <a:lnTo>
                  <a:pt x="2623" y="341"/>
                </a:lnTo>
                <a:lnTo>
                  <a:pt x="2756" y="341"/>
                </a:lnTo>
                <a:lnTo>
                  <a:pt x="2756" y="445"/>
                </a:lnTo>
                <a:lnTo>
                  <a:pt x="2623" y="445"/>
                </a:lnTo>
                <a:lnTo>
                  <a:pt x="2623" y="683"/>
                </a:lnTo>
                <a:lnTo>
                  <a:pt x="2786" y="683"/>
                </a:lnTo>
                <a:lnTo>
                  <a:pt x="2786" y="788"/>
                </a:lnTo>
                <a:lnTo>
                  <a:pt x="2558" y="788"/>
                </a:lnTo>
                <a:close/>
                <a:moveTo>
                  <a:pt x="2939" y="18"/>
                </a:moveTo>
                <a:lnTo>
                  <a:pt x="3030" y="439"/>
                </a:lnTo>
                <a:lnTo>
                  <a:pt x="3038" y="477"/>
                </a:lnTo>
                <a:lnTo>
                  <a:pt x="3042" y="495"/>
                </a:lnTo>
                <a:lnTo>
                  <a:pt x="3046" y="515"/>
                </a:lnTo>
                <a:lnTo>
                  <a:pt x="3053" y="553"/>
                </a:lnTo>
                <a:lnTo>
                  <a:pt x="3060" y="595"/>
                </a:lnTo>
                <a:lnTo>
                  <a:pt x="3060" y="509"/>
                </a:lnTo>
                <a:lnTo>
                  <a:pt x="3059" y="421"/>
                </a:lnTo>
                <a:lnTo>
                  <a:pt x="3059" y="18"/>
                </a:lnTo>
                <a:lnTo>
                  <a:pt x="3124" y="18"/>
                </a:lnTo>
                <a:lnTo>
                  <a:pt x="3124" y="788"/>
                </a:lnTo>
                <a:lnTo>
                  <a:pt x="3046" y="788"/>
                </a:lnTo>
                <a:lnTo>
                  <a:pt x="2954" y="369"/>
                </a:lnTo>
                <a:lnTo>
                  <a:pt x="2946" y="331"/>
                </a:lnTo>
                <a:lnTo>
                  <a:pt x="2938" y="293"/>
                </a:lnTo>
                <a:lnTo>
                  <a:pt x="2931" y="255"/>
                </a:lnTo>
                <a:lnTo>
                  <a:pt x="2923" y="214"/>
                </a:lnTo>
                <a:lnTo>
                  <a:pt x="2924" y="389"/>
                </a:lnTo>
                <a:lnTo>
                  <a:pt x="2924" y="790"/>
                </a:lnTo>
                <a:lnTo>
                  <a:pt x="2859" y="790"/>
                </a:lnTo>
                <a:lnTo>
                  <a:pt x="2859" y="18"/>
                </a:lnTo>
                <a:lnTo>
                  <a:pt x="2939" y="18"/>
                </a:lnTo>
                <a:close/>
                <a:moveTo>
                  <a:pt x="3306" y="18"/>
                </a:moveTo>
                <a:lnTo>
                  <a:pt x="3396" y="425"/>
                </a:lnTo>
                <a:lnTo>
                  <a:pt x="3404" y="463"/>
                </a:lnTo>
                <a:lnTo>
                  <a:pt x="3408" y="481"/>
                </a:lnTo>
                <a:lnTo>
                  <a:pt x="3412" y="501"/>
                </a:lnTo>
                <a:lnTo>
                  <a:pt x="3419" y="539"/>
                </a:lnTo>
                <a:lnTo>
                  <a:pt x="3426" y="581"/>
                </a:lnTo>
                <a:lnTo>
                  <a:pt x="3426" y="495"/>
                </a:lnTo>
                <a:lnTo>
                  <a:pt x="3426" y="407"/>
                </a:lnTo>
                <a:lnTo>
                  <a:pt x="3426" y="18"/>
                </a:lnTo>
                <a:lnTo>
                  <a:pt x="3491" y="18"/>
                </a:lnTo>
                <a:lnTo>
                  <a:pt x="3491" y="788"/>
                </a:lnTo>
                <a:lnTo>
                  <a:pt x="3412" y="788"/>
                </a:lnTo>
                <a:lnTo>
                  <a:pt x="3320" y="383"/>
                </a:lnTo>
                <a:lnTo>
                  <a:pt x="3312" y="345"/>
                </a:lnTo>
                <a:lnTo>
                  <a:pt x="3305" y="307"/>
                </a:lnTo>
                <a:lnTo>
                  <a:pt x="3297" y="269"/>
                </a:lnTo>
                <a:lnTo>
                  <a:pt x="3290" y="228"/>
                </a:lnTo>
                <a:lnTo>
                  <a:pt x="3290" y="403"/>
                </a:lnTo>
                <a:lnTo>
                  <a:pt x="3290" y="788"/>
                </a:lnTo>
                <a:lnTo>
                  <a:pt x="3226" y="788"/>
                </a:lnTo>
                <a:lnTo>
                  <a:pt x="3226" y="18"/>
                </a:lnTo>
                <a:lnTo>
                  <a:pt x="3306" y="18"/>
                </a:lnTo>
                <a:close/>
                <a:moveTo>
                  <a:pt x="3618" y="735"/>
                </a:moveTo>
                <a:lnTo>
                  <a:pt x="3611" y="719"/>
                </a:lnTo>
                <a:lnTo>
                  <a:pt x="3605" y="701"/>
                </a:lnTo>
                <a:lnTo>
                  <a:pt x="3599" y="681"/>
                </a:lnTo>
                <a:lnTo>
                  <a:pt x="3597" y="669"/>
                </a:lnTo>
                <a:lnTo>
                  <a:pt x="3595" y="659"/>
                </a:lnTo>
                <a:lnTo>
                  <a:pt x="3591" y="635"/>
                </a:lnTo>
                <a:lnTo>
                  <a:pt x="3589" y="609"/>
                </a:lnTo>
                <a:lnTo>
                  <a:pt x="3588" y="595"/>
                </a:lnTo>
                <a:lnTo>
                  <a:pt x="3587" y="581"/>
                </a:lnTo>
                <a:lnTo>
                  <a:pt x="3587" y="549"/>
                </a:lnTo>
                <a:lnTo>
                  <a:pt x="3587" y="18"/>
                </a:lnTo>
                <a:lnTo>
                  <a:pt x="3652" y="18"/>
                </a:lnTo>
                <a:lnTo>
                  <a:pt x="3652" y="543"/>
                </a:lnTo>
                <a:lnTo>
                  <a:pt x="3652" y="563"/>
                </a:lnTo>
                <a:lnTo>
                  <a:pt x="3652" y="581"/>
                </a:lnTo>
                <a:lnTo>
                  <a:pt x="3653" y="597"/>
                </a:lnTo>
                <a:lnTo>
                  <a:pt x="3655" y="611"/>
                </a:lnTo>
                <a:lnTo>
                  <a:pt x="3657" y="625"/>
                </a:lnTo>
                <a:lnTo>
                  <a:pt x="3659" y="637"/>
                </a:lnTo>
                <a:lnTo>
                  <a:pt x="3662" y="649"/>
                </a:lnTo>
                <a:lnTo>
                  <a:pt x="3665" y="659"/>
                </a:lnTo>
                <a:lnTo>
                  <a:pt x="3669" y="667"/>
                </a:lnTo>
                <a:lnTo>
                  <a:pt x="3674" y="675"/>
                </a:lnTo>
                <a:lnTo>
                  <a:pt x="3679" y="683"/>
                </a:lnTo>
                <a:lnTo>
                  <a:pt x="3685" y="689"/>
                </a:lnTo>
                <a:lnTo>
                  <a:pt x="3688" y="691"/>
                </a:lnTo>
                <a:lnTo>
                  <a:pt x="3692" y="693"/>
                </a:lnTo>
                <a:lnTo>
                  <a:pt x="3699" y="697"/>
                </a:lnTo>
                <a:lnTo>
                  <a:pt x="3706" y="699"/>
                </a:lnTo>
                <a:lnTo>
                  <a:pt x="3715" y="699"/>
                </a:lnTo>
                <a:lnTo>
                  <a:pt x="3723" y="699"/>
                </a:lnTo>
                <a:lnTo>
                  <a:pt x="3731" y="697"/>
                </a:lnTo>
                <a:lnTo>
                  <a:pt x="3738" y="693"/>
                </a:lnTo>
                <a:lnTo>
                  <a:pt x="3744" y="689"/>
                </a:lnTo>
                <a:lnTo>
                  <a:pt x="3750" y="683"/>
                </a:lnTo>
                <a:lnTo>
                  <a:pt x="3755" y="675"/>
                </a:lnTo>
                <a:lnTo>
                  <a:pt x="3760" y="667"/>
                </a:lnTo>
                <a:lnTo>
                  <a:pt x="3764" y="659"/>
                </a:lnTo>
                <a:lnTo>
                  <a:pt x="3768" y="649"/>
                </a:lnTo>
                <a:lnTo>
                  <a:pt x="3770" y="637"/>
                </a:lnTo>
                <a:lnTo>
                  <a:pt x="3773" y="625"/>
                </a:lnTo>
                <a:lnTo>
                  <a:pt x="3775" y="613"/>
                </a:lnTo>
                <a:lnTo>
                  <a:pt x="3776" y="597"/>
                </a:lnTo>
                <a:lnTo>
                  <a:pt x="3777" y="581"/>
                </a:lnTo>
                <a:lnTo>
                  <a:pt x="3778" y="563"/>
                </a:lnTo>
                <a:lnTo>
                  <a:pt x="3778" y="543"/>
                </a:lnTo>
                <a:lnTo>
                  <a:pt x="3778" y="18"/>
                </a:lnTo>
                <a:lnTo>
                  <a:pt x="3843" y="18"/>
                </a:lnTo>
                <a:lnTo>
                  <a:pt x="3843" y="549"/>
                </a:lnTo>
                <a:lnTo>
                  <a:pt x="3843" y="581"/>
                </a:lnTo>
                <a:lnTo>
                  <a:pt x="3842" y="595"/>
                </a:lnTo>
                <a:lnTo>
                  <a:pt x="3841" y="609"/>
                </a:lnTo>
                <a:lnTo>
                  <a:pt x="3838" y="635"/>
                </a:lnTo>
                <a:lnTo>
                  <a:pt x="3835" y="659"/>
                </a:lnTo>
                <a:lnTo>
                  <a:pt x="3833" y="669"/>
                </a:lnTo>
                <a:lnTo>
                  <a:pt x="3830" y="681"/>
                </a:lnTo>
                <a:lnTo>
                  <a:pt x="3825" y="701"/>
                </a:lnTo>
                <a:lnTo>
                  <a:pt x="3822" y="709"/>
                </a:lnTo>
                <a:lnTo>
                  <a:pt x="3819" y="719"/>
                </a:lnTo>
                <a:lnTo>
                  <a:pt x="3815" y="727"/>
                </a:lnTo>
                <a:lnTo>
                  <a:pt x="3812" y="735"/>
                </a:lnTo>
                <a:lnTo>
                  <a:pt x="3807" y="744"/>
                </a:lnTo>
                <a:lnTo>
                  <a:pt x="3802" y="752"/>
                </a:lnTo>
                <a:lnTo>
                  <a:pt x="3792" y="766"/>
                </a:lnTo>
                <a:lnTo>
                  <a:pt x="3781" y="778"/>
                </a:lnTo>
                <a:lnTo>
                  <a:pt x="3775" y="784"/>
                </a:lnTo>
                <a:lnTo>
                  <a:pt x="3769" y="788"/>
                </a:lnTo>
                <a:lnTo>
                  <a:pt x="3757" y="796"/>
                </a:lnTo>
                <a:lnTo>
                  <a:pt x="3750" y="800"/>
                </a:lnTo>
                <a:lnTo>
                  <a:pt x="3743" y="802"/>
                </a:lnTo>
                <a:lnTo>
                  <a:pt x="3729" y="806"/>
                </a:lnTo>
                <a:lnTo>
                  <a:pt x="3722" y="806"/>
                </a:lnTo>
                <a:lnTo>
                  <a:pt x="3715" y="806"/>
                </a:lnTo>
                <a:lnTo>
                  <a:pt x="3700" y="806"/>
                </a:lnTo>
                <a:lnTo>
                  <a:pt x="3686" y="802"/>
                </a:lnTo>
                <a:lnTo>
                  <a:pt x="3679" y="800"/>
                </a:lnTo>
                <a:lnTo>
                  <a:pt x="3673" y="796"/>
                </a:lnTo>
                <a:lnTo>
                  <a:pt x="3660" y="788"/>
                </a:lnTo>
                <a:lnTo>
                  <a:pt x="3648" y="778"/>
                </a:lnTo>
                <a:lnTo>
                  <a:pt x="3637" y="766"/>
                </a:lnTo>
                <a:lnTo>
                  <a:pt x="3627" y="750"/>
                </a:lnTo>
                <a:lnTo>
                  <a:pt x="3623" y="742"/>
                </a:lnTo>
                <a:lnTo>
                  <a:pt x="3618" y="735"/>
                </a:lnTo>
                <a:close/>
                <a:moveTo>
                  <a:pt x="4052" y="806"/>
                </a:moveTo>
                <a:lnTo>
                  <a:pt x="4036" y="806"/>
                </a:lnTo>
                <a:lnTo>
                  <a:pt x="4020" y="802"/>
                </a:lnTo>
                <a:lnTo>
                  <a:pt x="4006" y="796"/>
                </a:lnTo>
                <a:lnTo>
                  <a:pt x="4000" y="792"/>
                </a:lnTo>
                <a:lnTo>
                  <a:pt x="3993" y="788"/>
                </a:lnTo>
                <a:lnTo>
                  <a:pt x="3981" y="780"/>
                </a:lnTo>
                <a:lnTo>
                  <a:pt x="3975" y="774"/>
                </a:lnTo>
                <a:lnTo>
                  <a:pt x="3970" y="768"/>
                </a:lnTo>
                <a:lnTo>
                  <a:pt x="3960" y="756"/>
                </a:lnTo>
                <a:lnTo>
                  <a:pt x="3956" y="748"/>
                </a:lnTo>
                <a:lnTo>
                  <a:pt x="3951" y="740"/>
                </a:lnTo>
                <a:lnTo>
                  <a:pt x="3947" y="733"/>
                </a:lnTo>
                <a:lnTo>
                  <a:pt x="3943" y="725"/>
                </a:lnTo>
                <a:lnTo>
                  <a:pt x="3939" y="717"/>
                </a:lnTo>
                <a:lnTo>
                  <a:pt x="3936" y="707"/>
                </a:lnTo>
                <a:lnTo>
                  <a:pt x="3930" y="687"/>
                </a:lnTo>
                <a:lnTo>
                  <a:pt x="3926" y="667"/>
                </a:lnTo>
                <a:lnTo>
                  <a:pt x="3924" y="657"/>
                </a:lnTo>
                <a:lnTo>
                  <a:pt x="3922" y="645"/>
                </a:lnTo>
                <a:lnTo>
                  <a:pt x="3919" y="623"/>
                </a:lnTo>
                <a:lnTo>
                  <a:pt x="3918" y="599"/>
                </a:lnTo>
                <a:lnTo>
                  <a:pt x="3917" y="585"/>
                </a:lnTo>
                <a:lnTo>
                  <a:pt x="3917" y="573"/>
                </a:lnTo>
                <a:lnTo>
                  <a:pt x="3980" y="545"/>
                </a:lnTo>
                <a:lnTo>
                  <a:pt x="3981" y="567"/>
                </a:lnTo>
                <a:lnTo>
                  <a:pt x="3982" y="587"/>
                </a:lnTo>
                <a:lnTo>
                  <a:pt x="3984" y="603"/>
                </a:lnTo>
                <a:lnTo>
                  <a:pt x="3986" y="619"/>
                </a:lnTo>
                <a:lnTo>
                  <a:pt x="3988" y="627"/>
                </a:lnTo>
                <a:lnTo>
                  <a:pt x="3989" y="635"/>
                </a:lnTo>
                <a:lnTo>
                  <a:pt x="3993" y="647"/>
                </a:lnTo>
                <a:lnTo>
                  <a:pt x="3997" y="659"/>
                </a:lnTo>
                <a:lnTo>
                  <a:pt x="4001" y="667"/>
                </a:lnTo>
                <a:lnTo>
                  <a:pt x="4006" y="677"/>
                </a:lnTo>
                <a:lnTo>
                  <a:pt x="4012" y="683"/>
                </a:lnTo>
                <a:lnTo>
                  <a:pt x="4018" y="689"/>
                </a:lnTo>
                <a:lnTo>
                  <a:pt x="4025" y="693"/>
                </a:lnTo>
                <a:lnTo>
                  <a:pt x="4032" y="697"/>
                </a:lnTo>
                <a:lnTo>
                  <a:pt x="4039" y="699"/>
                </a:lnTo>
                <a:lnTo>
                  <a:pt x="4047" y="701"/>
                </a:lnTo>
                <a:lnTo>
                  <a:pt x="4056" y="701"/>
                </a:lnTo>
                <a:lnTo>
                  <a:pt x="4063" y="701"/>
                </a:lnTo>
                <a:lnTo>
                  <a:pt x="4070" y="699"/>
                </a:lnTo>
                <a:lnTo>
                  <a:pt x="4077" y="697"/>
                </a:lnTo>
                <a:lnTo>
                  <a:pt x="4083" y="695"/>
                </a:lnTo>
                <a:lnTo>
                  <a:pt x="4089" y="691"/>
                </a:lnTo>
                <a:lnTo>
                  <a:pt x="4095" y="685"/>
                </a:lnTo>
                <a:lnTo>
                  <a:pt x="4100" y="679"/>
                </a:lnTo>
                <a:lnTo>
                  <a:pt x="4105" y="673"/>
                </a:lnTo>
                <a:lnTo>
                  <a:pt x="4109" y="665"/>
                </a:lnTo>
                <a:lnTo>
                  <a:pt x="4113" y="657"/>
                </a:lnTo>
                <a:lnTo>
                  <a:pt x="4116" y="649"/>
                </a:lnTo>
                <a:lnTo>
                  <a:pt x="4119" y="639"/>
                </a:lnTo>
                <a:lnTo>
                  <a:pt x="4121" y="627"/>
                </a:lnTo>
                <a:lnTo>
                  <a:pt x="4122" y="623"/>
                </a:lnTo>
                <a:lnTo>
                  <a:pt x="4123" y="617"/>
                </a:lnTo>
                <a:lnTo>
                  <a:pt x="4124" y="605"/>
                </a:lnTo>
                <a:lnTo>
                  <a:pt x="4124" y="591"/>
                </a:lnTo>
                <a:lnTo>
                  <a:pt x="4124" y="581"/>
                </a:lnTo>
                <a:lnTo>
                  <a:pt x="4123" y="571"/>
                </a:lnTo>
                <a:lnTo>
                  <a:pt x="4122" y="563"/>
                </a:lnTo>
                <a:lnTo>
                  <a:pt x="4121" y="553"/>
                </a:lnTo>
                <a:lnTo>
                  <a:pt x="4119" y="545"/>
                </a:lnTo>
                <a:lnTo>
                  <a:pt x="4117" y="537"/>
                </a:lnTo>
                <a:lnTo>
                  <a:pt x="4115" y="529"/>
                </a:lnTo>
                <a:lnTo>
                  <a:pt x="4112" y="521"/>
                </a:lnTo>
                <a:lnTo>
                  <a:pt x="4104" y="505"/>
                </a:lnTo>
                <a:lnTo>
                  <a:pt x="4100" y="497"/>
                </a:lnTo>
                <a:lnTo>
                  <a:pt x="4095" y="491"/>
                </a:lnTo>
                <a:lnTo>
                  <a:pt x="4084" y="477"/>
                </a:lnTo>
                <a:lnTo>
                  <a:pt x="4071" y="465"/>
                </a:lnTo>
                <a:lnTo>
                  <a:pt x="4007" y="407"/>
                </a:lnTo>
                <a:lnTo>
                  <a:pt x="3998" y="399"/>
                </a:lnTo>
                <a:lnTo>
                  <a:pt x="3988" y="389"/>
                </a:lnTo>
                <a:lnTo>
                  <a:pt x="3972" y="369"/>
                </a:lnTo>
                <a:lnTo>
                  <a:pt x="3958" y="349"/>
                </a:lnTo>
                <a:lnTo>
                  <a:pt x="3953" y="337"/>
                </a:lnTo>
                <a:lnTo>
                  <a:pt x="3947" y="325"/>
                </a:lnTo>
                <a:lnTo>
                  <a:pt x="3942" y="313"/>
                </a:lnTo>
                <a:lnTo>
                  <a:pt x="3937" y="299"/>
                </a:lnTo>
                <a:lnTo>
                  <a:pt x="3934" y="285"/>
                </a:lnTo>
                <a:lnTo>
                  <a:pt x="3931" y="269"/>
                </a:lnTo>
                <a:lnTo>
                  <a:pt x="3929" y="253"/>
                </a:lnTo>
                <a:lnTo>
                  <a:pt x="3928" y="246"/>
                </a:lnTo>
                <a:lnTo>
                  <a:pt x="3927" y="238"/>
                </a:lnTo>
                <a:lnTo>
                  <a:pt x="3927" y="220"/>
                </a:lnTo>
                <a:lnTo>
                  <a:pt x="3926" y="200"/>
                </a:lnTo>
                <a:lnTo>
                  <a:pt x="3926" y="188"/>
                </a:lnTo>
                <a:lnTo>
                  <a:pt x="3927" y="176"/>
                </a:lnTo>
                <a:lnTo>
                  <a:pt x="3928" y="164"/>
                </a:lnTo>
                <a:lnTo>
                  <a:pt x="3929" y="152"/>
                </a:lnTo>
                <a:lnTo>
                  <a:pt x="3930" y="142"/>
                </a:lnTo>
                <a:lnTo>
                  <a:pt x="3932" y="132"/>
                </a:lnTo>
                <a:lnTo>
                  <a:pt x="3936" y="112"/>
                </a:lnTo>
                <a:lnTo>
                  <a:pt x="3939" y="102"/>
                </a:lnTo>
                <a:lnTo>
                  <a:pt x="3942" y="94"/>
                </a:lnTo>
                <a:lnTo>
                  <a:pt x="3949" y="78"/>
                </a:lnTo>
                <a:lnTo>
                  <a:pt x="3957" y="62"/>
                </a:lnTo>
                <a:lnTo>
                  <a:pt x="3961" y="56"/>
                </a:lnTo>
                <a:lnTo>
                  <a:pt x="3965" y="50"/>
                </a:lnTo>
                <a:lnTo>
                  <a:pt x="3974" y="38"/>
                </a:lnTo>
                <a:lnTo>
                  <a:pt x="3984" y="28"/>
                </a:lnTo>
                <a:lnTo>
                  <a:pt x="3994" y="20"/>
                </a:lnTo>
                <a:lnTo>
                  <a:pt x="4005" y="12"/>
                </a:lnTo>
                <a:lnTo>
                  <a:pt x="4017" y="6"/>
                </a:lnTo>
                <a:lnTo>
                  <a:pt x="4029" y="4"/>
                </a:lnTo>
                <a:lnTo>
                  <a:pt x="4042" y="0"/>
                </a:lnTo>
                <a:lnTo>
                  <a:pt x="4055" y="0"/>
                </a:lnTo>
                <a:lnTo>
                  <a:pt x="4070" y="2"/>
                </a:lnTo>
                <a:lnTo>
                  <a:pt x="4085" y="4"/>
                </a:lnTo>
                <a:lnTo>
                  <a:pt x="4098" y="10"/>
                </a:lnTo>
                <a:lnTo>
                  <a:pt x="4104" y="14"/>
                </a:lnTo>
                <a:lnTo>
                  <a:pt x="4110" y="18"/>
                </a:lnTo>
                <a:lnTo>
                  <a:pt x="4122" y="26"/>
                </a:lnTo>
                <a:lnTo>
                  <a:pt x="4132" y="38"/>
                </a:lnTo>
                <a:lnTo>
                  <a:pt x="4141" y="50"/>
                </a:lnTo>
                <a:lnTo>
                  <a:pt x="4149" y="64"/>
                </a:lnTo>
                <a:lnTo>
                  <a:pt x="4153" y="72"/>
                </a:lnTo>
                <a:lnTo>
                  <a:pt x="4156" y="78"/>
                </a:lnTo>
                <a:lnTo>
                  <a:pt x="4159" y="86"/>
                </a:lnTo>
                <a:lnTo>
                  <a:pt x="4162" y="94"/>
                </a:lnTo>
                <a:lnTo>
                  <a:pt x="4167" y="112"/>
                </a:lnTo>
                <a:lnTo>
                  <a:pt x="4172" y="128"/>
                </a:lnTo>
                <a:lnTo>
                  <a:pt x="4175" y="146"/>
                </a:lnTo>
                <a:lnTo>
                  <a:pt x="4177" y="166"/>
                </a:lnTo>
                <a:lnTo>
                  <a:pt x="4179" y="184"/>
                </a:lnTo>
                <a:lnTo>
                  <a:pt x="4179" y="202"/>
                </a:lnTo>
                <a:lnTo>
                  <a:pt x="4117" y="228"/>
                </a:lnTo>
                <a:lnTo>
                  <a:pt x="4117" y="212"/>
                </a:lnTo>
                <a:lnTo>
                  <a:pt x="4115" y="198"/>
                </a:lnTo>
                <a:lnTo>
                  <a:pt x="4114" y="186"/>
                </a:lnTo>
                <a:lnTo>
                  <a:pt x="4112" y="172"/>
                </a:lnTo>
                <a:lnTo>
                  <a:pt x="4109" y="162"/>
                </a:lnTo>
                <a:lnTo>
                  <a:pt x="4106" y="152"/>
                </a:lnTo>
                <a:lnTo>
                  <a:pt x="4103" y="142"/>
                </a:lnTo>
                <a:lnTo>
                  <a:pt x="4099" y="136"/>
                </a:lnTo>
                <a:lnTo>
                  <a:pt x="4095" y="128"/>
                </a:lnTo>
                <a:lnTo>
                  <a:pt x="4090" y="122"/>
                </a:lnTo>
                <a:lnTo>
                  <a:pt x="4085" y="118"/>
                </a:lnTo>
                <a:lnTo>
                  <a:pt x="4079" y="114"/>
                </a:lnTo>
                <a:lnTo>
                  <a:pt x="4073" y="110"/>
                </a:lnTo>
                <a:lnTo>
                  <a:pt x="4067" y="108"/>
                </a:lnTo>
                <a:lnTo>
                  <a:pt x="4060" y="108"/>
                </a:lnTo>
                <a:lnTo>
                  <a:pt x="4052" y="106"/>
                </a:lnTo>
                <a:lnTo>
                  <a:pt x="4040" y="108"/>
                </a:lnTo>
                <a:lnTo>
                  <a:pt x="4028" y="112"/>
                </a:lnTo>
                <a:lnTo>
                  <a:pt x="4023" y="116"/>
                </a:lnTo>
                <a:lnTo>
                  <a:pt x="4018" y="120"/>
                </a:lnTo>
                <a:lnTo>
                  <a:pt x="4013" y="124"/>
                </a:lnTo>
                <a:lnTo>
                  <a:pt x="4009" y="128"/>
                </a:lnTo>
                <a:lnTo>
                  <a:pt x="4005" y="134"/>
                </a:lnTo>
                <a:lnTo>
                  <a:pt x="4002" y="140"/>
                </a:lnTo>
                <a:lnTo>
                  <a:pt x="3999" y="148"/>
                </a:lnTo>
                <a:lnTo>
                  <a:pt x="3996" y="156"/>
                </a:lnTo>
                <a:lnTo>
                  <a:pt x="3994" y="164"/>
                </a:lnTo>
                <a:lnTo>
                  <a:pt x="3993" y="174"/>
                </a:lnTo>
                <a:lnTo>
                  <a:pt x="3992" y="184"/>
                </a:lnTo>
                <a:lnTo>
                  <a:pt x="3992" y="194"/>
                </a:lnTo>
                <a:lnTo>
                  <a:pt x="3992" y="204"/>
                </a:lnTo>
                <a:lnTo>
                  <a:pt x="3992" y="214"/>
                </a:lnTo>
                <a:lnTo>
                  <a:pt x="3993" y="224"/>
                </a:lnTo>
                <a:lnTo>
                  <a:pt x="3994" y="232"/>
                </a:lnTo>
                <a:lnTo>
                  <a:pt x="3996" y="240"/>
                </a:lnTo>
                <a:lnTo>
                  <a:pt x="3998" y="248"/>
                </a:lnTo>
                <a:lnTo>
                  <a:pt x="4001" y="255"/>
                </a:lnTo>
                <a:lnTo>
                  <a:pt x="4003" y="261"/>
                </a:lnTo>
                <a:lnTo>
                  <a:pt x="4007" y="267"/>
                </a:lnTo>
                <a:lnTo>
                  <a:pt x="4010" y="273"/>
                </a:lnTo>
                <a:lnTo>
                  <a:pt x="4019" y="285"/>
                </a:lnTo>
                <a:lnTo>
                  <a:pt x="4029" y="297"/>
                </a:lnTo>
                <a:lnTo>
                  <a:pt x="4041" y="309"/>
                </a:lnTo>
                <a:lnTo>
                  <a:pt x="4103" y="363"/>
                </a:lnTo>
                <a:lnTo>
                  <a:pt x="4113" y="373"/>
                </a:lnTo>
                <a:lnTo>
                  <a:pt x="4123" y="383"/>
                </a:lnTo>
                <a:lnTo>
                  <a:pt x="4133" y="393"/>
                </a:lnTo>
                <a:lnTo>
                  <a:pt x="4141" y="405"/>
                </a:lnTo>
                <a:lnTo>
                  <a:pt x="4149" y="417"/>
                </a:lnTo>
                <a:lnTo>
                  <a:pt x="4156" y="427"/>
                </a:lnTo>
                <a:lnTo>
                  <a:pt x="4162" y="441"/>
                </a:lnTo>
                <a:lnTo>
                  <a:pt x="4168" y="453"/>
                </a:lnTo>
                <a:lnTo>
                  <a:pt x="4173" y="467"/>
                </a:lnTo>
                <a:lnTo>
                  <a:pt x="4177" y="481"/>
                </a:lnTo>
                <a:lnTo>
                  <a:pt x="4181" y="495"/>
                </a:lnTo>
                <a:lnTo>
                  <a:pt x="4184" y="511"/>
                </a:lnTo>
                <a:lnTo>
                  <a:pt x="4186" y="527"/>
                </a:lnTo>
                <a:lnTo>
                  <a:pt x="4187" y="537"/>
                </a:lnTo>
                <a:lnTo>
                  <a:pt x="4187" y="545"/>
                </a:lnTo>
                <a:lnTo>
                  <a:pt x="4188" y="563"/>
                </a:lnTo>
                <a:lnTo>
                  <a:pt x="4189" y="583"/>
                </a:lnTo>
                <a:lnTo>
                  <a:pt x="4188" y="609"/>
                </a:lnTo>
                <a:lnTo>
                  <a:pt x="4186" y="633"/>
                </a:lnTo>
                <a:lnTo>
                  <a:pt x="4185" y="645"/>
                </a:lnTo>
                <a:lnTo>
                  <a:pt x="4183" y="655"/>
                </a:lnTo>
                <a:lnTo>
                  <a:pt x="4181" y="667"/>
                </a:lnTo>
                <a:lnTo>
                  <a:pt x="4179" y="677"/>
                </a:lnTo>
                <a:lnTo>
                  <a:pt x="4177" y="687"/>
                </a:lnTo>
                <a:lnTo>
                  <a:pt x="4174" y="697"/>
                </a:lnTo>
                <a:lnTo>
                  <a:pt x="4167" y="715"/>
                </a:lnTo>
                <a:lnTo>
                  <a:pt x="4164" y="723"/>
                </a:lnTo>
                <a:lnTo>
                  <a:pt x="4160" y="733"/>
                </a:lnTo>
                <a:lnTo>
                  <a:pt x="4152" y="746"/>
                </a:lnTo>
                <a:lnTo>
                  <a:pt x="4147" y="754"/>
                </a:lnTo>
                <a:lnTo>
                  <a:pt x="4142" y="760"/>
                </a:lnTo>
                <a:lnTo>
                  <a:pt x="4137" y="766"/>
                </a:lnTo>
                <a:lnTo>
                  <a:pt x="4132" y="772"/>
                </a:lnTo>
                <a:lnTo>
                  <a:pt x="4121" y="782"/>
                </a:lnTo>
                <a:lnTo>
                  <a:pt x="4109" y="790"/>
                </a:lnTo>
                <a:lnTo>
                  <a:pt x="4096" y="798"/>
                </a:lnTo>
                <a:lnTo>
                  <a:pt x="4082" y="802"/>
                </a:lnTo>
                <a:lnTo>
                  <a:pt x="4075" y="804"/>
                </a:lnTo>
                <a:lnTo>
                  <a:pt x="4068" y="804"/>
                </a:lnTo>
                <a:lnTo>
                  <a:pt x="4052" y="806"/>
                </a:lnTo>
                <a:close/>
                <a:moveTo>
                  <a:pt x="1669" y="1273"/>
                </a:moveTo>
                <a:lnTo>
                  <a:pt x="1669" y="1936"/>
                </a:lnTo>
                <a:lnTo>
                  <a:pt x="1604" y="1936"/>
                </a:lnTo>
                <a:lnTo>
                  <a:pt x="1604" y="1273"/>
                </a:lnTo>
                <a:lnTo>
                  <a:pt x="1506" y="1273"/>
                </a:lnTo>
                <a:lnTo>
                  <a:pt x="1506" y="1166"/>
                </a:lnTo>
                <a:lnTo>
                  <a:pt x="1767" y="1166"/>
                </a:lnTo>
                <a:lnTo>
                  <a:pt x="1767" y="1273"/>
                </a:lnTo>
                <a:lnTo>
                  <a:pt x="1669" y="1273"/>
                </a:lnTo>
                <a:close/>
                <a:moveTo>
                  <a:pt x="1832" y="1936"/>
                </a:moveTo>
                <a:lnTo>
                  <a:pt x="1832" y="1166"/>
                </a:lnTo>
                <a:lnTo>
                  <a:pt x="2060" y="1166"/>
                </a:lnTo>
                <a:lnTo>
                  <a:pt x="2060" y="1273"/>
                </a:lnTo>
                <a:lnTo>
                  <a:pt x="1897" y="1273"/>
                </a:lnTo>
                <a:lnTo>
                  <a:pt x="1897" y="1489"/>
                </a:lnTo>
                <a:lnTo>
                  <a:pt x="2030" y="1489"/>
                </a:lnTo>
                <a:lnTo>
                  <a:pt x="2030" y="1593"/>
                </a:lnTo>
                <a:lnTo>
                  <a:pt x="1897" y="1593"/>
                </a:lnTo>
                <a:lnTo>
                  <a:pt x="1897" y="1828"/>
                </a:lnTo>
                <a:lnTo>
                  <a:pt x="2060" y="1828"/>
                </a:lnTo>
                <a:lnTo>
                  <a:pt x="2060" y="1936"/>
                </a:lnTo>
                <a:lnTo>
                  <a:pt x="1832" y="1936"/>
                </a:lnTo>
                <a:close/>
                <a:moveTo>
                  <a:pt x="2260" y="1954"/>
                </a:moveTo>
                <a:lnTo>
                  <a:pt x="2251" y="1954"/>
                </a:lnTo>
                <a:lnTo>
                  <a:pt x="2242" y="1952"/>
                </a:lnTo>
                <a:lnTo>
                  <a:pt x="2234" y="1950"/>
                </a:lnTo>
                <a:lnTo>
                  <a:pt x="2226" y="1948"/>
                </a:lnTo>
                <a:lnTo>
                  <a:pt x="2218" y="1944"/>
                </a:lnTo>
                <a:lnTo>
                  <a:pt x="2211" y="1938"/>
                </a:lnTo>
                <a:lnTo>
                  <a:pt x="2204" y="1932"/>
                </a:lnTo>
                <a:lnTo>
                  <a:pt x="2197" y="1926"/>
                </a:lnTo>
                <a:lnTo>
                  <a:pt x="2190" y="1920"/>
                </a:lnTo>
                <a:lnTo>
                  <a:pt x="2184" y="1912"/>
                </a:lnTo>
                <a:lnTo>
                  <a:pt x="2178" y="1902"/>
                </a:lnTo>
                <a:lnTo>
                  <a:pt x="2172" y="1892"/>
                </a:lnTo>
                <a:lnTo>
                  <a:pt x="2166" y="1882"/>
                </a:lnTo>
                <a:lnTo>
                  <a:pt x="2161" y="1872"/>
                </a:lnTo>
                <a:lnTo>
                  <a:pt x="2156" y="1860"/>
                </a:lnTo>
                <a:lnTo>
                  <a:pt x="2151" y="1846"/>
                </a:lnTo>
                <a:lnTo>
                  <a:pt x="2147" y="1834"/>
                </a:lnTo>
                <a:lnTo>
                  <a:pt x="2143" y="1820"/>
                </a:lnTo>
                <a:lnTo>
                  <a:pt x="2139" y="1804"/>
                </a:lnTo>
                <a:lnTo>
                  <a:pt x="2135" y="1788"/>
                </a:lnTo>
                <a:lnTo>
                  <a:pt x="2132" y="1772"/>
                </a:lnTo>
                <a:lnTo>
                  <a:pt x="2129" y="1756"/>
                </a:lnTo>
                <a:lnTo>
                  <a:pt x="2126" y="1738"/>
                </a:lnTo>
                <a:lnTo>
                  <a:pt x="2124" y="1720"/>
                </a:lnTo>
                <a:lnTo>
                  <a:pt x="2121" y="1701"/>
                </a:lnTo>
                <a:lnTo>
                  <a:pt x="2120" y="1681"/>
                </a:lnTo>
                <a:lnTo>
                  <a:pt x="2118" y="1661"/>
                </a:lnTo>
                <a:lnTo>
                  <a:pt x="2117" y="1641"/>
                </a:lnTo>
                <a:lnTo>
                  <a:pt x="2115" y="1597"/>
                </a:lnTo>
                <a:lnTo>
                  <a:pt x="2114" y="1575"/>
                </a:lnTo>
                <a:lnTo>
                  <a:pt x="2114" y="1551"/>
                </a:lnTo>
                <a:lnTo>
                  <a:pt x="2115" y="1505"/>
                </a:lnTo>
                <a:lnTo>
                  <a:pt x="2117" y="1461"/>
                </a:lnTo>
                <a:lnTo>
                  <a:pt x="2118" y="1441"/>
                </a:lnTo>
                <a:lnTo>
                  <a:pt x="2120" y="1421"/>
                </a:lnTo>
                <a:lnTo>
                  <a:pt x="2124" y="1383"/>
                </a:lnTo>
                <a:lnTo>
                  <a:pt x="2126" y="1363"/>
                </a:lnTo>
                <a:lnTo>
                  <a:pt x="2129" y="1347"/>
                </a:lnTo>
                <a:lnTo>
                  <a:pt x="2135" y="1313"/>
                </a:lnTo>
                <a:lnTo>
                  <a:pt x="2139" y="1297"/>
                </a:lnTo>
                <a:lnTo>
                  <a:pt x="2143" y="1283"/>
                </a:lnTo>
                <a:lnTo>
                  <a:pt x="2147" y="1269"/>
                </a:lnTo>
                <a:lnTo>
                  <a:pt x="2151" y="1255"/>
                </a:lnTo>
                <a:lnTo>
                  <a:pt x="2156" y="1243"/>
                </a:lnTo>
                <a:lnTo>
                  <a:pt x="2161" y="1231"/>
                </a:lnTo>
                <a:lnTo>
                  <a:pt x="2166" y="1220"/>
                </a:lnTo>
                <a:lnTo>
                  <a:pt x="2172" y="1210"/>
                </a:lnTo>
                <a:lnTo>
                  <a:pt x="2178" y="1200"/>
                </a:lnTo>
                <a:lnTo>
                  <a:pt x="2184" y="1192"/>
                </a:lnTo>
                <a:lnTo>
                  <a:pt x="2197" y="1176"/>
                </a:lnTo>
                <a:lnTo>
                  <a:pt x="2204" y="1170"/>
                </a:lnTo>
                <a:lnTo>
                  <a:pt x="2211" y="1164"/>
                </a:lnTo>
                <a:lnTo>
                  <a:pt x="2218" y="1160"/>
                </a:lnTo>
                <a:lnTo>
                  <a:pt x="2226" y="1156"/>
                </a:lnTo>
                <a:lnTo>
                  <a:pt x="2234" y="1152"/>
                </a:lnTo>
                <a:lnTo>
                  <a:pt x="2242" y="1150"/>
                </a:lnTo>
                <a:lnTo>
                  <a:pt x="2251" y="1148"/>
                </a:lnTo>
                <a:lnTo>
                  <a:pt x="2260" y="1148"/>
                </a:lnTo>
                <a:lnTo>
                  <a:pt x="2268" y="1148"/>
                </a:lnTo>
                <a:lnTo>
                  <a:pt x="2277" y="1150"/>
                </a:lnTo>
                <a:lnTo>
                  <a:pt x="2285" y="1152"/>
                </a:lnTo>
                <a:lnTo>
                  <a:pt x="2293" y="1156"/>
                </a:lnTo>
                <a:lnTo>
                  <a:pt x="2301" y="1160"/>
                </a:lnTo>
                <a:lnTo>
                  <a:pt x="2308" y="1164"/>
                </a:lnTo>
                <a:lnTo>
                  <a:pt x="2316" y="1170"/>
                </a:lnTo>
                <a:lnTo>
                  <a:pt x="2323" y="1176"/>
                </a:lnTo>
                <a:lnTo>
                  <a:pt x="2329" y="1184"/>
                </a:lnTo>
                <a:lnTo>
                  <a:pt x="2336" y="1192"/>
                </a:lnTo>
                <a:lnTo>
                  <a:pt x="2342" y="1200"/>
                </a:lnTo>
                <a:lnTo>
                  <a:pt x="2348" y="1210"/>
                </a:lnTo>
                <a:lnTo>
                  <a:pt x="2353" y="1220"/>
                </a:lnTo>
                <a:lnTo>
                  <a:pt x="2359" y="1229"/>
                </a:lnTo>
                <a:lnTo>
                  <a:pt x="2364" y="1241"/>
                </a:lnTo>
                <a:lnTo>
                  <a:pt x="2368" y="1255"/>
                </a:lnTo>
                <a:lnTo>
                  <a:pt x="2377" y="1283"/>
                </a:lnTo>
                <a:lnTo>
                  <a:pt x="2381" y="1297"/>
                </a:lnTo>
                <a:lnTo>
                  <a:pt x="2385" y="1313"/>
                </a:lnTo>
                <a:lnTo>
                  <a:pt x="2391" y="1345"/>
                </a:lnTo>
                <a:lnTo>
                  <a:pt x="2394" y="1363"/>
                </a:lnTo>
                <a:lnTo>
                  <a:pt x="2396" y="1381"/>
                </a:lnTo>
                <a:lnTo>
                  <a:pt x="2398" y="1401"/>
                </a:lnTo>
                <a:lnTo>
                  <a:pt x="2400" y="1421"/>
                </a:lnTo>
                <a:lnTo>
                  <a:pt x="2402" y="1441"/>
                </a:lnTo>
                <a:lnTo>
                  <a:pt x="2403" y="1461"/>
                </a:lnTo>
                <a:lnTo>
                  <a:pt x="2404" y="1483"/>
                </a:lnTo>
                <a:lnTo>
                  <a:pt x="2405" y="1505"/>
                </a:lnTo>
                <a:lnTo>
                  <a:pt x="2405" y="1527"/>
                </a:lnTo>
                <a:lnTo>
                  <a:pt x="2406" y="1551"/>
                </a:lnTo>
                <a:lnTo>
                  <a:pt x="2405" y="1597"/>
                </a:lnTo>
                <a:lnTo>
                  <a:pt x="2403" y="1641"/>
                </a:lnTo>
                <a:lnTo>
                  <a:pt x="2402" y="1663"/>
                </a:lnTo>
                <a:lnTo>
                  <a:pt x="2400" y="1683"/>
                </a:lnTo>
                <a:lnTo>
                  <a:pt x="2396" y="1720"/>
                </a:lnTo>
                <a:lnTo>
                  <a:pt x="2394" y="1738"/>
                </a:lnTo>
                <a:lnTo>
                  <a:pt x="2391" y="1756"/>
                </a:lnTo>
                <a:lnTo>
                  <a:pt x="2388" y="1772"/>
                </a:lnTo>
                <a:lnTo>
                  <a:pt x="2385" y="1790"/>
                </a:lnTo>
                <a:lnTo>
                  <a:pt x="2381" y="1804"/>
                </a:lnTo>
                <a:lnTo>
                  <a:pt x="2377" y="1820"/>
                </a:lnTo>
                <a:lnTo>
                  <a:pt x="2373" y="1834"/>
                </a:lnTo>
                <a:lnTo>
                  <a:pt x="2368" y="1846"/>
                </a:lnTo>
                <a:lnTo>
                  <a:pt x="2364" y="1860"/>
                </a:lnTo>
                <a:lnTo>
                  <a:pt x="2359" y="1872"/>
                </a:lnTo>
                <a:lnTo>
                  <a:pt x="2353" y="1882"/>
                </a:lnTo>
                <a:lnTo>
                  <a:pt x="2348" y="1894"/>
                </a:lnTo>
                <a:lnTo>
                  <a:pt x="2342" y="1902"/>
                </a:lnTo>
                <a:lnTo>
                  <a:pt x="2336" y="1912"/>
                </a:lnTo>
                <a:lnTo>
                  <a:pt x="2329" y="1920"/>
                </a:lnTo>
                <a:lnTo>
                  <a:pt x="2323" y="1926"/>
                </a:lnTo>
                <a:lnTo>
                  <a:pt x="2316" y="1934"/>
                </a:lnTo>
                <a:lnTo>
                  <a:pt x="2308" y="1938"/>
                </a:lnTo>
                <a:lnTo>
                  <a:pt x="2301" y="1944"/>
                </a:lnTo>
                <a:lnTo>
                  <a:pt x="2293" y="1948"/>
                </a:lnTo>
                <a:lnTo>
                  <a:pt x="2285" y="1950"/>
                </a:lnTo>
                <a:lnTo>
                  <a:pt x="2277" y="1952"/>
                </a:lnTo>
                <a:lnTo>
                  <a:pt x="2268" y="1954"/>
                </a:lnTo>
                <a:lnTo>
                  <a:pt x="2260" y="1954"/>
                </a:lnTo>
                <a:close/>
                <a:moveTo>
                  <a:pt x="2260" y="1257"/>
                </a:moveTo>
                <a:lnTo>
                  <a:pt x="2251" y="1257"/>
                </a:lnTo>
                <a:lnTo>
                  <a:pt x="2246" y="1259"/>
                </a:lnTo>
                <a:lnTo>
                  <a:pt x="2242" y="1259"/>
                </a:lnTo>
                <a:lnTo>
                  <a:pt x="2234" y="1265"/>
                </a:lnTo>
                <a:lnTo>
                  <a:pt x="2227" y="1271"/>
                </a:lnTo>
                <a:lnTo>
                  <a:pt x="2223" y="1275"/>
                </a:lnTo>
                <a:lnTo>
                  <a:pt x="2220" y="1281"/>
                </a:lnTo>
                <a:lnTo>
                  <a:pt x="2216" y="1287"/>
                </a:lnTo>
                <a:lnTo>
                  <a:pt x="2213" y="1293"/>
                </a:lnTo>
                <a:lnTo>
                  <a:pt x="2210" y="1299"/>
                </a:lnTo>
                <a:lnTo>
                  <a:pt x="2207" y="1307"/>
                </a:lnTo>
                <a:lnTo>
                  <a:pt x="2201" y="1323"/>
                </a:lnTo>
                <a:lnTo>
                  <a:pt x="2199" y="1331"/>
                </a:lnTo>
                <a:lnTo>
                  <a:pt x="2196" y="1341"/>
                </a:lnTo>
                <a:lnTo>
                  <a:pt x="2192" y="1363"/>
                </a:lnTo>
                <a:lnTo>
                  <a:pt x="2188" y="1387"/>
                </a:lnTo>
                <a:lnTo>
                  <a:pt x="2187" y="1399"/>
                </a:lnTo>
                <a:lnTo>
                  <a:pt x="2185" y="1413"/>
                </a:lnTo>
                <a:lnTo>
                  <a:pt x="2183" y="1443"/>
                </a:lnTo>
                <a:lnTo>
                  <a:pt x="2181" y="1477"/>
                </a:lnTo>
                <a:lnTo>
                  <a:pt x="2180" y="1513"/>
                </a:lnTo>
                <a:lnTo>
                  <a:pt x="2180" y="1551"/>
                </a:lnTo>
                <a:lnTo>
                  <a:pt x="2180" y="1591"/>
                </a:lnTo>
                <a:lnTo>
                  <a:pt x="2181" y="1627"/>
                </a:lnTo>
                <a:lnTo>
                  <a:pt x="2183" y="1659"/>
                </a:lnTo>
                <a:lnTo>
                  <a:pt x="2185" y="1689"/>
                </a:lnTo>
                <a:lnTo>
                  <a:pt x="2188" y="1714"/>
                </a:lnTo>
                <a:lnTo>
                  <a:pt x="2192" y="1738"/>
                </a:lnTo>
                <a:lnTo>
                  <a:pt x="2196" y="1760"/>
                </a:lnTo>
                <a:lnTo>
                  <a:pt x="2201" y="1780"/>
                </a:lnTo>
                <a:lnTo>
                  <a:pt x="2207" y="1796"/>
                </a:lnTo>
                <a:lnTo>
                  <a:pt x="2213" y="1810"/>
                </a:lnTo>
                <a:lnTo>
                  <a:pt x="2220" y="1820"/>
                </a:lnTo>
                <a:lnTo>
                  <a:pt x="2227" y="1830"/>
                </a:lnTo>
                <a:lnTo>
                  <a:pt x="2234" y="1836"/>
                </a:lnTo>
                <a:lnTo>
                  <a:pt x="2242" y="1842"/>
                </a:lnTo>
                <a:lnTo>
                  <a:pt x="2251" y="1844"/>
                </a:lnTo>
                <a:lnTo>
                  <a:pt x="2260" y="1846"/>
                </a:lnTo>
                <a:lnTo>
                  <a:pt x="2269" y="1844"/>
                </a:lnTo>
                <a:lnTo>
                  <a:pt x="2273" y="1844"/>
                </a:lnTo>
                <a:lnTo>
                  <a:pt x="2277" y="1842"/>
                </a:lnTo>
                <a:lnTo>
                  <a:pt x="2285" y="1836"/>
                </a:lnTo>
                <a:lnTo>
                  <a:pt x="2293" y="1830"/>
                </a:lnTo>
                <a:lnTo>
                  <a:pt x="2296" y="1826"/>
                </a:lnTo>
                <a:lnTo>
                  <a:pt x="2300" y="1820"/>
                </a:lnTo>
                <a:lnTo>
                  <a:pt x="2306" y="1808"/>
                </a:lnTo>
                <a:lnTo>
                  <a:pt x="2309" y="1802"/>
                </a:lnTo>
                <a:lnTo>
                  <a:pt x="2312" y="1796"/>
                </a:lnTo>
                <a:lnTo>
                  <a:pt x="2318" y="1778"/>
                </a:lnTo>
                <a:lnTo>
                  <a:pt x="2320" y="1770"/>
                </a:lnTo>
                <a:lnTo>
                  <a:pt x="2323" y="1760"/>
                </a:lnTo>
                <a:lnTo>
                  <a:pt x="2327" y="1738"/>
                </a:lnTo>
                <a:lnTo>
                  <a:pt x="2331" y="1714"/>
                </a:lnTo>
                <a:lnTo>
                  <a:pt x="2332" y="1703"/>
                </a:lnTo>
                <a:lnTo>
                  <a:pt x="2334" y="1689"/>
                </a:lnTo>
                <a:lnTo>
                  <a:pt x="2336" y="1659"/>
                </a:lnTo>
                <a:lnTo>
                  <a:pt x="2338" y="1625"/>
                </a:lnTo>
                <a:lnTo>
                  <a:pt x="2339" y="1591"/>
                </a:lnTo>
                <a:lnTo>
                  <a:pt x="2340" y="1551"/>
                </a:lnTo>
                <a:lnTo>
                  <a:pt x="2339" y="1513"/>
                </a:lnTo>
                <a:lnTo>
                  <a:pt x="2338" y="1477"/>
                </a:lnTo>
                <a:lnTo>
                  <a:pt x="2336" y="1443"/>
                </a:lnTo>
                <a:lnTo>
                  <a:pt x="2334" y="1415"/>
                </a:lnTo>
                <a:lnTo>
                  <a:pt x="2331" y="1387"/>
                </a:lnTo>
                <a:lnTo>
                  <a:pt x="2327" y="1363"/>
                </a:lnTo>
                <a:lnTo>
                  <a:pt x="2323" y="1341"/>
                </a:lnTo>
                <a:lnTo>
                  <a:pt x="2318" y="1323"/>
                </a:lnTo>
                <a:lnTo>
                  <a:pt x="2312" y="1307"/>
                </a:lnTo>
                <a:lnTo>
                  <a:pt x="2306" y="1293"/>
                </a:lnTo>
                <a:lnTo>
                  <a:pt x="2300" y="1281"/>
                </a:lnTo>
                <a:lnTo>
                  <a:pt x="2293" y="1271"/>
                </a:lnTo>
                <a:lnTo>
                  <a:pt x="2285" y="1265"/>
                </a:lnTo>
                <a:lnTo>
                  <a:pt x="2277" y="1259"/>
                </a:lnTo>
                <a:lnTo>
                  <a:pt x="2273" y="1259"/>
                </a:lnTo>
                <a:lnTo>
                  <a:pt x="2269" y="1257"/>
                </a:lnTo>
                <a:lnTo>
                  <a:pt x="2260" y="1257"/>
                </a:lnTo>
                <a:close/>
                <a:moveTo>
                  <a:pt x="2485" y="1936"/>
                </a:moveTo>
                <a:lnTo>
                  <a:pt x="2485" y="1166"/>
                </a:lnTo>
                <a:lnTo>
                  <a:pt x="2549" y="1166"/>
                </a:lnTo>
                <a:lnTo>
                  <a:pt x="2549" y="1828"/>
                </a:lnTo>
                <a:lnTo>
                  <a:pt x="2709" y="1828"/>
                </a:lnTo>
                <a:lnTo>
                  <a:pt x="2709" y="1936"/>
                </a:lnTo>
                <a:lnTo>
                  <a:pt x="2485" y="1936"/>
                </a:lnTo>
                <a:close/>
                <a:moveTo>
                  <a:pt x="2769" y="1936"/>
                </a:moveTo>
                <a:lnTo>
                  <a:pt x="2769" y="1166"/>
                </a:lnTo>
                <a:lnTo>
                  <a:pt x="2835" y="1166"/>
                </a:lnTo>
                <a:lnTo>
                  <a:pt x="2835" y="1828"/>
                </a:lnTo>
                <a:lnTo>
                  <a:pt x="2994" y="1828"/>
                </a:lnTo>
                <a:lnTo>
                  <a:pt x="2994" y="1936"/>
                </a:lnTo>
                <a:lnTo>
                  <a:pt x="2769" y="1936"/>
                </a:lnTo>
                <a:close/>
                <a:moveTo>
                  <a:pt x="3055" y="1166"/>
                </a:moveTo>
                <a:lnTo>
                  <a:pt x="3120" y="1166"/>
                </a:lnTo>
                <a:lnTo>
                  <a:pt x="3120" y="1936"/>
                </a:lnTo>
                <a:lnTo>
                  <a:pt x="3055" y="1936"/>
                </a:lnTo>
                <a:lnTo>
                  <a:pt x="3055" y="1166"/>
                </a:lnTo>
                <a:close/>
                <a:moveTo>
                  <a:pt x="3337" y="1954"/>
                </a:moveTo>
                <a:lnTo>
                  <a:pt x="3321" y="1954"/>
                </a:lnTo>
                <a:lnTo>
                  <a:pt x="3305" y="1950"/>
                </a:lnTo>
                <a:lnTo>
                  <a:pt x="3291" y="1944"/>
                </a:lnTo>
                <a:lnTo>
                  <a:pt x="3284" y="1940"/>
                </a:lnTo>
                <a:lnTo>
                  <a:pt x="3278" y="1936"/>
                </a:lnTo>
                <a:lnTo>
                  <a:pt x="3266" y="1928"/>
                </a:lnTo>
                <a:lnTo>
                  <a:pt x="3260" y="1922"/>
                </a:lnTo>
                <a:lnTo>
                  <a:pt x="3255" y="1916"/>
                </a:lnTo>
                <a:lnTo>
                  <a:pt x="3245" y="1902"/>
                </a:lnTo>
                <a:lnTo>
                  <a:pt x="3241" y="1896"/>
                </a:lnTo>
                <a:lnTo>
                  <a:pt x="3236" y="1888"/>
                </a:lnTo>
                <a:lnTo>
                  <a:pt x="3232" y="1880"/>
                </a:lnTo>
                <a:lnTo>
                  <a:pt x="3229" y="1872"/>
                </a:lnTo>
                <a:lnTo>
                  <a:pt x="3225" y="1864"/>
                </a:lnTo>
                <a:lnTo>
                  <a:pt x="3222" y="1854"/>
                </a:lnTo>
                <a:lnTo>
                  <a:pt x="3216" y="1834"/>
                </a:lnTo>
                <a:lnTo>
                  <a:pt x="3211" y="1814"/>
                </a:lnTo>
                <a:lnTo>
                  <a:pt x="3210" y="1804"/>
                </a:lnTo>
                <a:lnTo>
                  <a:pt x="3208" y="1792"/>
                </a:lnTo>
                <a:lnTo>
                  <a:pt x="3205" y="1770"/>
                </a:lnTo>
                <a:lnTo>
                  <a:pt x="3203" y="1746"/>
                </a:lnTo>
                <a:lnTo>
                  <a:pt x="3203" y="1732"/>
                </a:lnTo>
                <a:lnTo>
                  <a:pt x="3203" y="1720"/>
                </a:lnTo>
                <a:lnTo>
                  <a:pt x="3265" y="1693"/>
                </a:lnTo>
                <a:lnTo>
                  <a:pt x="3266" y="1714"/>
                </a:lnTo>
                <a:lnTo>
                  <a:pt x="3267" y="1734"/>
                </a:lnTo>
                <a:lnTo>
                  <a:pt x="3269" y="1750"/>
                </a:lnTo>
                <a:lnTo>
                  <a:pt x="3271" y="1766"/>
                </a:lnTo>
                <a:lnTo>
                  <a:pt x="3273" y="1774"/>
                </a:lnTo>
                <a:lnTo>
                  <a:pt x="3274" y="1782"/>
                </a:lnTo>
                <a:lnTo>
                  <a:pt x="3278" y="1794"/>
                </a:lnTo>
                <a:lnTo>
                  <a:pt x="3282" y="1804"/>
                </a:lnTo>
                <a:lnTo>
                  <a:pt x="3286" y="1814"/>
                </a:lnTo>
                <a:lnTo>
                  <a:pt x="3291" y="1824"/>
                </a:lnTo>
                <a:lnTo>
                  <a:pt x="3297" y="1830"/>
                </a:lnTo>
                <a:lnTo>
                  <a:pt x="3303" y="1836"/>
                </a:lnTo>
                <a:lnTo>
                  <a:pt x="3310" y="1840"/>
                </a:lnTo>
                <a:lnTo>
                  <a:pt x="3317" y="1844"/>
                </a:lnTo>
                <a:lnTo>
                  <a:pt x="3324" y="1846"/>
                </a:lnTo>
                <a:lnTo>
                  <a:pt x="3332" y="1848"/>
                </a:lnTo>
                <a:lnTo>
                  <a:pt x="3341" y="1848"/>
                </a:lnTo>
                <a:lnTo>
                  <a:pt x="3348" y="1848"/>
                </a:lnTo>
                <a:lnTo>
                  <a:pt x="3355" y="1846"/>
                </a:lnTo>
                <a:lnTo>
                  <a:pt x="3362" y="1844"/>
                </a:lnTo>
                <a:lnTo>
                  <a:pt x="3368" y="1842"/>
                </a:lnTo>
                <a:lnTo>
                  <a:pt x="3374" y="1838"/>
                </a:lnTo>
                <a:lnTo>
                  <a:pt x="3380" y="1832"/>
                </a:lnTo>
                <a:lnTo>
                  <a:pt x="3385" y="1826"/>
                </a:lnTo>
                <a:lnTo>
                  <a:pt x="3390" y="1820"/>
                </a:lnTo>
                <a:lnTo>
                  <a:pt x="3394" y="1812"/>
                </a:lnTo>
                <a:lnTo>
                  <a:pt x="3398" y="1804"/>
                </a:lnTo>
                <a:lnTo>
                  <a:pt x="3401" y="1796"/>
                </a:lnTo>
                <a:lnTo>
                  <a:pt x="3404" y="1786"/>
                </a:lnTo>
                <a:lnTo>
                  <a:pt x="3406" y="1774"/>
                </a:lnTo>
                <a:lnTo>
                  <a:pt x="3407" y="1770"/>
                </a:lnTo>
                <a:lnTo>
                  <a:pt x="3408" y="1764"/>
                </a:lnTo>
                <a:lnTo>
                  <a:pt x="3409" y="1752"/>
                </a:lnTo>
                <a:lnTo>
                  <a:pt x="3409" y="1738"/>
                </a:lnTo>
                <a:lnTo>
                  <a:pt x="3409" y="1728"/>
                </a:lnTo>
                <a:lnTo>
                  <a:pt x="3408" y="1718"/>
                </a:lnTo>
                <a:lnTo>
                  <a:pt x="3407" y="1711"/>
                </a:lnTo>
                <a:lnTo>
                  <a:pt x="3406" y="1701"/>
                </a:lnTo>
                <a:lnTo>
                  <a:pt x="3404" y="1693"/>
                </a:lnTo>
                <a:lnTo>
                  <a:pt x="3402" y="1685"/>
                </a:lnTo>
                <a:lnTo>
                  <a:pt x="3400" y="1677"/>
                </a:lnTo>
                <a:lnTo>
                  <a:pt x="3396" y="1669"/>
                </a:lnTo>
                <a:lnTo>
                  <a:pt x="3389" y="1653"/>
                </a:lnTo>
                <a:lnTo>
                  <a:pt x="3385" y="1645"/>
                </a:lnTo>
                <a:lnTo>
                  <a:pt x="3380" y="1639"/>
                </a:lnTo>
                <a:lnTo>
                  <a:pt x="3369" y="1625"/>
                </a:lnTo>
                <a:lnTo>
                  <a:pt x="3356" y="1613"/>
                </a:lnTo>
                <a:lnTo>
                  <a:pt x="3292" y="1555"/>
                </a:lnTo>
                <a:lnTo>
                  <a:pt x="3282" y="1547"/>
                </a:lnTo>
                <a:lnTo>
                  <a:pt x="3273" y="1537"/>
                </a:lnTo>
                <a:lnTo>
                  <a:pt x="3257" y="1517"/>
                </a:lnTo>
                <a:lnTo>
                  <a:pt x="3243" y="1497"/>
                </a:lnTo>
                <a:lnTo>
                  <a:pt x="3237" y="1485"/>
                </a:lnTo>
                <a:lnTo>
                  <a:pt x="3232" y="1473"/>
                </a:lnTo>
                <a:lnTo>
                  <a:pt x="3227" y="1461"/>
                </a:lnTo>
                <a:lnTo>
                  <a:pt x="3223" y="1447"/>
                </a:lnTo>
                <a:lnTo>
                  <a:pt x="3220" y="1433"/>
                </a:lnTo>
                <a:lnTo>
                  <a:pt x="3217" y="1417"/>
                </a:lnTo>
                <a:lnTo>
                  <a:pt x="3215" y="1401"/>
                </a:lnTo>
                <a:lnTo>
                  <a:pt x="3214" y="1393"/>
                </a:lnTo>
                <a:lnTo>
                  <a:pt x="3213" y="1385"/>
                </a:lnTo>
                <a:lnTo>
                  <a:pt x="3212" y="1367"/>
                </a:lnTo>
                <a:lnTo>
                  <a:pt x="3212" y="1347"/>
                </a:lnTo>
                <a:lnTo>
                  <a:pt x="3212" y="1335"/>
                </a:lnTo>
                <a:lnTo>
                  <a:pt x="3213" y="1323"/>
                </a:lnTo>
                <a:lnTo>
                  <a:pt x="3214" y="1311"/>
                </a:lnTo>
                <a:lnTo>
                  <a:pt x="3215" y="1299"/>
                </a:lnTo>
                <a:lnTo>
                  <a:pt x="3216" y="1289"/>
                </a:lnTo>
                <a:lnTo>
                  <a:pt x="3218" y="1279"/>
                </a:lnTo>
                <a:lnTo>
                  <a:pt x="3222" y="1259"/>
                </a:lnTo>
                <a:lnTo>
                  <a:pt x="3225" y="1249"/>
                </a:lnTo>
                <a:lnTo>
                  <a:pt x="3228" y="1241"/>
                </a:lnTo>
                <a:lnTo>
                  <a:pt x="3234" y="1225"/>
                </a:lnTo>
                <a:lnTo>
                  <a:pt x="3241" y="1210"/>
                </a:lnTo>
                <a:lnTo>
                  <a:pt x="3245" y="1204"/>
                </a:lnTo>
                <a:lnTo>
                  <a:pt x="3250" y="1198"/>
                </a:lnTo>
                <a:lnTo>
                  <a:pt x="3259" y="1186"/>
                </a:lnTo>
                <a:lnTo>
                  <a:pt x="3269" y="1176"/>
                </a:lnTo>
                <a:lnTo>
                  <a:pt x="3279" y="1166"/>
                </a:lnTo>
                <a:lnTo>
                  <a:pt x="3290" y="1160"/>
                </a:lnTo>
                <a:lnTo>
                  <a:pt x="3302" y="1154"/>
                </a:lnTo>
                <a:lnTo>
                  <a:pt x="3314" y="1150"/>
                </a:lnTo>
                <a:lnTo>
                  <a:pt x="3327" y="1148"/>
                </a:lnTo>
                <a:lnTo>
                  <a:pt x="3340" y="1148"/>
                </a:lnTo>
                <a:lnTo>
                  <a:pt x="3355" y="1150"/>
                </a:lnTo>
                <a:lnTo>
                  <a:pt x="3370" y="1152"/>
                </a:lnTo>
                <a:lnTo>
                  <a:pt x="3383" y="1158"/>
                </a:lnTo>
                <a:lnTo>
                  <a:pt x="3389" y="1162"/>
                </a:lnTo>
                <a:lnTo>
                  <a:pt x="3395" y="1166"/>
                </a:lnTo>
                <a:lnTo>
                  <a:pt x="3407" y="1174"/>
                </a:lnTo>
                <a:lnTo>
                  <a:pt x="3417" y="1186"/>
                </a:lnTo>
                <a:lnTo>
                  <a:pt x="3426" y="1198"/>
                </a:lnTo>
                <a:lnTo>
                  <a:pt x="3434" y="1212"/>
                </a:lnTo>
                <a:lnTo>
                  <a:pt x="3438" y="1218"/>
                </a:lnTo>
                <a:lnTo>
                  <a:pt x="3441" y="1225"/>
                </a:lnTo>
                <a:lnTo>
                  <a:pt x="3444" y="1233"/>
                </a:lnTo>
                <a:lnTo>
                  <a:pt x="3447" y="1241"/>
                </a:lnTo>
                <a:lnTo>
                  <a:pt x="3452" y="1259"/>
                </a:lnTo>
                <a:lnTo>
                  <a:pt x="3457" y="1275"/>
                </a:lnTo>
                <a:lnTo>
                  <a:pt x="3460" y="1293"/>
                </a:lnTo>
                <a:lnTo>
                  <a:pt x="3462" y="1313"/>
                </a:lnTo>
                <a:lnTo>
                  <a:pt x="3464" y="1331"/>
                </a:lnTo>
                <a:lnTo>
                  <a:pt x="3464" y="1349"/>
                </a:lnTo>
                <a:lnTo>
                  <a:pt x="3402" y="1375"/>
                </a:lnTo>
                <a:lnTo>
                  <a:pt x="3402" y="1359"/>
                </a:lnTo>
                <a:lnTo>
                  <a:pt x="3400" y="1345"/>
                </a:lnTo>
                <a:lnTo>
                  <a:pt x="3399" y="1331"/>
                </a:lnTo>
                <a:lnTo>
                  <a:pt x="3397" y="1319"/>
                </a:lnTo>
                <a:lnTo>
                  <a:pt x="3394" y="1309"/>
                </a:lnTo>
                <a:lnTo>
                  <a:pt x="3391" y="1299"/>
                </a:lnTo>
                <a:lnTo>
                  <a:pt x="3388" y="1289"/>
                </a:lnTo>
                <a:lnTo>
                  <a:pt x="3384" y="1281"/>
                </a:lnTo>
                <a:lnTo>
                  <a:pt x="3380" y="1275"/>
                </a:lnTo>
                <a:lnTo>
                  <a:pt x="3375" y="1269"/>
                </a:lnTo>
                <a:lnTo>
                  <a:pt x="3370" y="1265"/>
                </a:lnTo>
                <a:lnTo>
                  <a:pt x="3364" y="1261"/>
                </a:lnTo>
                <a:lnTo>
                  <a:pt x="3358" y="1257"/>
                </a:lnTo>
                <a:lnTo>
                  <a:pt x="3352" y="1255"/>
                </a:lnTo>
                <a:lnTo>
                  <a:pt x="3345" y="1255"/>
                </a:lnTo>
                <a:lnTo>
                  <a:pt x="3337" y="1253"/>
                </a:lnTo>
                <a:lnTo>
                  <a:pt x="3325" y="1255"/>
                </a:lnTo>
                <a:lnTo>
                  <a:pt x="3313" y="1259"/>
                </a:lnTo>
                <a:lnTo>
                  <a:pt x="3308" y="1263"/>
                </a:lnTo>
                <a:lnTo>
                  <a:pt x="3303" y="1267"/>
                </a:lnTo>
                <a:lnTo>
                  <a:pt x="3298" y="1271"/>
                </a:lnTo>
                <a:lnTo>
                  <a:pt x="3294" y="1275"/>
                </a:lnTo>
                <a:lnTo>
                  <a:pt x="3290" y="1281"/>
                </a:lnTo>
                <a:lnTo>
                  <a:pt x="3287" y="1287"/>
                </a:lnTo>
                <a:lnTo>
                  <a:pt x="3284" y="1295"/>
                </a:lnTo>
                <a:lnTo>
                  <a:pt x="3281" y="1303"/>
                </a:lnTo>
                <a:lnTo>
                  <a:pt x="3279" y="1311"/>
                </a:lnTo>
                <a:lnTo>
                  <a:pt x="3278" y="1321"/>
                </a:lnTo>
                <a:lnTo>
                  <a:pt x="3277" y="1331"/>
                </a:lnTo>
                <a:lnTo>
                  <a:pt x="3276" y="1341"/>
                </a:lnTo>
                <a:lnTo>
                  <a:pt x="3277" y="1351"/>
                </a:lnTo>
                <a:lnTo>
                  <a:pt x="3277" y="1361"/>
                </a:lnTo>
                <a:lnTo>
                  <a:pt x="3278" y="1371"/>
                </a:lnTo>
                <a:lnTo>
                  <a:pt x="3279" y="1379"/>
                </a:lnTo>
                <a:lnTo>
                  <a:pt x="3281" y="1387"/>
                </a:lnTo>
                <a:lnTo>
                  <a:pt x="3283" y="1395"/>
                </a:lnTo>
                <a:lnTo>
                  <a:pt x="3286" y="1403"/>
                </a:lnTo>
                <a:lnTo>
                  <a:pt x="3288" y="1409"/>
                </a:lnTo>
                <a:lnTo>
                  <a:pt x="3292" y="1415"/>
                </a:lnTo>
                <a:lnTo>
                  <a:pt x="3295" y="1421"/>
                </a:lnTo>
                <a:lnTo>
                  <a:pt x="3304" y="1433"/>
                </a:lnTo>
                <a:lnTo>
                  <a:pt x="3314" y="1445"/>
                </a:lnTo>
                <a:lnTo>
                  <a:pt x="3326" y="1457"/>
                </a:lnTo>
                <a:lnTo>
                  <a:pt x="3388" y="1511"/>
                </a:lnTo>
                <a:lnTo>
                  <a:pt x="3398" y="1521"/>
                </a:lnTo>
                <a:lnTo>
                  <a:pt x="3408" y="1531"/>
                </a:lnTo>
                <a:lnTo>
                  <a:pt x="3418" y="1541"/>
                </a:lnTo>
                <a:lnTo>
                  <a:pt x="3426" y="1553"/>
                </a:lnTo>
                <a:lnTo>
                  <a:pt x="3434" y="1565"/>
                </a:lnTo>
                <a:lnTo>
                  <a:pt x="3441" y="1575"/>
                </a:lnTo>
                <a:lnTo>
                  <a:pt x="3447" y="1589"/>
                </a:lnTo>
                <a:lnTo>
                  <a:pt x="3453" y="1601"/>
                </a:lnTo>
                <a:lnTo>
                  <a:pt x="3458" y="1615"/>
                </a:lnTo>
                <a:lnTo>
                  <a:pt x="3462" y="1629"/>
                </a:lnTo>
                <a:lnTo>
                  <a:pt x="3466" y="1643"/>
                </a:lnTo>
                <a:lnTo>
                  <a:pt x="3469" y="1659"/>
                </a:lnTo>
                <a:lnTo>
                  <a:pt x="3471" y="1675"/>
                </a:lnTo>
                <a:lnTo>
                  <a:pt x="3472" y="1685"/>
                </a:lnTo>
                <a:lnTo>
                  <a:pt x="3472" y="1693"/>
                </a:lnTo>
                <a:lnTo>
                  <a:pt x="3473" y="1711"/>
                </a:lnTo>
                <a:lnTo>
                  <a:pt x="3474" y="1730"/>
                </a:lnTo>
                <a:lnTo>
                  <a:pt x="3473" y="1756"/>
                </a:lnTo>
                <a:lnTo>
                  <a:pt x="3471" y="1780"/>
                </a:lnTo>
                <a:lnTo>
                  <a:pt x="3470" y="1792"/>
                </a:lnTo>
                <a:lnTo>
                  <a:pt x="3468" y="1802"/>
                </a:lnTo>
                <a:lnTo>
                  <a:pt x="3466" y="1814"/>
                </a:lnTo>
                <a:lnTo>
                  <a:pt x="3464" y="1824"/>
                </a:lnTo>
                <a:lnTo>
                  <a:pt x="3461" y="1834"/>
                </a:lnTo>
                <a:lnTo>
                  <a:pt x="3459" y="1844"/>
                </a:lnTo>
                <a:lnTo>
                  <a:pt x="3452" y="1862"/>
                </a:lnTo>
                <a:lnTo>
                  <a:pt x="3449" y="1870"/>
                </a:lnTo>
                <a:lnTo>
                  <a:pt x="3445" y="1880"/>
                </a:lnTo>
                <a:lnTo>
                  <a:pt x="3437" y="1894"/>
                </a:lnTo>
                <a:lnTo>
                  <a:pt x="3432" y="1902"/>
                </a:lnTo>
                <a:lnTo>
                  <a:pt x="3427" y="1908"/>
                </a:lnTo>
                <a:lnTo>
                  <a:pt x="3422" y="1914"/>
                </a:lnTo>
                <a:lnTo>
                  <a:pt x="3417" y="1920"/>
                </a:lnTo>
                <a:lnTo>
                  <a:pt x="3406" y="1930"/>
                </a:lnTo>
                <a:lnTo>
                  <a:pt x="3394" y="1938"/>
                </a:lnTo>
                <a:lnTo>
                  <a:pt x="3381" y="1946"/>
                </a:lnTo>
                <a:lnTo>
                  <a:pt x="3367" y="1950"/>
                </a:lnTo>
                <a:lnTo>
                  <a:pt x="3360" y="1952"/>
                </a:lnTo>
                <a:lnTo>
                  <a:pt x="3353" y="1952"/>
                </a:lnTo>
                <a:lnTo>
                  <a:pt x="3337" y="1954"/>
                </a:lnTo>
                <a:close/>
                <a:moveTo>
                  <a:pt x="3582" y="1882"/>
                </a:moveTo>
                <a:lnTo>
                  <a:pt x="3574" y="1866"/>
                </a:lnTo>
                <a:lnTo>
                  <a:pt x="3567" y="1848"/>
                </a:lnTo>
                <a:lnTo>
                  <a:pt x="3562" y="1828"/>
                </a:lnTo>
                <a:lnTo>
                  <a:pt x="3559" y="1816"/>
                </a:lnTo>
                <a:lnTo>
                  <a:pt x="3557" y="1806"/>
                </a:lnTo>
                <a:lnTo>
                  <a:pt x="3554" y="1782"/>
                </a:lnTo>
                <a:lnTo>
                  <a:pt x="3551" y="1756"/>
                </a:lnTo>
                <a:lnTo>
                  <a:pt x="3550" y="1742"/>
                </a:lnTo>
                <a:lnTo>
                  <a:pt x="3550" y="1726"/>
                </a:lnTo>
                <a:lnTo>
                  <a:pt x="3549" y="1697"/>
                </a:lnTo>
                <a:lnTo>
                  <a:pt x="3549" y="1166"/>
                </a:lnTo>
                <a:lnTo>
                  <a:pt x="3615" y="1166"/>
                </a:lnTo>
                <a:lnTo>
                  <a:pt x="3615" y="1691"/>
                </a:lnTo>
                <a:lnTo>
                  <a:pt x="3615" y="1711"/>
                </a:lnTo>
                <a:lnTo>
                  <a:pt x="3616" y="1728"/>
                </a:lnTo>
                <a:lnTo>
                  <a:pt x="3617" y="1744"/>
                </a:lnTo>
                <a:lnTo>
                  <a:pt x="3618" y="1758"/>
                </a:lnTo>
                <a:lnTo>
                  <a:pt x="3620" y="1772"/>
                </a:lnTo>
                <a:lnTo>
                  <a:pt x="3623" y="1784"/>
                </a:lnTo>
                <a:lnTo>
                  <a:pt x="3625" y="1796"/>
                </a:lnTo>
                <a:lnTo>
                  <a:pt x="3629" y="1804"/>
                </a:lnTo>
                <a:lnTo>
                  <a:pt x="3633" y="1814"/>
                </a:lnTo>
                <a:lnTo>
                  <a:pt x="3637" y="1822"/>
                </a:lnTo>
                <a:lnTo>
                  <a:pt x="3643" y="1830"/>
                </a:lnTo>
                <a:lnTo>
                  <a:pt x="3649" y="1836"/>
                </a:lnTo>
                <a:lnTo>
                  <a:pt x="3652" y="1838"/>
                </a:lnTo>
                <a:lnTo>
                  <a:pt x="3655" y="1840"/>
                </a:lnTo>
                <a:lnTo>
                  <a:pt x="3662" y="1844"/>
                </a:lnTo>
                <a:lnTo>
                  <a:pt x="3670" y="1846"/>
                </a:lnTo>
                <a:lnTo>
                  <a:pt x="3678" y="1846"/>
                </a:lnTo>
                <a:lnTo>
                  <a:pt x="3686" y="1846"/>
                </a:lnTo>
                <a:lnTo>
                  <a:pt x="3694" y="1844"/>
                </a:lnTo>
                <a:lnTo>
                  <a:pt x="3701" y="1840"/>
                </a:lnTo>
                <a:lnTo>
                  <a:pt x="3708" y="1836"/>
                </a:lnTo>
                <a:lnTo>
                  <a:pt x="3713" y="1830"/>
                </a:lnTo>
                <a:lnTo>
                  <a:pt x="3719" y="1822"/>
                </a:lnTo>
                <a:lnTo>
                  <a:pt x="3723" y="1814"/>
                </a:lnTo>
                <a:lnTo>
                  <a:pt x="3728" y="1804"/>
                </a:lnTo>
                <a:lnTo>
                  <a:pt x="3731" y="1796"/>
                </a:lnTo>
                <a:lnTo>
                  <a:pt x="3734" y="1784"/>
                </a:lnTo>
                <a:lnTo>
                  <a:pt x="3736" y="1772"/>
                </a:lnTo>
                <a:lnTo>
                  <a:pt x="3738" y="1758"/>
                </a:lnTo>
                <a:lnTo>
                  <a:pt x="3740" y="1744"/>
                </a:lnTo>
                <a:lnTo>
                  <a:pt x="3741" y="1728"/>
                </a:lnTo>
                <a:lnTo>
                  <a:pt x="3741" y="1711"/>
                </a:lnTo>
                <a:lnTo>
                  <a:pt x="3741" y="1691"/>
                </a:lnTo>
                <a:lnTo>
                  <a:pt x="3741" y="1166"/>
                </a:lnTo>
                <a:lnTo>
                  <a:pt x="3807" y="1166"/>
                </a:lnTo>
                <a:lnTo>
                  <a:pt x="3807" y="1697"/>
                </a:lnTo>
                <a:lnTo>
                  <a:pt x="3806" y="1726"/>
                </a:lnTo>
                <a:lnTo>
                  <a:pt x="3805" y="1742"/>
                </a:lnTo>
                <a:lnTo>
                  <a:pt x="3805" y="1756"/>
                </a:lnTo>
                <a:lnTo>
                  <a:pt x="3802" y="1782"/>
                </a:lnTo>
                <a:lnTo>
                  <a:pt x="3798" y="1806"/>
                </a:lnTo>
                <a:lnTo>
                  <a:pt x="3796" y="1816"/>
                </a:lnTo>
                <a:lnTo>
                  <a:pt x="3794" y="1828"/>
                </a:lnTo>
                <a:lnTo>
                  <a:pt x="3788" y="1848"/>
                </a:lnTo>
                <a:lnTo>
                  <a:pt x="3785" y="1856"/>
                </a:lnTo>
                <a:lnTo>
                  <a:pt x="3782" y="1866"/>
                </a:lnTo>
                <a:lnTo>
                  <a:pt x="3779" y="1874"/>
                </a:lnTo>
                <a:lnTo>
                  <a:pt x="3775" y="1882"/>
                </a:lnTo>
                <a:lnTo>
                  <a:pt x="3771" y="1890"/>
                </a:lnTo>
                <a:lnTo>
                  <a:pt x="3766" y="1898"/>
                </a:lnTo>
                <a:lnTo>
                  <a:pt x="3756" y="1914"/>
                </a:lnTo>
                <a:lnTo>
                  <a:pt x="3745" y="1926"/>
                </a:lnTo>
                <a:lnTo>
                  <a:pt x="3739" y="1930"/>
                </a:lnTo>
                <a:lnTo>
                  <a:pt x="3733" y="1936"/>
                </a:lnTo>
                <a:lnTo>
                  <a:pt x="3720" y="1944"/>
                </a:lnTo>
                <a:lnTo>
                  <a:pt x="3714" y="1946"/>
                </a:lnTo>
                <a:lnTo>
                  <a:pt x="3707" y="1950"/>
                </a:lnTo>
                <a:lnTo>
                  <a:pt x="3693" y="1952"/>
                </a:lnTo>
                <a:lnTo>
                  <a:pt x="3685" y="1954"/>
                </a:lnTo>
                <a:lnTo>
                  <a:pt x="3678" y="1954"/>
                </a:lnTo>
                <a:lnTo>
                  <a:pt x="3663" y="1952"/>
                </a:lnTo>
                <a:lnTo>
                  <a:pt x="3649" y="1950"/>
                </a:lnTo>
                <a:lnTo>
                  <a:pt x="3643" y="1946"/>
                </a:lnTo>
                <a:lnTo>
                  <a:pt x="3636" y="1944"/>
                </a:lnTo>
                <a:lnTo>
                  <a:pt x="3624" y="1936"/>
                </a:lnTo>
                <a:lnTo>
                  <a:pt x="3612" y="1926"/>
                </a:lnTo>
                <a:lnTo>
                  <a:pt x="3601" y="1914"/>
                </a:lnTo>
                <a:lnTo>
                  <a:pt x="3591" y="1898"/>
                </a:lnTo>
                <a:lnTo>
                  <a:pt x="3586" y="1890"/>
                </a:lnTo>
                <a:lnTo>
                  <a:pt x="3582" y="1882"/>
                </a:lnTo>
                <a:close/>
                <a:moveTo>
                  <a:pt x="3934" y="1882"/>
                </a:moveTo>
                <a:lnTo>
                  <a:pt x="3927" y="1866"/>
                </a:lnTo>
                <a:lnTo>
                  <a:pt x="3920" y="1848"/>
                </a:lnTo>
                <a:lnTo>
                  <a:pt x="3915" y="1828"/>
                </a:lnTo>
                <a:lnTo>
                  <a:pt x="3912" y="1816"/>
                </a:lnTo>
                <a:lnTo>
                  <a:pt x="3910" y="1806"/>
                </a:lnTo>
                <a:lnTo>
                  <a:pt x="3907" y="1782"/>
                </a:lnTo>
                <a:lnTo>
                  <a:pt x="3904" y="1756"/>
                </a:lnTo>
                <a:lnTo>
                  <a:pt x="3903" y="1742"/>
                </a:lnTo>
                <a:lnTo>
                  <a:pt x="3903" y="1726"/>
                </a:lnTo>
                <a:lnTo>
                  <a:pt x="3902" y="1697"/>
                </a:lnTo>
                <a:lnTo>
                  <a:pt x="3902" y="1166"/>
                </a:lnTo>
                <a:lnTo>
                  <a:pt x="3968" y="1166"/>
                </a:lnTo>
                <a:lnTo>
                  <a:pt x="3968" y="1691"/>
                </a:lnTo>
                <a:lnTo>
                  <a:pt x="3968" y="1711"/>
                </a:lnTo>
                <a:lnTo>
                  <a:pt x="3969" y="1728"/>
                </a:lnTo>
                <a:lnTo>
                  <a:pt x="3970" y="1744"/>
                </a:lnTo>
                <a:lnTo>
                  <a:pt x="3972" y="1758"/>
                </a:lnTo>
                <a:lnTo>
                  <a:pt x="3973" y="1772"/>
                </a:lnTo>
                <a:lnTo>
                  <a:pt x="3976" y="1784"/>
                </a:lnTo>
                <a:lnTo>
                  <a:pt x="3979" y="1796"/>
                </a:lnTo>
                <a:lnTo>
                  <a:pt x="3982" y="1804"/>
                </a:lnTo>
                <a:lnTo>
                  <a:pt x="3986" y="1814"/>
                </a:lnTo>
                <a:lnTo>
                  <a:pt x="3991" y="1822"/>
                </a:lnTo>
                <a:lnTo>
                  <a:pt x="3996" y="1830"/>
                </a:lnTo>
                <a:lnTo>
                  <a:pt x="4002" y="1836"/>
                </a:lnTo>
                <a:lnTo>
                  <a:pt x="4005" y="1838"/>
                </a:lnTo>
                <a:lnTo>
                  <a:pt x="4008" y="1840"/>
                </a:lnTo>
                <a:lnTo>
                  <a:pt x="4015" y="1844"/>
                </a:lnTo>
                <a:lnTo>
                  <a:pt x="4023" y="1846"/>
                </a:lnTo>
                <a:lnTo>
                  <a:pt x="4031" y="1846"/>
                </a:lnTo>
                <a:lnTo>
                  <a:pt x="4040" y="1846"/>
                </a:lnTo>
                <a:lnTo>
                  <a:pt x="4047" y="1844"/>
                </a:lnTo>
                <a:lnTo>
                  <a:pt x="4054" y="1840"/>
                </a:lnTo>
                <a:lnTo>
                  <a:pt x="4061" y="1836"/>
                </a:lnTo>
                <a:lnTo>
                  <a:pt x="4067" y="1830"/>
                </a:lnTo>
                <a:lnTo>
                  <a:pt x="4072" y="1822"/>
                </a:lnTo>
                <a:lnTo>
                  <a:pt x="4077" y="1814"/>
                </a:lnTo>
                <a:lnTo>
                  <a:pt x="4081" y="1804"/>
                </a:lnTo>
                <a:lnTo>
                  <a:pt x="4084" y="1796"/>
                </a:lnTo>
                <a:lnTo>
                  <a:pt x="4087" y="1784"/>
                </a:lnTo>
                <a:lnTo>
                  <a:pt x="4090" y="1772"/>
                </a:lnTo>
                <a:lnTo>
                  <a:pt x="4091" y="1758"/>
                </a:lnTo>
                <a:lnTo>
                  <a:pt x="4093" y="1744"/>
                </a:lnTo>
                <a:lnTo>
                  <a:pt x="4094" y="1728"/>
                </a:lnTo>
                <a:lnTo>
                  <a:pt x="4094" y="1711"/>
                </a:lnTo>
                <a:lnTo>
                  <a:pt x="4094" y="1691"/>
                </a:lnTo>
                <a:lnTo>
                  <a:pt x="4094" y="1166"/>
                </a:lnTo>
                <a:lnTo>
                  <a:pt x="4160" y="1166"/>
                </a:lnTo>
                <a:lnTo>
                  <a:pt x="4160" y="1697"/>
                </a:lnTo>
                <a:lnTo>
                  <a:pt x="4159" y="1726"/>
                </a:lnTo>
                <a:lnTo>
                  <a:pt x="4159" y="1742"/>
                </a:lnTo>
                <a:lnTo>
                  <a:pt x="4158" y="1756"/>
                </a:lnTo>
                <a:lnTo>
                  <a:pt x="4155" y="1782"/>
                </a:lnTo>
                <a:lnTo>
                  <a:pt x="4152" y="1806"/>
                </a:lnTo>
                <a:lnTo>
                  <a:pt x="4149" y="1816"/>
                </a:lnTo>
                <a:lnTo>
                  <a:pt x="4147" y="1828"/>
                </a:lnTo>
                <a:lnTo>
                  <a:pt x="4142" y="1848"/>
                </a:lnTo>
                <a:lnTo>
                  <a:pt x="4139" y="1856"/>
                </a:lnTo>
                <a:lnTo>
                  <a:pt x="4135" y="1866"/>
                </a:lnTo>
                <a:lnTo>
                  <a:pt x="4132" y="1874"/>
                </a:lnTo>
                <a:lnTo>
                  <a:pt x="4128" y="1882"/>
                </a:lnTo>
                <a:lnTo>
                  <a:pt x="4124" y="1890"/>
                </a:lnTo>
                <a:lnTo>
                  <a:pt x="4119" y="1898"/>
                </a:lnTo>
                <a:lnTo>
                  <a:pt x="4109" y="1914"/>
                </a:lnTo>
                <a:lnTo>
                  <a:pt x="4098" y="1926"/>
                </a:lnTo>
                <a:lnTo>
                  <a:pt x="4092" y="1930"/>
                </a:lnTo>
                <a:lnTo>
                  <a:pt x="4086" y="1936"/>
                </a:lnTo>
                <a:lnTo>
                  <a:pt x="4073" y="1944"/>
                </a:lnTo>
                <a:lnTo>
                  <a:pt x="4067" y="1946"/>
                </a:lnTo>
                <a:lnTo>
                  <a:pt x="4060" y="1950"/>
                </a:lnTo>
                <a:lnTo>
                  <a:pt x="4046" y="1952"/>
                </a:lnTo>
                <a:lnTo>
                  <a:pt x="4039" y="1954"/>
                </a:lnTo>
                <a:lnTo>
                  <a:pt x="4031" y="1954"/>
                </a:lnTo>
                <a:lnTo>
                  <a:pt x="4017" y="1952"/>
                </a:lnTo>
                <a:lnTo>
                  <a:pt x="4003" y="1950"/>
                </a:lnTo>
                <a:lnTo>
                  <a:pt x="3996" y="1946"/>
                </a:lnTo>
                <a:lnTo>
                  <a:pt x="3989" y="1944"/>
                </a:lnTo>
                <a:lnTo>
                  <a:pt x="3977" y="1936"/>
                </a:lnTo>
                <a:lnTo>
                  <a:pt x="3965" y="1926"/>
                </a:lnTo>
                <a:lnTo>
                  <a:pt x="3954" y="1914"/>
                </a:lnTo>
                <a:lnTo>
                  <a:pt x="3943" y="1898"/>
                </a:lnTo>
                <a:lnTo>
                  <a:pt x="3938" y="1890"/>
                </a:lnTo>
                <a:lnTo>
                  <a:pt x="3934" y="1882"/>
                </a:lnTo>
                <a:close/>
                <a:moveTo>
                  <a:pt x="4370" y="1954"/>
                </a:moveTo>
                <a:lnTo>
                  <a:pt x="4354" y="1954"/>
                </a:lnTo>
                <a:lnTo>
                  <a:pt x="4339" y="1950"/>
                </a:lnTo>
                <a:lnTo>
                  <a:pt x="4324" y="1944"/>
                </a:lnTo>
                <a:lnTo>
                  <a:pt x="4317" y="1940"/>
                </a:lnTo>
                <a:lnTo>
                  <a:pt x="4310" y="1936"/>
                </a:lnTo>
                <a:lnTo>
                  <a:pt x="4298" y="1928"/>
                </a:lnTo>
                <a:lnTo>
                  <a:pt x="4292" y="1922"/>
                </a:lnTo>
                <a:lnTo>
                  <a:pt x="4287" y="1916"/>
                </a:lnTo>
                <a:lnTo>
                  <a:pt x="4277" y="1902"/>
                </a:lnTo>
                <a:lnTo>
                  <a:pt x="4273" y="1896"/>
                </a:lnTo>
                <a:lnTo>
                  <a:pt x="4268" y="1888"/>
                </a:lnTo>
                <a:lnTo>
                  <a:pt x="4264" y="1880"/>
                </a:lnTo>
                <a:lnTo>
                  <a:pt x="4261" y="1872"/>
                </a:lnTo>
                <a:lnTo>
                  <a:pt x="4257" y="1864"/>
                </a:lnTo>
                <a:lnTo>
                  <a:pt x="4254" y="1854"/>
                </a:lnTo>
                <a:lnTo>
                  <a:pt x="4248" y="1834"/>
                </a:lnTo>
                <a:lnTo>
                  <a:pt x="4244" y="1814"/>
                </a:lnTo>
                <a:lnTo>
                  <a:pt x="4242" y="1804"/>
                </a:lnTo>
                <a:lnTo>
                  <a:pt x="4240" y="1792"/>
                </a:lnTo>
                <a:lnTo>
                  <a:pt x="4237" y="1770"/>
                </a:lnTo>
                <a:lnTo>
                  <a:pt x="4236" y="1746"/>
                </a:lnTo>
                <a:lnTo>
                  <a:pt x="4235" y="1732"/>
                </a:lnTo>
                <a:lnTo>
                  <a:pt x="4235" y="1720"/>
                </a:lnTo>
                <a:lnTo>
                  <a:pt x="4298" y="1693"/>
                </a:lnTo>
                <a:lnTo>
                  <a:pt x="4298" y="1714"/>
                </a:lnTo>
                <a:lnTo>
                  <a:pt x="4299" y="1734"/>
                </a:lnTo>
                <a:lnTo>
                  <a:pt x="4301" y="1750"/>
                </a:lnTo>
                <a:lnTo>
                  <a:pt x="4303" y="1766"/>
                </a:lnTo>
                <a:lnTo>
                  <a:pt x="4305" y="1774"/>
                </a:lnTo>
                <a:lnTo>
                  <a:pt x="4306" y="1782"/>
                </a:lnTo>
                <a:lnTo>
                  <a:pt x="4310" y="1794"/>
                </a:lnTo>
                <a:lnTo>
                  <a:pt x="4314" y="1804"/>
                </a:lnTo>
                <a:lnTo>
                  <a:pt x="4318" y="1814"/>
                </a:lnTo>
                <a:lnTo>
                  <a:pt x="4324" y="1824"/>
                </a:lnTo>
                <a:lnTo>
                  <a:pt x="4330" y="1830"/>
                </a:lnTo>
                <a:lnTo>
                  <a:pt x="4336" y="1836"/>
                </a:lnTo>
                <a:lnTo>
                  <a:pt x="4343" y="1840"/>
                </a:lnTo>
                <a:lnTo>
                  <a:pt x="4350" y="1844"/>
                </a:lnTo>
                <a:lnTo>
                  <a:pt x="4357" y="1846"/>
                </a:lnTo>
                <a:lnTo>
                  <a:pt x="4365" y="1848"/>
                </a:lnTo>
                <a:lnTo>
                  <a:pt x="4374" y="1848"/>
                </a:lnTo>
                <a:lnTo>
                  <a:pt x="4381" y="1848"/>
                </a:lnTo>
                <a:lnTo>
                  <a:pt x="4388" y="1846"/>
                </a:lnTo>
                <a:lnTo>
                  <a:pt x="4395" y="1844"/>
                </a:lnTo>
                <a:lnTo>
                  <a:pt x="4401" y="1842"/>
                </a:lnTo>
                <a:lnTo>
                  <a:pt x="4407" y="1838"/>
                </a:lnTo>
                <a:lnTo>
                  <a:pt x="4413" y="1832"/>
                </a:lnTo>
                <a:lnTo>
                  <a:pt x="4418" y="1826"/>
                </a:lnTo>
                <a:lnTo>
                  <a:pt x="4423" y="1820"/>
                </a:lnTo>
                <a:lnTo>
                  <a:pt x="4427" y="1812"/>
                </a:lnTo>
                <a:lnTo>
                  <a:pt x="4431" y="1804"/>
                </a:lnTo>
                <a:lnTo>
                  <a:pt x="4434" y="1796"/>
                </a:lnTo>
                <a:lnTo>
                  <a:pt x="4437" y="1786"/>
                </a:lnTo>
                <a:lnTo>
                  <a:pt x="4439" y="1774"/>
                </a:lnTo>
                <a:lnTo>
                  <a:pt x="4440" y="1770"/>
                </a:lnTo>
                <a:lnTo>
                  <a:pt x="4441" y="1764"/>
                </a:lnTo>
                <a:lnTo>
                  <a:pt x="4442" y="1752"/>
                </a:lnTo>
                <a:lnTo>
                  <a:pt x="4442" y="1738"/>
                </a:lnTo>
                <a:lnTo>
                  <a:pt x="4442" y="1728"/>
                </a:lnTo>
                <a:lnTo>
                  <a:pt x="4442" y="1718"/>
                </a:lnTo>
                <a:lnTo>
                  <a:pt x="4441" y="1711"/>
                </a:lnTo>
                <a:lnTo>
                  <a:pt x="4439" y="1701"/>
                </a:lnTo>
                <a:lnTo>
                  <a:pt x="4437" y="1693"/>
                </a:lnTo>
                <a:lnTo>
                  <a:pt x="4435" y="1685"/>
                </a:lnTo>
                <a:lnTo>
                  <a:pt x="4433" y="1677"/>
                </a:lnTo>
                <a:lnTo>
                  <a:pt x="4430" y="1669"/>
                </a:lnTo>
                <a:lnTo>
                  <a:pt x="4422" y="1653"/>
                </a:lnTo>
                <a:lnTo>
                  <a:pt x="4418" y="1645"/>
                </a:lnTo>
                <a:lnTo>
                  <a:pt x="4413" y="1639"/>
                </a:lnTo>
                <a:lnTo>
                  <a:pt x="4402" y="1625"/>
                </a:lnTo>
                <a:lnTo>
                  <a:pt x="4389" y="1613"/>
                </a:lnTo>
                <a:lnTo>
                  <a:pt x="4325" y="1555"/>
                </a:lnTo>
                <a:lnTo>
                  <a:pt x="4315" y="1547"/>
                </a:lnTo>
                <a:lnTo>
                  <a:pt x="4305" y="1537"/>
                </a:lnTo>
                <a:lnTo>
                  <a:pt x="4289" y="1517"/>
                </a:lnTo>
                <a:lnTo>
                  <a:pt x="4275" y="1497"/>
                </a:lnTo>
                <a:lnTo>
                  <a:pt x="4270" y="1485"/>
                </a:lnTo>
                <a:lnTo>
                  <a:pt x="4264" y="1473"/>
                </a:lnTo>
                <a:lnTo>
                  <a:pt x="4260" y="1461"/>
                </a:lnTo>
                <a:lnTo>
                  <a:pt x="4255" y="1447"/>
                </a:lnTo>
                <a:lnTo>
                  <a:pt x="4252" y="1433"/>
                </a:lnTo>
                <a:lnTo>
                  <a:pt x="4249" y="1417"/>
                </a:lnTo>
                <a:lnTo>
                  <a:pt x="4247" y="1401"/>
                </a:lnTo>
                <a:lnTo>
                  <a:pt x="4246" y="1393"/>
                </a:lnTo>
                <a:lnTo>
                  <a:pt x="4245" y="1385"/>
                </a:lnTo>
                <a:lnTo>
                  <a:pt x="4244" y="1367"/>
                </a:lnTo>
                <a:lnTo>
                  <a:pt x="4244" y="1347"/>
                </a:lnTo>
                <a:lnTo>
                  <a:pt x="4244" y="1335"/>
                </a:lnTo>
                <a:lnTo>
                  <a:pt x="4245" y="1323"/>
                </a:lnTo>
                <a:lnTo>
                  <a:pt x="4246" y="1311"/>
                </a:lnTo>
                <a:lnTo>
                  <a:pt x="4247" y="1299"/>
                </a:lnTo>
                <a:lnTo>
                  <a:pt x="4248" y="1289"/>
                </a:lnTo>
                <a:lnTo>
                  <a:pt x="4250" y="1279"/>
                </a:lnTo>
                <a:lnTo>
                  <a:pt x="4254" y="1259"/>
                </a:lnTo>
                <a:lnTo>
                  <a:pt x="4257" y="1249"/>
                </a:lnTo>
                <a:lnTo>
                  <a:pt x="4260" y="1241"/>
                </a:lnTo>
                <a:lnTo>
                  <a:pt x="4266" y="1225"/>
                </a:lnTo>
                <a:lnTo>
                  <a:pt x="4273" y="1210"/>
                </a:lnTo>
                <a:lnTo>
                  <a:pt x="4277" y="1204"/>
                </a:lnTo>
                <a:lnTo>
                  <a:pt x="4282" y="1198"/>
                </a:lnTo>
                <a:lnTo>
                  <a:pt x="4291" y="1186"/>
                </a:lnTo>
                <a:lnTo>
                  <a:pt x="4301" y="1176"/>
                </a:lnTo>
                <a:lnTo>
                  <a:pt x="4311" y="1166"/>
                </a:lnTo>
                <a:lnTo>
                  <a:pt x="4323" y="1160"/>
                </a:lnTo>
                <a:lnTo>
                  <a:pt x="4335" y="1154"/>
                </a:lnTo>
                <a:lnTo>
                  <a:pt x="4347" y="1150"/>
                </a:lnTo>
                <a:lnTo>
                  <a:pt x="4360" y="1148"/>
                </a:lnTo>
                <a:lnTo>
                  <a:pt x="4373" y="1148"/>
                </a:lnTo>
                <a:lnTo>
                  <a:pt x="4388" y="1150"/>
                </a:lnTo>
                <a:lnTo>
                  <a:pt x="4403" y="1152"/>
                </a:lnTo>
                <a:lnTo>
                  <a:pt x="4416" y="1158"/>
                </a:lnTo>
                <a:lnTo>
                  <a:pt x="4422" y="1162"/>
                </a:lnTo>
                <a:lnTo>
                  <a:pt x="4428" y="1166"/>
                </a:lnTo>
                <a:lnTo>
                  <a:pt x="4440" y="1174"/>
                </a:lnTo>
                <a:lnTo>
                  <a:pt x="4450" y="1186"/>
                </a:lnTo>
                <a:lnTo>
                  <a:pt x="4459" y="1198"/>
                </a:lnTo>
                <a:lnTo>
                  <a:pt x="4467" y="1212"/>
                </a:lnTo>
                <a:lnTo>
                  <a:pt x="4471" y="1218"/>
                </a:lnTo>
                <a:lnTo>
                  <a:pt x="4474" y="1225"/>
                </a:lnTo>
                <a:lnTo>
                  <a:pt x="4477" y="1233"/>
                </a:lnTo>
                <a:lnTo>
                  <a:pt x="4480" y="1241"/>
                </a:lnTo>
                <a:lnTo>
                  <a:pt x="4485" y="1259"/>
                </a:lnTo>
                <a:lnTo>
                  <a:pt x="4490" y="1275"/>
                </a:lnTo>
                <a:lnTo>
                  <a:pt x="4493" y="1293"/>
                </a:lnTo>
                <a:lnTo>
                  <a:pt x="4495" y="1313"/>
                </a:lnTo>
                <a:lnTo>
                  <a:pt x="4497" y="1331"/>
                </a:lnTo>
                <a:lnTo>
                  <a:pt x="4497" y="1349"/>
                </a:lnTo>
                <a:lnTo>
                  <a:pt x="4435" y="1375"/>
                </a:lnTo>
                <a:lnTo>
                  <a:pt x="4435" y="1359"/>
                </a:lnTo>
                <a:lnTo>
                  <a:pt x="4433" y="1345"/>
                </a:lnTo>
                <a:lnTo>
                  <a:pt x="4432" y="1331"/>
                </a:lnTo>
                <a:lnTo>
                  <a:pt x="4430" y="1319"/>
                </a:lnTo>
                <a:lnTo>
                  <a:pt x="4427" y="1309"/>
                </a:lnTo>
                <a:lnTo>
                  <a:pt x="4426" y="1303"/>
                </a:lnTo>
                <a:lnTo>
                  <a:pt x="4424" y="1299"/>
                </a:lnTo>
                <a:lnTo>
                  <a:pt x="4421" y="1289"/>
                </a:lnTo>
                <a:lnTo>
                  <a:pt x="4417" y="1281"/>
                </a:lnTo>
                <a:lnTo>
                  <a:pt x="4413" y="1275"/>
                </a:lnTo>
                <a:lnTo>
                  <a:pt x="4408" y="1269"/>
                </a:lnTo>
                <a:lnTo>
                  <a:pt x="4403" y="1265"/>
                </a:lnTo>
                <a:lnTo>
                  <a:pt x="4397" y="1261"/>
                </a:lnTo>
                <a:lnTo>
                  <a:pt x="4391" y="1257"/>
                </a:lnTo>
                <a:lnTo>
                  <a:pt x="4385" y="1255"/>
                </a:lnTo>
                <a:lnTo>
                  <a:pt x="4378" y="1255"/>
                </a:lnTo>
                <a:lnTo>
                  <a:pt x="4370" y="1253"/>
                </a:lnTo>
                <a:lnTo>
                  <a:pt x="4358" y="1255"/>
                </a:lnTo>
                <a:lnTo>
                  <a:pt x="4346" y="1259"/>
                </a:lnTo>
                <a:lnTo>
                  <a:pt x="4341" y="1263"/>
                </a:lnTo>
                <a:lnTo>
                  <a:pt x="4336" y="1267"/>
                </a:lnTo>
                <a:lnTo>
                  <a:pt x="4331" y="1271"/>
                </a:lnTo>
                <a:lnTo>
                  <a:pt x="4327" y="1275"/>
                </a:lnTo>
                <a:lnTo>
                  <a:pt x="4323" y="1281"/>
                </a:lnTo>
                <a:lnTo>
                  <a:pt x="4319" y="1287"/>
                </a:lnTo>
                <a:lnTo>
                  <a:pt x="4316" y="1295"/>
                </a:lnTo>
                <a:lnTo>
                  <a:pt x="4313" y="1303"/>
                </a:lnTo>
                <a:lnTo>
                  <a:pt x="4311" y="1311"/>
                </a:lnTo>
                <a:lnTo>
                  <a:pt x="4310" y="1321"/>
                </a:lnTo>
                <a:lnTo>
                  <a:pt x="4309" y="1331"/>
                </a:lnTo>
                <a:lnTo>
                  <a:pt x="4308" y="1341"/>
                </a:lnTo>
                <a:lnTo>
                  <a:pt x="4309" y="1351"/>
                </a:lnTo>
                <a:lnTo>
                  <a:pt x="4309" y="1361"/>
                </a:lnTo>
                <a:lnTo>
                  <a:pt x="4310" y="1371"/>
                </a:lnTo>
                <a:lnTo>
                  <a:pt x="4311" y="1379"/>
                </a:lnTo>
                <a:lnTo>
                  <a:pt x="4313" y="1387"/>
                </a:lnTo>
                <a:lnTo>
                  <a:pt x="4315" y="1395"/>
                </a:lnTo>
                <a:lnTo>
                  <a:pt x="4318" y="1403"/>
                </a:lnTo>
                <a:lnTo>
                  <a:pt x="4321" y="1409"/>
                </a:lnTo>
                <a:lnTo>
                  <a:pt x="4325" y="1415"/>
                </a:lnTo>
                <a:lnTo>
                  <a:pt x="4328" y="1421"/>
                </a:lnTo>
                <a:lnTo>
                  <a:pt x="4337" y="1433"/>
                </a:lnTo>
                <a:lnTo>
                  <a:pt x="4347" y="1445"/>
                </a:lnTo>
                <a:lnTo>
                  <a:pt x="4359" y="1457"/>
                </a:lnTo>
                <a:lnTo>
                  <a:pt x="4421" y="1511"/>
                </a:lnTo>
                <a:lnTo>
                  <a:pt x="4431" y="1521"/>
                </a:lnTo>
                <a:lnTo>
                  <a:pt x="4442" y="1531"/>
                </a:lnTo>
                <a:lnTo>
                  <a:pt x="4451" y="1541"/>
                </a:lnTo>
                <a:lnTo>
                  <a:pt x="4459" y="1553"/>
                </a:lnTo>
                <a:lnTo>
                  <a:pt x="4467" y="1565"/>
                </a:lnTo>
                <a:lnTo>
                  <a:pt x="4474" y="1575"/>
                </a:lnTo>
                <a:lnTo>
                  <a:pt x="4480" y="1589"/>
                </a:lnTo>
                <a:lnTo>
                  <a:pt x="4486" y="1601"/>
                </a:lnTo>
                <a:lnTo>
                  <a:pt x="4491" y="1615"/>
                </a:lnTo>
                <a:lnTo>
                  <a:pt x="4495" y="1629"/>
                </a:lnTo>
                <a:lnTo>
                  <a:pt x="4499" y="1643"/>
                </a:lnTo>
                <a:lnTo>
                  <a:pt x="4502" y="1659"/>
                </a:lnTo>
                <a:lnTo>
                  <a:pt x="4504" y="1675"/>
                </a:lnTo>
                <a:lnTo>
                  <a:pt x="4505" y="1685"/>
                </a:lnTo>
                <a:lnTo>
                  <a:pt x="4505" y="1693"/>
                </a:lnTo>
                <a:lnTo>
                  <a:pt x="4506" y="1711"/>
                </a:lnTo>
                <a:lnTo>
                  <a:pt x="4507" y="1730"/>
                </a:lnTo>
                <a:lnTo>
                  <a:pt x="4506" y="1756"/>
                </a:lnTo>
                <a:lnTo>
                  <a:pt x="4504" y="1780"/>
                </a:lnTo>
                <a:lnTo>
                  <a:pt x="4503" y="1792"/>
                </a:lnTo>
                <a:lnTo>
                  <a:pt x="4501" y="1802"/>
                </a:lnTo>
                <a:lnTo>
                  <a:pt x="4499" y="1814"/>
                </a:lnTo>
                <a:lnTo>
                  <a:pt x="4497" y="1824"/>
                </a:lnTo>
                <a:lnTo>
                  <a:pt x="4494" y="1834"/>
                </a:lnTo>
                <a:lnTo>
                  <a:pt x="4492" y="1844"/>
                </a:lnTo>
                <a:lnTo>
                  <a:pt x="4485" y="1862"/>
                </a:lnTo>
                <a:lnTo>
                  <a:pt x="4482" y="1870"/>
                </a:lnTo>
                <a:lnTo>
                  <a:pt x="4478" y="1880"/>
                </a:lnTo>
                <a:lnTo>
                  <a:pt x="4470" y="1894"/>
                </a:lnTo>
                <a:lnTo>
                  <a:pt x="4465" y="1902"/>
                </a:lnTo>
                <a:lnTo>
                  <a:pt x="4460" y="1908"/>
                </a:lnTo>
                <a:lnTo>
                  <a:pt x="4455" y="1914"/>
                </a:lnTo>
                <a:lnTo>
                  <a:pt x="4450" y="1920"/>
                </a:lnTo>
                <a:lnTo>
                  <a:pt x="4439" y="1930"/>
                </a:lnTo>
                <a:lnTo>
                  <a:pt x="4427" y="1938"/>
                </a:lnTo>
                <a:lnTo>
                  <a:pt x="4414" y="1946"/>
                </a:lnTo>
                <a:lnTo>
                  <a:pt x="4400" y="1950"/>
                </a:lnTo>
                <a:lnTo>
                  <a:pt x="4393" y="1952"/>
                </a:lnTo>
                <a:lnTo>
                  <a:pt x="4386" y="1952"/>
                </a:lnTo>
                <a:lnTo>
                  <a:pt x="4370" y="19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F5A17A4-EA2D-AFFF-38DF-9699B925DC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98587" y="4797152"/>
            <a:ext cx="9793263" cy="1296144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Yhteystiedot</a:t>
            </a:r>
          </a:p>
        </p:txBody>
      </p:sp>
    </p:spTree>
    <p:extLst>
      <p:ext uri="{BB962C8B-B14F-4D97-AF65-F5344CB8AC3E}">
        <p14:creationId xmlns:p14="http://schemas.microsoft.com/office/powerpoint/2010/main" val="42408384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692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oitusdia Kuvall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9931121-A866-0128-FA48-AD9BBB41210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" y="0"/>
            <a:ext cx="12192000" cy="6858000"/>
          </a:xfrm>
          <a:solidFill>
            <a:schemeClr val="tx2"/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en-GB" dirty="0" err="1"/>
              <a:t>Lisää</a:t>
            </a:r>
            <a:r>
              <a:rPr lang="en-GB" dirty="0"/>
              <a:t> </a:t>
            </a:r>
            <a:r>
              <a:rPr lang="en-GB" dirty="0" err="1"/>
              <a:t>kuva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C89437-0A9F-6907-E834-ECE3DB6251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1700" cy="738664"/>
          </a:xfrm>
        </p:spPr>
        <p:txBody>
          <a:bodyPr anchor="t" anchorCtr="0">
            <a:sp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BA9B7E5-3139-76AA-C2C3-60620F1D9B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4509120"/>
            <a:ext cx="9791700" cy="864096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98F4D-E89B-8263-EB37-8F8B305D4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75EB5970-D281-4002-83E0-D11C4C48AEA6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B5C31-D7B7-0A4A-9FF1-A8910751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9B765-A518-625F-2D82-59131FF13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7DE48D-705B-612C-7DFA-B303012D79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98587" y="5517232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F5A17A4-EA2D-AFFF-38DF-9699B925DC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98587" y="5805264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0398102-3604-6A5F-7F35-09904E7C9F3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7988" y="333375"/>
            <a:ext cx="2325600" cy="50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1838493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6924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98F4D-E89B-8263-EB37-8F8B305D4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38028F7-4D44-43CB-997E-D91C19672E67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B5C31-D7B7-0A4A-9FF1-A8910751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9B765-A518-625F-2D82-59131FF13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CD5646D-347F-0693-85B7-82EEFAEE1F7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3106375" y="2780928"/>
            <a:ext cx="5979250" cy="1296144"/>
          </a:xfrm>
          <a:custGeom>
            <a:avLst/>
            <a:gdLst>
              <a:gd name="T0" fmla="*/ 11 w 4507"/>
              <a:gd name="T1" fmla="*/ 18 h 1954"/>
              <a:gd name="T2" fmla="*/ 659 w 4507"/>
              <a:gd name="T3" fmla="*/ 297 h 1954"/>
              <a:gd name="T4" fmla="*/ 666 w 4507"/>
              <a:gd name="T5" fmla="*/ 916 h 1954"/>
              <a:gd name="T6" fmla="*/ 347 w 4507"/>
              <a:gd name="T7" fmla="*/ 880 h 1954"/>
              <a:gd name="T8" fmla="*/ 471 w 4507"/>
              <a:gd name="T9" fmla="*/ 675 h 1954"/>
              <a:gd name="T10" fmla="*/ 375 w 4507"/>
              <a:gd name="T11" fmla="*/ 401 h 1954"/>
              <a:gd name="T12" fmla="*/ 1722 w 4507"/>
              <a:gd name="T13" fmla="*/ 26 h 1954"/>
              <a:gd name="T14" fmla="*/ 1804 w 4507"/>
              <a:gd name="T15" fmla="*/ 309 h 1954"/>
              <a:gd name="T16" fmla="*/ 1741 w 4507"/>
              <a:gd name="T17" fmla="*/ 269 h 1954"/>
              <a:gd name="T18" fmla="*/ 1854 w 4507"/>
              <a:gd name="T19" fmla="*/ 788 h 1954"/>
              <a:gd name="T20" fmla="*/ 2410 w 4507"/>
              <a:gd name="T21" fmla="*/ 18 h 1954"/>
              <a:gd name="T22" fmla="*/ 3053 w 4507"/>
              <a:gd name="T23" fmla="*/ 553 h 1954"/>
              <a:gd name="T24" fmla="*/ 3419 w 4507"/>
              <a:gd name="T25" fmla="*/ 539 h 1954"/>
              <a:gd name="T26" fmla="*/ 3595 w 4507"/>
              <a:gd name="T27" fmla="*/ 659 h 1954"/>
              <a:gd name="T28" fmla="*/ 3699 w 4507"/>
              <a:gd name="T29" fmla="*/ 697 h 1954"/>
              <a:gd name="T30" fmla="*/ 3842 w 4507"/>
              <a:gd name="T31" fmla="*/ 595 h 1954"/>
              <a:gd name="T32" fmla="*/ 3700 w 4507"/>
              <a:gd name="T33" fmla="*/ 806 h 1954"/>
              <a:gd name="T34" fmla="*/ 3943 w 4507"/>
              <a:gd name="T35" fmla="*/ 725 h 1954"/>
              <a:gd name="T36" fmla="*/ 4018 w 4507"/>
              <a:gd name="T37" fmla="*/ 689 h 1954"/>
              <a:gd name="T38" fmla="*/ 4124 w 4507"/>
              <a:gd name="T39" fmla="*/ 581 h 1954"/>
              <a:gd name="T40" fmla="*/ 3931 w 4507"/>
              <a:gd name="T41" fmla="*/ 269 h 1954"/>
              <a:gd name="T42" fmla="*/ 4017 w 4507"/>
              <a:gd name="T43" fmla="*/ 6 h 1954"/>
              <a:gd name="T44" fmla="*/ 4117 w 4507"/>
              <a:gd name="T45" fmla="*/ 228 h 1954"/>
              <a:gd name="T46" fmla="*/ 4005 w 4507"/>
              <a:gd name="T47" fmla="*/ 134 h 1954"/>
              <a:gd name="T48" fmla="*/ 4123 w 4507"/>
              <a:gd name="T49" fmla="*/ 383 h 1954"/>
              <a:gd name="T50" fmla="*/ 4174 w 4507"/>
              <a:gd name="T51" fmla="*/ 697 h 1954"/>
              <a:gd name="T52" fmla="*/ 1767 w 4507"/>
              <a:gd name="T53" fmla="*/ 1273 h 1954"/>
              <a:gd name="T54" fmla="*/ 2197 w 4507"/>
              <a:gd name="T55" fmla="*/ 1926 h 1954"/>
              <a:gd name="T56" fmla="*/ 2114 w 4507"/>
              <a:gd name="T57" fmla="*/ 1551 h 1954"/>
              <a:gd name="T58" fmla="*/ 2226 w 4507"/>
              <a:gd name="T59" fmla="*/ 1156 h 1954"/>
              <a:gd name="T60" fmla="*/ 2385 w 4507"/>
              <a:gd name="T61" fmla="*/ 1313 h 1954"/>
              <a:gd name="T62" fmla="*/ 2373 w 4507"/>
              <a:gd name="T63" fmla="*/ 1834 h 1954"/>
              <a:gd name="T64" fmla="*/ 2227 w 4507"/>
              <a:gd name="T65" fmla="*/ 1271 h 1954"/>
              <a:gd name="T66" fmla="*/ 2192 w 4507"/>
              <a:gd name="T67" fmla="*/ 1738 h 1954"/>
              <a:gd name="T68" fmla="*/ 2323 w 4507"/>
              <a:gd name="T69" fmla="*/ 1760 h 1954"/>
              <a:gd name="T70" fmla="*/ 2273 w 4507"/>
              <a:gd name="T71" fmla="*/ 1259 h 1954"/>
              <a:gd name="T72" fmla="*/ 3321 w 4507"/>
              <a:gd name="T73" fmla="*/ 1954 h 1954"/>
              <a:gd name="T74" fmla="*/ 3265 w 4507"/>
              <a:gd name="T75" fmla="*/ 1693 h 1954"/>
              <a:gd name="T76" fmla="*/ 3380 w 4507"/>
              <a:gd name="T77" fmla="*/ 1832 h 1954"/>
              <a:gd name="T78" fmla="*/ 3369 w 4507"/>
              <a:gd name="T79" fmla="*/ 1625 h 1954"/>
              <a:gd name="T80" fmla="*/ 3218 w 4507"/>
              <a:gd name="T81" fmla="*/ 1279 h 1954"/>
              <a:gd name="T82" fmla="*/ 3426 w 4507"/>
              <a:gd name="T83" fmla="*/ 1198 h 1954"/>
              <a:gd name="T84" fmla="*/ 3370 w 4507"/>
              <a:gd name="T85" fmla="*/ 1265 h 1954"/>
              <a:gd name="T86" fmla="*/ 3279 w 4507"/>
              <a:gd name="T87" fmla="*/ 1379 h 1954"/>
              <a:gd name="T88" fmla="*/ 3471 w 4507"/>
              <a:gd name="T89" fmla="*/ 1675 h 1954"/>
              <a:gd name="T90" fmla="*/ 3381 w 4507"/>
              <a:gd name="T91" fmla="*/ 1946 h 1954"/>
              <a:gd name="T92" fmla="*/ 3620 w 4507"/>
              <a:gd name="T93" fmla="*/ 1772 h 1954"/>
              <a:gd name="T94" fmla="*/ 3736 w 4507"/>
              <a:gd name="T95" fmla="*/ 1772 h 1954"/>
              <a:gd name="T96" fmla="*/ 3756 w 4507"/>
              <a:gd name="T97" fmla="*/ 1914 h 1954"/>
              <a:gd name="T98" fmla="*/ 3915 w 4507"/>
              <a:gd name="T99" fmla="*/ 1828 h 1954"/>
              <a:gd name="T100" fmla="*/ 4005 w 4507"/>
              <a:gd name="T101" fmla="*/ 1838 h 1954"/>
              <a:gd name="T102" fmla="*/ 4160 w 4507"/>
              <a:gd name="T103" fmla="*/ 1697 h 1954"/>
              <a:gd name="T104" fmla="*/ 4039 w 4507"/>
              <a:gd name="T105" fmla="*/ 1954 h 1954"/>
              <a:gd name="T106" fmla="*/ 4268 w 4507"/>
              <a:gd name="T107" fmla="*/ 1888 h 1954"/>
              <a:gd name="T108" fmla="*/ 4324 w 4507"/>
              <a:gd name="T109" fmla="*/ 1824 h 1954"/>
              <a:gd name="T110" fmla="*/ 4442 w 4507"/>
              <a:gd name="T111" fmla="*/ 1752 h 1954"/>
              <a:gd name="T112" fmla="*/ 4255 w 4507"/>
              <a:gd name="T113" fmla="*/ 1447 h 1954"/>
              <a:gd name="T114" fmla="*/ 4311 w 4507"/>
              <a:gd name="T115" fmla="*/ 1166 h 1954"/>
              <a:gd name="T116" fmla="*/ 4497 w 4507"/>
              <a:gd name="T117" fmla="*/ 1331 h 1954"/>
              <a:gd name="T118" fmla="*/ 4336 w 4507"/>
              <a:gd name="T119" fmla="*/ 1267 h 1954"/>
              <a:gd name="T120" fmla="*/ 4359 w 4507"/>
              <a:gd name="T121" fmla="*/ 1457 h 1954"/>
              <a:gd name="T122" fmla="*/ 4499 w 4507"/>
              <a:gd name="T123" fmla="*/ 1814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507" h="1954">
                <a:moveTo>
                  <a:pt x="4307" y="327"/>
                </a:moveTo>
                <a:lnTo>
                  <a:pt x="4377" y="327"/>
                </a:lnTo>
                <a:lnTo>
                  <a:pt x="4377" y="463"/>
                </a:lnTo>
                <a:lnTo>
                  <a:pt x="4307" y="463"/>
                </a:lnTo>
                <a:lnTo>
                  <a:pt x="4307" y="327"/>
                </a:lnTo>
                <a:close/>
                <a:moveTo>
                  <a:pt x="1248" y="18"/>
                </a:moveTo>
                <a:lnTo>
                  <a:pt x="1248" y="473"/>
                </a:lnTo>
                <a:lnTo>
                  <a:pt x="1051" y="473"/>
                </a:lnTo>
                <a:lnTo>
                  <a:pt x="1051" y="1936"/>
                </a:lnTo>
                <a:lnTo>
                  <a:pt x="821" y="1936"/>
                </a:lnTo>
                <a:lnTo>
                  <a:pt x="821" y="473"/>
                </a:lnTo>
                <a:lnTo>
                  <a:pt x="655" y="18"/>
                </a:lnTo>
                <a:lnTo>
                  <a:pt x="1248" y="18"/>
                </a:lnTo>
                <a:close/>
                <a:moveTo>
                  <a:pt x="0" y="1481"/>
                </a:moveTo>
                <a:lnTo>
                  <a:pt x="230" y="1481"/>
                </a:lnTo>
                <a:lnTo>
                  <a:pt x="230" y="1936"/>
                </a:lnTo>
                <a:lnTo>
                  <a:pt x="0" y="1936"/>
                </a:lnTo>
                <a:lnTo>
                  <a:pt x="0" y="1481"/>
                </a:lnTo>
                <a:close/>
                <a:moveTo>
                  <a:pt x="487" y="1186"/>
                </a:moveTo>
                <a:lnTo>
                  <a:pt x="752" y="1936"/>
                </a:lnTo>
                <a:lnTo>
                  <a:pt x="495" y="1936"/>
                </a:lnTo>
                <a:lnTo>
                  <a:pt x="11" y="559"/>
                </a:lnTo>
                <a:lnTo>
                  <a:pt x="11" y="18"/>
                </a:lnTo>
                <a:lnTo>
                  <a:pt x="309" y="18"/>
                </a:lnTo>
                <a:lnTo>
                  <a:pt x="335" y="18"/>
                </a:lnTo>
                <a:lnTo>
                  <a:pt x="359" y="20"/>
                </a:lnTo>
                <a:lnTo>
                  <a:pt x="382" y="24"/>
                </a:lnTo>
                <a:lnTo>
                  <a:pt x="404" y="30"/>
                </a:lnTo>
                <a:lnTo>
                  <a:pt x="426" y="36"/>
                </a:lnTo>
                <a:lnTo>
                  <a:pt x="447" y="44"/>
                </a:lnTo>
                <a:lnTo>
                  <a:pt x="467" y="52"/>
                </a:lnTo>
                <a:lnTo>
                  <a:pt x="476" y="58"/>
                </a:lnTo>
                <a:lnTo>
                  <a:pt x="486" y="62"/>
                </a:lnTo>
                <a:lnTo>
                  <a:pt x="504" y="74"/>
                </a:lnTo>
                <a:lnTo>
                  <a:pt x="521" y="88"/>
                </a:lnTo>
                <a:lnTo>
                  <a:pt x="538" y="102"/>
                </a:lnTo>
                <a:lnTo>
                  <a:pt x="553" y="116"/>
                </a:lnTo>
                <a:lnTo>
                  <a:pt x="569" y="132"/>
                </a:lnTo>
                <a:lnTo>
                  <a:pt x="583" y="150"/>
                </a:lnTo>
                <a:lnTo>
                  <a:pt x="596" y="168"/>
                </a:lnTo>
                <a:lnTo>
                  <a:pt x="609" y="188"/>
                </a:lnTo>
                <a:lnTo>
                  <a:pt x="620" y="208"/>
                </a:lnTo>
                <a:lnTo>
                  <a:pt x="631" y="230"/>
                </a:lnTo>
                <a:lnTo>
                  <a:pt x="641" y="251"/>
                </a:lnTo>
                <a:lnTo>
                  <a:pt x="650" y="273"/>
                </a:lnTo>
                <a:lnTo>
                  <a:pt x="659" y="297"/>
                </a:lnTo>
                <a:lnTo>
                  <a:pt x="666" y="323"/>
                </a:lnTo>
                <a:lnTo>
                  <a:pt x="673" y="349"/>
                </a:lnTo>
                <a:lnTo>
                  <a:pt x="680" y="375"/>
                </a:lnTo>
                <a:lnTo>
                  <a:pt x="685" y="401"/>
                </a:lnTo>
                <a:lnTo>
                  <a:pt x="690" y="429"/>
                </a:lnTo>
                <a:lnTo>
                  <a:pt x="694" y="459"/>
                </a:lnTo>
                <a:lnTo>
                  <a:pt x="697" y="487"/>
                </a:lnTo>
                <a:lnTo>
                  <a:pt x="699" y="517"/>
                </a:lnTo>
                <a:lnTo>
                  <a:pt x="701" y="547"/>
                </a:lnTo>
                <a:lnTo>
                  <a:pt x="702" y="579"/>
                </a:lnTo>
                <a:lnTo>
                  <a:pt x="703" y="611"/>
                </a:lnTo>
                <a:lnTo>
                  <a:pt x="702" y="661"/>
                </a:lnTo>
                <a:lnTo>
                  <a:pt x="701" y="687"/>
                </a:lnTo>
                <a:lnTo>
                  <a:pt x="699" y="711"/>
                </a:lnTo>
                <a:lnTo>
                  <a:pt x="697" y="735"/>
                </a:lnTo>
                <a:lnTo>
                  <a:pt x="695" y="758"/>
                </a:lnTo>
                <a:lnTo>
                  <a:pt x="692" y="782"/>
                </a:lnTo>
                <a:lnTo>
                  <a:pt x="689" y="806"/>
                </a:lnTo>
                <a:lnTo>
                  <a:pt x="685" y="830"/>
                </a:lnTo>
                <a:lnTo>
                  <a:pt x="681" y="852"/>
                </a:lnTo>
                <a:lnTo>
                  <a:pt x="677" y="874"/>
                </a:lnTo>
                <a:lnTo>
                  <a:pt x="672" y="896"/>
                </a:lnTo>
                <a:lnTo>
                  <a:pt x="666" y="916"/>
                </a:lnTo>
                <a:lnTo>
                  <a:pt x="661" y="938"/>
                </a:lnTo>
                <a:lnTo>
                  <a:pt x="655" y="958"/>
                </a:lnTo>
                <a:lnTo>
                  <a:pt x="648" y="976"/>
                </a:lnTo>
                <a:lnTo>
                  <a:pt x="641" y="996"/>
                </a:lnTo>
                <a:lnTo>
                  <a:pt x="634" y="1014"/>
                </a:lnTo>
                <a:lnTo>
                  <a:pt x="626" y="1030"/>
                </a:lnTo>
                <a:lnTo>
                  <a:pt x="618" y="1048"/>
                </a:lnTo>
                <a:lnTo>
                  <a:pt x="609" y="1064"/>
                </a:lnTo>
                <a:lnTo>
                  <a:pt x="600" y="1080"/>
                </a:lnTo>
                <a:lnTo>
                  <a:pt x="591" y="1094"/>
                </a:lnTo>
                <a:lnTo>
                  <a:pt x="581" y="1108"/>
                </a:lnTo>
                <a:lnTo>
                  <a:pt x="571" y="1120"/>
                </a:lnTo>
                <a:lnTo>
                  <a:pt x="559" y="1132"/>
                </a:lnTo>
                <a:lnTo>
                  <a:pt x="548" y="1144"/>
                </a:lnTo>
                <a:lnTo>
                  <a:pt x="537" y="1154"/>
                </a:lnTo>
                <a:lnTo>
                  <a:pt x="525" y="1164"/>
                </a:lnTo>
                <a:lnTo>
                  <a:pt x="513" y="1172"/>
                </a:lnTo>
                <a:lnTo>
                  <a:pt x="500" y="1180"/>
                </a:lnTo>
                <a:lnTo>
                  <a:pt x="487" y="1186"/>
                </a:lnTo>
                <a:close/>
                <a:moveTo>
                  <a:pt x="239" y="391"/>
                </a:moveTo>
                <a:lnTo>
                  <a:pt x="239" y="880"/>
                </a:lnTo>
                <a:lnTo>
                  <a:pt x="337" y="880"/>
                </a:lnTo>
                <a:lnTo>
                  <a:pt x="347" y="880"/>
                </a:lnTo>
                <a:lnTo>
                  <a:pt x="357" y="880"/>
                </a:lnTo>
                <a:lnTo>
                  <a:pt x="367" y="878"/>
                </a:lnTo>
                <a:lnTo>
                  <a:pt x="376" y="874"/>
                </a:lnTo>
                <a:lnTo>
                  <a:pt x="384" y="872"/>
                </a:lnTo>
                <a:lnTo>
                  <a:pt x="392" y="868"/>
                </a:lnTo>
                <a:lnTo>
                  <a:pt x="400" y="862"/>
                </a:lnTo>
                <a:lnTo>
                  <a:pt x="407" y="858"/>
                </a:lnTo>
                <a:lnTo>
                  <a:pt x="413" y="852"/>
                </a:lnTo>
                <a:lnTo>
                  <a:pt x="419" y="844"/>
                </a:lnTo>
                <a:lnTo>
                  <a:pt x="425" y="838"/>
                </a:lnTo>
                <a:lnTo>
                  <a:pt x="430" y="830"/>
                </a:lnTo>
                <a:lnTo>
                  <a:pt x="435" y="822"/>
                </a:lnTo>
                <a:lnTo>
                  <a:pt x="440" y="814"/>
                </a:lnTo>
                <a:lnTo>
                  <a:pt x="444" y="806"/>
                </a:lnTo>
                <a:lnTo>
                  <a:pt x="448" y="796"/>
                </a:lnTo>
                <a:lnTo>
                  <a:pt x="451" y="788"/>
                </a:lnTo>
                <a:lnTo>
                  <a:pt x="454" y="778"/>
                </a:lnTo>
                <a:lnTo>
                  <a:pt x="457" y="768"/>
                </a:lnTo>
                <a:lnTo>
                  <a:pt x="460" y="758"/>
                </a:lnTo>
                <a:lnTo>
                  <a:pt x="464" y="738"/>
                </a:lnTo>
                <a:lnTo>
                  <a:pt x="467" y="717"/>
                </a:lnTo>
                <a:lnTo>
                  <a:pt x="470" y="697"/>
                </a:lnTo>
                <a:lnTo>
                  <a:pt x="471" y="675"/>
                </a:lnTo>
                <a:lnTo>
                  <a:pt x="472" y="655"/>
                </a:lnTo>
                <a:lnTo>
                  <a:pt x="472" y="635"/>
                </a:lnTo>
                <a:lnTo>
                  <a:pt x="472" y="615"/>
                </a:lnTo>
                <a:lnTo>
                  <a:pt x="470" y="593"/>
                </a:lnTo>
                <a:lnTo>
                  <a:pt x="468" y="573"/>
                </a:lnTo>
                <a:lnTo>
                  <a:pt x="464" y="551"/>
                </a:lnTo>
                <a:lnTo>
                  <a:pt x="462" y="541"/>
                </a:lnTo>
                <a:lnTo>
                  <a:pt x="459" y="531"/>
                </a:lnTo>
                <a:lnTo>
                  <a:pt x="457" y="521"/>
                </a:lnTo>
                <a:lnTo>
                  <a:pt x="454" y="511"/>
                </a:lnTo>
                <a:lnTo>
                  <a:pt x="447" y="491"/>
                </a:lnTo>
                <a:lnTo>
                  <a:pt x="443" y="483"/>
                </a:lnTo>
                <a:lnTo>
                  <a:pt x="439" y="473"/>
                </a:lnTo>
                <a:lnTo>
                  <a:pt x="435" y="465"/>
                </a:lnTo>
                <a:lnTo>
                  <a:pt x="430" y="457"/>
                </a:lnTo>
                <a:lnTo>
                  <a:pt x="420" y="441"/>
                </a:lnTo>
                <a:lnTo>
                  <a:pt x="414" y="433"/>
                </a:lnTo>
                <a:lnTo>
                  <a:pt x="408" y="427"/>
                </a:lnTo>
                <a:lnTo>
                  <a:pt x="402" y="421"/>
                </a:lnTo>
                <a:lnTo>
                  <a:pt x="396" y="415"/>
                </a:lnTo>
                <a:lnTo>
                  <a:pt x="389" y="409"/>
                </a:lnTo>
                <a:lnTo>
                  <a:pt x="382" y="405"/>
                </a:lnTo>
                <a:lnTo>
                  <a:pt x="375" y="401"/>
                </a:lnTo>
                <a:lnTo>
                  <a:pt x="367" y="397"/>
                </a:lnTo>
                <a:lnTo>
                  <a:pt x="359" y="395"/>
                </a:lnTo>
                <a:lnTo>
                  <a:pt x="351" y="393"/>
                </a:lnTo>
                <a:lnTo>
                  <a:pt x="333" y="391"/>
                </a:lnTo>
                <a:lnTo>
                  <a:pt x="239" y="391"/>
                </a:lnTo>
                <a:close/>
                <a:moveTo>
                  <a:pt x="1780" y="395"/>
                </a:moveTo>
                <a:lnTo>
                  <a:pt x="1776" y="403"/>
                </a:lnTo>
                <a:lnTo>
                  <a:pt x="1772" y="411"/>
                </a:lnTo>
                <a:lnTo>
                  <a:pt x="1763" y="423"/>
                </a:lnTo>
                <a:lnTo>
                  <a:pt x="1754" y="433"/>
                </a:lnTo>
                <a:lnTo>
                  <a:pt x="1743" y="443"/>
                </a:lnTo>
                <a:lnTo>
                  <a:pt x="1814" y="788"/>
                </a:lnTo>
                <a:lnTo>
                  <a:pt x="1742" y="788"/>
                </a:lnTo>
                <a:lnTo>
                  <a:pt x="1683" y="465"/>
                </a:lnTo>
                <a:lnTo>
                  <a:pt x="1607" y="465"/>
                </a:lnTo>
                <a:lnTo>
                  <a:pt x="1607" y="788"/>
                </a:lnTo>
                <a:lnTo>
                  <a:pt x="1543" y="788"/>
                </a:lnTo>
                <a:lnTo>
                  <a:pt x="1543" y="18"/>
                </a:lnTo>
                <a:lnTo>
                  <a:pt x="1681" y="18"/>
                </a:lnTo>
                <a:lnTo>
                  <a:pt x="1696" y="18"/>
                </a:lnTo>
                <a:lnTo>
                  <a:pt x="1703" y="20"/>
                </a:lnTo>
                <a:lnTo>
                  <a:pt x="1710" y="22"/>
                </a:lnTo>
                <a:lnTo>
                  <a:pt x="1722" y="26"/>
                </a:lnTo>
                <a:lnTo>
                  <a:pt x="1734" y="32"/>
                </a:lnTo>
                <a:lnTo>
                  <a:pt x="1745" y="40"/>
                </a:lnTo>
                <a:lnTo>
                  <a:pt x="1755" y="50"/>
                </a:lnTo>
                <a:lnTo>
                  <a:pt x="1765" y="62"/>
                </a:lnTo>
                <a:lnTo>
                  <a:pt x="1769" y="68"/>
                </a:lnTo>
                <a:lnTo>
                  <a:pt x="1773" y="76"/>
                </a:lnTo>
                <a:lnTo>
                  <a:pt x="1781" y="92"/>
                </a:lnTo>
                <a:lnTo>
                  <a:pt x="1788" y="108"/>
                </a:lnTo>
                <a:lnTo>
                  <a:pt x="1791" y="118"/>
                </a:lnTo>
                <a:lnTo>
                  <a:pt x="1794" y="126"/>
                </a:lnTo>
                <a:lnTo>
                  <a:pt x="1799" y="146"/>
                </a:lnTo>
                <a:lnTo>
                  <a:pt x="1803" y="168"/>
                </a:lnTo>
                <a:lnTo>
                  <a:pt x="1805" y="178"/>
                </a:lnTo>
                <a:lnTo>
                  <a:pt x="1806" y="190"/>
                </a:lnTo>
                <a:lnTo>
                  <a:pt x="1807" y="200"/>
                </a:lnTo>
                <a:lnTo>
                  <a:pt x="1808" y="212"/>
                </a:lnTo>
                <a:lnTo>
                  <a:pt x="1808" y="224"/>
                </a:lnTo>
                <a:lnTo>
                  <a:pt x="1808" y="236"/>
                </a:lnTo>
                <a:lnTo>
                  <a:pt x="1808" y="263"/>
                </a:lnTo>
                <a:lnTo>
                  <a:pt x="1807" y="275"/>
                </a:lnTo>
                <a:lnTo>
                  <a:pt x="1806" y="287"/>
                </a:lnTo>
                <a:lnTo>
                  <a:pt x="1805" y="299"/>
                </a:lnTo>
                <a:lnTo>
                  <a:pt x="1804" y="309"/>
                </a:lnTo>
                <a:lnTo>
                  <a:pt x="1801" y="331"/>
                </a:lnTo>
                <a:lnTo>
                  <a:pt x="1797" y="349"/>
                </a:lnTo>
                <a:lnTo>
                  <a:pt x="1792" y="367"/>
                </a:lnTo>
                <a:lnTo>
                  <a:pt x="1786" y="381"/>
                </a:lnTo>
                <a:lnTo>
                  <a:pt x="1780" y="395"/>
                </a:lnTo>
                <a:close/>
                <a:moveTo>
                  <a:pt x="1678" y="122"/>
                </a:moveTo>
                <a:lnTo>
                  <a:pt x="1607" y="122"/>
                </a:lnTo>
                <a:lnTo>
                  <a:pt x="1607" y="365"/>
                </a:lnTo>
                <a:lnTo>
                  <a:pt x="1678" y="365"/>
                </a:lnTo>
                <a:lnTo>
                  <a:pt x="1686" y="363"/>
                </a:lnTo>
                <a:lnTo>
                  <a:pt x="1694" y="361"/>
                </a:lnTo>
                <a:lnTo>
                  <a:pt x="1700" y="359"/>
                </a:lnTo>
                <a:lnTo>
                  <a:pt x="1707" y="355"/>
                </a:lnTo>
                <a:lnTo>
                  <a:pt x="1712" y="351"/>
                </a:lnTo>
                <a:lnTo>
                  <a:pt x="1717" y="345"/>
                </a:lnTo>
                <a:lnTo>
                  <a:pt x="1722" y="339"/>
                </a:lnTo>
                <a:lnTo>
                  <a:pt x="1726" y="331"/>
                </a:lnTo>
                <a:lnTo>
                  <a:pt x="1730" y="323"/>
                </a:lnTo>
                <a:lnTo>
                  <a:pt x="1733" y="313"/>
                </a:lnTo>
                <a:lnTo>
                  <a:pt x="1736" y="303"/>
                </a:lnTo>
                <a:lnTo>
                  <a:pt x="1738" y="293"/>
                </a:lnTo>
                <a:lnTo>
                  <a:pt x="1740" y="281"/>
                </a:lnTo>
                <a:lnTo>
                  <a:pt x="1741" y="269"/>
                </a:lnTo>
                <a:lnTo>
                  <a:pt x="1742" y="257"/>
                </a:lnTo>
                <a:lnTo>
                  <a:pt x="1742" y="244"/>
                </a:lnTo>
                <a:lnTo>
                  <a:pt x="1742" y="230"/>
                </a:lnTo>
                <a:lnTo>
                  <a:pt x="1742" y="218"/>
                </a:lnTo>
                <a:lnTo>
                  <a:pt x="1740" y="206"/>
                </a:lnTo>
                <a:lnTo>
                  <a:pt x="1739" y="194"/>
                </a:lnTo>
                <a:lnTo>
                  <a:pt x="1737" y="184"/>
                </a:lnTo>
                <a:lnTo>
                  <a:pt x="1734" y="174"/>
                </a:lnTo>
                <a:lnTo>
                  <a:pt x="1731" y="164"/>
                </a:lnTo>
                <a:lnTo>
                  <a:pt x="1728" y="156"/>
                </a:lnTo>
                <a:lnTo>
                  <a:pt x="1723" y="148"/>
                </a:lnTo>
                <a:lnTo>
                  <a:pt x="1719" y="142"/>
                </a:lnTo>
                <a:lnTo>
                  <a:pt x="1713" y="136"/>
                </a:lnTo>
                <a:lnTo>
                  <a:pt x="1708" y="132"/>
                </a:lnTo>
                <a:lnTo>
                  <a:pt x="1701" y="128"/>
                </a:lnTo>
                <a:lnTo>
                  <a:pt x="1694" y="124"/>
                </a:lnTo>
                <a:lnTo>
                  <a:pt x="1686" y="122"/>
                </a:lnTo>
                <a:lnTo>
                  <a:pt x="1678" y="122"/>
                </a:lnTo>
                <a:close/>
                <a:moveTo>
                  <a:pt x="2090" y="788"/>
                </a:moveTo>
                <a:lnTo>
                  <a:pt x="2069" y="635"/>
                </a:lnTo>
                <a:lnTo>
                  <a:pt x="1942" y="635"/>
                </a:lnTo>
                <a:lnTo>
                  <a:pt x="1921" y="788"/>
                </a:lnTo>
                <a:lnTo>
                  <a:pt x="1854" y="788"/>
                </a:lnTo>
                <a:lnTo>
                  <a:pt x="1975" y="18"/>
                </a:lnTo>
                <a:lnTo>
                  <a:pt x="2037" y="18"/>
                </a:lnTo>
                <a:lnTo>
                  <a:pt x="2160" y="788"/>
                </a:lnTo>
                <a:lnTo>
                  <a:pt x="2090" y="788"/>
                </a:lnTo>
                <a:close/>
                <a:moveTo>
                  <a:pt x="2026" y="323"/>
                </a:moveTo>
                <a:lnTo>
                  <a:pt x="2015" y="250"/>
                </a:lnTo>
                <a:lnTo>
                  <a:pt x="2010" y="210"/>
                </a:lnTo>
                <a:lnTo>
                  <a:pt x="2006" y="170"/>
                </a:lnTo>
                <a:lnTo>
                  <a:pt x="2001" y="210"/>
                </a:lnTo>
                <a:lnTo>
                  <a:pt x="1996" y="250"/>
                </a:lnTo>
                <a:lnTo>
                  <a:pt x="1986" y="325"/>
                </a:lnTo>
                <a:lnTo>
                  <a:pt x="1957" y="529"/>
                </a:lnTo>
                <a:lnTo>
                  <a:pt x="2053" y="529"/>
                </a:lnTo>
                <a:lnTo>
                  <a:pt x="2026" y="323"/>
                </a:lnTo>
                <a:close/>
                <a:moveTo>
                  <a:pt x="2419" y="788"/>
                </a:moveTo>
                <a:lnTo>
                  <a:pt x="2323" y="431"/>
                </a:lnTo>
                <a:lnTo>
                  <a:pt x="2285" y="527"/>
                </a:lnTo>
                <a:lnTo>
                  <a:pt x="2285" y="788"/>
                </a:lnTo>
                <a:lnTo>
                  <a:pt x="2220" y="788"/>
                </a:lnTo>
                <a:lnTo>
                  <a:pt x="2220" y="18"/>
                </a:lnTo>
                <a:lnTo>
                  <a:pt x="2285" y="18"/>
                </a:lnTo>
                <a:lnTo>
                  <a:pt x="2285" y="347"/>
                </a:lnTo>
                <a:lnTo>
                  <a:pt x="2410" y="18"/>
                </a:lnTo>
                <a:lnTo>
                  <a:pt x="2492" y="18"/>
                </a:lnTo>
                <a:lnTo>
                  <a:pt x="2363" y="333"/>
                </a:lnTo>
                <a:lnTo>
                  <a:pt x="2498" y="788"/>
                </a:lnTo>
                <a:lnTo>
                  <a:pt x="2419" y="788"/>
                </a:lnTo>
                <a:close/>
                <a:moveTo>
                  <a:pt x="2558" y="788"/>
                </a:moveTo>
                <a:lnTo>
                  <a:pt x="2558" y="18"/>
                </a:lnTo>
                <a:lnTo>
                  <a:pt x="2786" y="18"/>
                </a:lnTo>
                <a:lnTo>
                  <a:pt x="2786" y="126"/>
                </a:lnTo>
                <a:lnTo>
                  <a:pt x="2623" y="126"/>
                </a:lnTo>
                <a:lnTo>
                  <a:pt x="2623" y="341"/>
                </a:lnTo>
                <a:lnTo>
                  <a:pt x="2756" y="341"/>
                </a:lnTo>
                <a:lnTo>
                  <a:pt x="2756" y="445"/>
                </a:lnTo>
                <a:lnTo>
                  <a:pt x="2623" y="445"/>
                </a:lnTo>
                <a:lnTo>
                  <a:pt x="2623" y="683"/>
                </a:lnTo>
                <a:lnTo>
                  <a:pt x="2786" y="683"/>
                </a:lnTo>
                <a:lnTo>
                  <a:pt x="2786" y="788"/>
                </a:lnTo>
                <a:lnTo>
                  <a:pt x="2558" y="788"/>
                </a:lnTo>
                <a:close/>
                <a:moveTo>
                  <a:pt x="2939" y="18"/>
                </a:moveTo>
                <a:lnTo>
                  <a:pt x="3030" y="439"/>
                </a:lnTo>
                <a:lnTo>
                  <a:pt x="3038" y="477"/>
                </a:lnTo>
                <a:lnTo>
                  <a:pt x="3042" y="495"/>
                </a:lnTo>
                <a:lnTo>
                  <a:pt x="3046" y="515"/>
                </a:lnTo>
                <a:lnTo>
                  <a:pt x="3053" y="553"/>
                </a:lnTo>
                <a:lnTo>
                  <a:pt x="3060" y="595"/>
                </a:lnTo>
                <a:lnTo>
                  <a:pt x="3060" y="509"/>
                </a:lnTo>
                <a:lnTo>
                  <a:pt x="3059" y="421"/>
                </a:lnTo>
                <a:lnTo>
                  <a:pt x="3059" y="18"/>
                </a:lnTo>
                <a:lnTo>
                  <a:pt x="3124" y="18"/>
                </a:lnTo>
                <a:lnTo>
                  <a:pt x="3124" y="788"/>
                </a:lnTo>
                <a:lnTo>
                  <a:pt x="3046" y="788"/>
                </a:lnTo>
                <a:lnTo>
                  <a:pt x="2954" y="369"/>
                </a:lnTo>
                <a:lnTo>
                  <a:pt x="2946" y="331"/>
                </a:lnTo>
                <a:lnTo>
                  <a:pt x="2938" y="293"/>
                </a:lnTo>
                <a:lnTo>
                  <a:pt x="2931" y="255"/>
                </a:lnTo>
                <a:lnTo>
                  <a:pt x="2923" y="214"/>
                </a:lnTo>
                <a:lnTo>
                  <a:pt x="2924" y="389"/>
                </a:lnTo>
                <a:lnTo>
                  <a:pt x="2924" y="790"/>
                </a:lnTo>
                <a:lnTo>
                  <a:pt x="2859" y="790"/>
                </a:lnTo>
                <a:lnTo>
                  <a:pt x="2859" y="18"/>
                </a:lnTo>
                <a:lnTo>
                  <a:pt x="2939" y="18"/>
                </a:lnTo>
                <a:close/>
                <a:moveTo>
                  <a:pt x="3306" y="18"/>
                </a:moveTo>
                <a:lnTo>
                  <a:pt x="3396" y="425"/>
                </a:lnTo>
                <a:lnTo>
                  <a:pt x="3404" y="463"/>
                </a:lnTo>
                <a:lnTo>
                  <a:pt x="3408" y="481"/>
                </a:lnTo>
                <a:lnTo>
                  <a:pt x="3412" y="501"/>
                </a:lnTo>
                <a:lnTo>
                  <a:pt x="3419" y="539"/>
                </a:lnTo>
                <a:lnTo>
                  <a:pt x="3426" y="581"/>
                </a:lnTo>
                <a:lnTo>
                  <a:pt x="3426" y="495"/>
                </a:lnTo>
                <a:lnTo>
                  <a:pt x="3426" y="407"/>
                </a:lnTo>
                <a:lnTo>
                  <a:pt x="3426" y="18"/>
                </a:lnTo>
                <a:lnTo>
                  <a:pt x="3491" y="18"/>
                </a:lnTo>
                <a:lnTo>
                  <a:pt x="3491" y="788"/>
                </a:lnTo>
                <a:lnTo>
                  <a:pt x="3412" y="788"/>
                </a:lnTo>
                <a:lnTo>
                  <a:pt x="3320" y="383"/>
                </a:lnTo>
                <a:lnTo>
                  <a:pt x="3312" y="345"/>
                </a:lnTo>
                <a:lnTo>
                  <a:pt x="3305" y="307"/>
                </a:lnTo>
                <a:lnTo>
                  <a:pt x="3297" y="269"/>
                </a:lnTo>
                <a:lnTo>
                  <a:pt x="3290" y="228"/>
                </a:lnTo>
                <a:lnTo>
                  <a:pt x="3290" y="403"/>
                </a:lnTo>
                <a:lnTo>
                  <a:pt x="3290" y="788"/>
                </a:lnTo>
                <a:lnTo>
                  <a:pt x="3226" y="788"/>
                </a:lnTo>
                <a:lnTo>
                  <a:pt x="3226" y="18"/>
                </a:lnTo>
                <a:lnTo>
                  <a:pt x="3306" y="18"/>
                </a:lnTo>
                <a:close/>
                <a:moveTo>
                  <a:pt x="3618" y="735"/>
                </a:moveTo>
                <a:lnTo>
                  <a:pt x="3611" y="719"/>
                </a:lnTo>
                <a:lnTo>
                  <a:pt x="3605" y="701"/>
                </a:lnTo>
                <a:lnTo>
                  <a:pt x="3599" y="681"/>
                </a:lnTo>
                <a:lnTo>
                  <a:pt x="3597" y="669"/>
                </a:lnTo>
                <a:lnTo>
                  <a:pt x="3595" y="659"/>
                </a:lnTo>
                <a:lnTo>
                  <a:pt x="3591" y="635"/>
                </a:lnTo>
                <a:lnTo>
                  <a:pt x="3589" y="609"/>
                </a:lnTo>
                <a:lnTo>
                  <a:pt x="3588" y="595"/>
                </a:lnTo>
                <a:lnTo>
                  <a:pt x="3587" y="581"/>
                </a:lnTo>
                <a:lnTo>
                  <a:pt x="3587" y="549"/>
                </a:lnTo>
                <a:lnTo>
                  <a:pt x="3587" y="18"/>
                </a:lnTo>
                <a:lnTo>
                  <a:pt x="3652" y="18"/>
                </a:lnTo>
                <a:lnTo>
                  <a:pt x="3652" y="543"/>
                </a:lnTo>
                <a:lnTo>
                  <a:pt x="3652" y="563"/>
                </a:lnTo>
                <a:lnTo>
                  <a:pt x="3652" y="581"/>
                </a:lnTo>
                <a:lnTo>
                  <a:pt x="3653" y="597"/>
                </a:lnTo>
                <a:lnTo>
                  <a:pt x="3655" y="611"/>
                </a:lnTo>
                <a:lnTo>
                  <a:pt x="3657" y="625"/>
                </a:lnTo>
                <a:lnTo>
                  <a:pt x="3659" y="637"/>
                </a:lnTo>
                <a:lnTo>
                  <a:pt x="3662" y="649"/>
                </a:lnTo>
                <a:lnTo>
                  <a:pt x="3665" y="659"/>
                </a:lnTo>
                <a:lnTo>
                  <a:pt x="3669" y="667"/>
                </a:lnTo>
                <a:lnTo>
                  <a:pt x="3674" y="675"/>
                </a:lnTo>
                <a:lnTo>
                  <a:pt x="3679" y="683"/>
                </a:lnTo>
                <a:lnTo>
                  <a:pt x="3685" y="689"/>
                </a:lnTo>
                <a:lnTo>
                  <a:pt x="3688" y="691"/>
                </a:lnTo>
                <a:lnTo>
                  <a:pt x="3692" y="693"/>
                </a:lnTo>
                <a:lnTo>
                  <a:pt x="3699" y="697"/>
                </a:lnTo>
                <a:lnTo>
                  <a:pt x="3706" y="699"/>
                </a:lnTo>
                <a:lnTo>
                  <a:pt x="3715" y="699"/>
                </a:lnTo>
                <a:lnTo>
                  <a:pt x="3723" y="699"/>
                </a:lnTo>
                <a:lnTo>
                  <a:pt x="3731" y="697"/>
                </a:lnTo>
                <a:lnTo>
                  <a:pt x="3738" y="693"/>
                </a:lnTo>
                <a:lnTo>
                  <a:pt x="3744" y="689"/>
                </a:lnTo>
                <a:lnTo>
                  <a:pt x="3750" y="683"/>
                </a:lnTo>
                <a:lnTo>
                  <a:pt x="3755" y="675"/>
                </a:lnTo>
                <a:lnTo>
                  <a:pt x="3760" y="667"/>
                </a:lnTo>
                <a:lnTo>
                  <a:pt x="3764" y="659"/>
                </a:lnTo>
                <a:lnTo>
                  <a:pt x="3768" y="649"/>
                </a:lnTo>
                <a:lnTo>
                  <a:pt x="3770" y="637"/>
                </a:lnTo>
                <a:lnTo>
                  <a:pt x="3773" y="625"/>
                </a:lnTo>
                <a:lnTo>
                  <a:pt x="3775" y="613"/>
                </a:lnTo>
                <a:lnTo>
                  <a:pt x="3776" y="597"/>
                </a:lnTo>
                <a:lnTo>
                  <a:pt x="3777" y="581"/>
                </a:lnTo>
                <a:lnTo>
                  <a:pt x="3778" y="563"/>
                </a:lnTo>
                <a:lnTo>
                  <a:pt x="3778" y="543"/>
                </a:lnTo>
                <a:lnTo>
                  <a:pt x="3778" y="18"/>
                </a:lnTo>
                <a:lnTo>
                  <a:pt x="3843" y="18"/>
                </a:lnTo>
                <a:lnTo>
                  <a:pt x="3843" y="549"/>
                </a:lnTo>
                <a:lnTo>
                  <a:pt x="3843" y="581"/>
                </a:lnTo>
                <a:lnTo>
                  <a:pt x="3842" y="595"/>
                </a:lnTo>
                <a:lnTo>
                  <a:pt x="3841" y="609"/>
                </a:lnTo>
                <a:lnTo>
                  <a:pt x="3838" y="635"/>
                </a:lnTo>
                <a:lnTo>
                  <a:pt x="3835" y="659"/>
                </a:lnTo>
                <a:lnTo>
                  <a:pt x="3833" y="669"/>
                </a:lnTo>
                <a:lnTo>
                  <a:pt x="3830" y="681"/>
                </a:lnTo>
                <a:lnTo>
                  <a:pt x="3825" y="701"/>
                </a:lnTo>
                <a:lnTo>
                  <a:pt x="3822" y="709"/>
                </a:lnTo>
                <a:lnTo>
                  <a:pt x="3819" y="719"/>
                </a:lnTo>
                <a:lnTo>
                  <a:pt x="3815" y="727"/>
                </a:lnTo>
                <a:lnTo>
                  <a:pt x="3812" y="735"/>
                </a:lnTo>
                <a:lnTo>
                  <a:pt x="3807" y="744"/>
                </a:lnTo>
                <a:lnTo>
                  <a:pt x="3802" y="752"/>
                </a:lnTo>
                <a:lnTo>
                  <a:pt x="3792" y="766"/>
                </a:lnTo>
                <a:lnTo>
                  <a:pt x="3781" y="778"/>
                </a:lnTo>
                <a:lnTo>
                  <a:pt x="3775" y="784"/>
                </a:lnTo>
                <a:lnTo>
                  <a:pt x="3769" y="788"/>
                </a:lnTo>
                <a:lnTo>
                  <a:pt x="3757" y="796"/>
                </a:lnTo>
                <a:lnTo>
                  <a:pt x="3750" y="800"/>
                </a:lnTo>
                <a:lnTo>
                  <a:pt x="3743" y="802"/>
                </a:lnTo>
                <a:lnTo>
                  <a:pt x="3729" y="806"/>
                </a:lnTo>
                <a:lnTo>
                  <a:pt x="3722" y="806"/>
                </a:lnTo>
                <a:lnTo>
                  <a:pt x="3715" y="806"/>
                </a:lnTo>
                <a:lnTo>
                  <a:pt x="3700" y="806"/>
                </a:lnTo>
                <a:lnTo>
                  <a:pt x="3686" y="802"/>
                </a:lnTo>
                <a:lnTo>
                  <a:pt x="3679" y="800"/>
                </a:lnTo>
                <a:lnTo>
                  <a:pt x="3673" y="796"/>
                </a:lnTo>
                <a:lnTo>
                  <a:pt x="3660" y="788"/>
                </a:lnTo>
                <a:lnTo>
                  <a:pt x="3648" y="778"/>
                </a:lnTo>
                <a:lnTo>
                  <a:pt x="3637" y="766"/>
                </a:lnTo>
                <a:lnTo>
                  <a:pt x="3627" y="750"/>
                </a:lnTo>
                <a:lnTo>
                  <a:pt x="3623" y="742"/>
                </a:lnTo>
                <a:lnTo>
                  <a:pt x="3618" y="735"/>
                </a:lnTo>
                <a:close/>
                <a:moveTo>
                  <a:pt x="4052" y="806"/>
                </a:moveTo>
                <a:lnTo>
                  <a:pt x="4036" y="806"/>
                </a:lnTo>
                <a:lnTo>
                  <a:pt x="4020" y="802"/>
                </a:lnTo>
                <a:lnTo>
                  <a:pt x="4006" y="796"/>
                </a:lnTo>
                <a:lnTo>
                  <a:pt x="4000" y="792"/>
                </a:lnTo>
                <a:lnTo>
                  <a:pt x="3993" y="788"/>
                </a:lnTo>
                <a:lnTo>
                  <a:pt x="3981" y="780"/>
                </a:lnTo>
                <a:lnTo>
                  <a:pt x="3975" y="774"/>
                </a:lnTo>
                <a:lnTo>
                  <a:pt x="3970" y="768"/>
                </a:lnTo>
                <a:lnTo>
                  <a:pt x="3960" y="756"/>
                </a:lnTo>
                <a:lnTo>
                  <a:pt x="3956" y="748"/>
                </a:lnTo>
                <a:lnTo>
                  <a:pt x="3951" y="740"/>
                </a:lnTo>
                <a:lnTo>
                  <a:pt x="3947" y="733"/>
                </a:lnTo>
                <a:lnTo>
                  <a:pt x="3943" y="725"/>
                </a:lnTo>
                <a:lnTo>
                  <a:pt x="3939" y="717"/>
                </a:lnTo>
                <a:lnTo>
                  <a:pt x="3936" y="707"/>
                </a:lnTo>
                <a:lnTo>
                  <a:pt x="3930" y="687"/>
                </a:lnTo>
                <a:lnTo>
                  <a:pt x="3926" y="667"/>
                </a:lnTo>
                <a:lnTo>
                  <a:pt x="3924" y="657"/>
                </a:lnTo>
                <a:lnTo>
                  <a:pt x="3922" y="645"/>
                </a:lnTo>
                <a:lnTo>
                  <a:pt x="3919" y="623"/>
                </a:lnTo>
                <a:lnTo>
                  <a:pt x="3918" y="599"/>
                </a:lnTo>
                <a:lnTo>
                  <a:pt x="3917" y="585"/>
                </a:lnTo>
                <a:lnTo>
                  <a:pt x="3917" y="573"/>
                </a:lnTo>
                <a:lnTo>
                  <a:pt x="3980" y="545"/>
                </a:lnTo>
                <a:lnTo>
                  <a:pt x="3981" y="567"/>
                </a:lnTo>
                <a:lnTo>
                  <a:pt x="3982" y="587"/>
                </a:lnTo>
                <a:lnTo>
                  <a:pt x="3984" y="603"/>
                </a:lnTo>
                <a:lnTo>
                  <a:pt x="3986" y="619"/>
                </a:lnTo>
                <a:lnTo>
                  <a:pt x="3988" y="627"/>
                </a:lnTo>
                <a:lnTo>
                  <a:pt x="3989" y="635"/>
                </a:lnTo>
                <a:lnTo>
                  <a:pt x="3993" y="647"/>
                </a:lnTo>
                <a:lnTo>
                  <a:pt x="3997" y="659"/>
                </a:lnTo>
                <a:lnTo>
                  <a:pt x="4001" y="667"/>
                </a:lnTo>
                <a:lnTo>
                  <a:pt x="4006" y="677"/>
                </a:lnTo>
                <a:lnTo>
                  <a:pt x="4012" y="683"/>
                </a:lnTo>
                <a:lnTo>
                  <a:pt x="4018" y="689"/>
                </a:lnTo>
                <a:lnTo>
                  <a:pt x="4025" y="693"/>
                </a:lnTo>
                <a:lnTo>
                  <a:pt x="4032" y="697"/>
                </a:lnTo>
                <a:lnTo>
                  <a:pt x="4039" y="699"/>
                </a:lnTo>
                <a:lnTo>
                  <a:pt x="4047" y="701"/>
                </a:lnTo>
                <a:lnTo>
                  <a:pt x="4056" y="701"/>
                </a:lnTo>
                <a:lnTo>
                  <a:pt x="4063" y="701"/>
                </a:lnTo>
                <a:lnTo>
                  <a:pt x="4070" y="699"/>
                </a:lnTo>
                <a:lnTo>
                  <a:pt x="4077" y="697"/>
                </a:lnTo>
                <a:lnTo>
                  <a:pt x="4083" y="695"/>
                </a:lnTo>
                <a:lnTo>
                  <a:pt x="4089" y="691"/>
                </a:lnTo>
                <a:lnTo>
                  <a:pt x="4095" y="685"/>
                </a:lnTo>
                <a:lnTo>
                  <a:pt x="4100" y="679"/>
                </a:lnTo>
                <a:lnTo>
                  <a:pt x="4105" y="673"/>
                </a:lnTo>
                <a:lnTo>
                  <a:pt x="4109" y="665"/>
                </a:lnTo>
                <a:lnTo>
                  <a:pt x="4113" y="657"/>
                </a:lnTo>
                <a:lnTo>
                  <a:pt x="4116" y="649"/>
                </a:lnTo>
                <a:lnTo>
                  <a:pt x="4119" y="639"/>
                </a:lnTo>
                <a:lnTo>
                  <a:pt x="4121" y="627"/>
                </a:lnTo>
                <a:lnTo>
                  <a:pt x="4122" y="623"/>
                </a:lnTo>
                <a:lnTo>
                  <a:pt x="4123" y="617"/>
                </a:lnTo>
                <a:lnTo>
                  <a:pt x="4124" y="605"/>
                </a:lnTo>
                <a:lnTo>
                  <a:pt x="4124" y="591"/>
                </a:lnTo>
                <a:lnTo>
                  <a:pt x="4124" y="581"/>
                </a:lnTo>
                <a:lnTo>
                  <a:pt x="4123" y="571"/>
                </a:lnTo>
                <a:lnTo>
                  <a:pt x="4122" y="563"/>
                </a:lnTo>
                <a:lnTo>
                  <a:pt x="4121" y="553"/>
                </a:lnTo>
                <a:lnTo>
                  <a:pt x="4119" y="545"/>
                </a:lnTo>
                <a:lnTo>
                  <a:pt x="4117" y="537"/>
                </a:lnTo>
                <a:lnTo>
                  <a:pt x="4115" y="529"/>
                </a:lnTo>
                <a:lnTo>
                  <a:pt x="4112" y="521"/>
                </a:lnTo>
                <a:lnTo>
                  <a:pt x="4104" y="505"/>
                </a:lnTo>
                <a:lnTo>
                  <a:pt x="4100" y="497"/>
                </a:lnTo>
                <a:lnTo>
                  <a:pt x="4095" y="491"/>
                </a:lnTo>
                <a:lnTo>
                  <a:pt x="4084" y="477"/>
                </a:lnTo>
                <a:lnTo>
                  <a:pt x="4071" y="465"/>
                </a:lnTo>
                <a:lnTo>
                  <a:pt x="4007" y="407"/>
                </a:lnTo>
                <a:lnTo>
                  <a:pt x="3998" y="399"/>
                </a:lnTo>
                <a:lnTo>
                  <a:pt x="3988" y="389"/>
                </a:lnTo>
                <a:lnTo>
                  <a:pt x="3972" y="369"/>
                </a:lnTo>
                <a:lnTo>
                  <a:pt x="3958" y="349"/>
                </a:lnTo>
                <a:lnTo>
                  <a:pt x="3953" y="337"/>
                </a:lnTo>
                <a:lnTo>
                  <a:pt x="3947" y="325"/>
                </a:lnTo>
                <a:lnTo>
                  <a:pt x="3942" y="313"/>
                </a:lnTo>
                <a:lnTo>
                  <a:pt x="3937" y="299"/>
                </a:lnTo>
                <a:lnTo>
                  <a:pt x="3934" y="285"/>
                </a:lnTo>
                <a:lnTo>
                  <a:pt x="3931" y="269"/>
                </a:lnTo>
                <a:lnTo>
                  <a:pt x="3929" y="253"/>
                </a:lnTo>
                <a:lnTo>
                  <a:pt x="3928" y="246"/>
                </a:lnTo>
                <a:lnTo>
                  <a:pt x="3927" y="238"/>
                </a:lnTo>
                <a:lnTo>
                  <a:pt x="3927" y="220"/>
                </a:lnTo>
                <a:lnTo>
                  <a:pt x="3926" y="200"/>
                </a:lnTo>
                <a:lnTo>
                  <a:pt x="3926" y="188"/>
                </a:lnTo>
                <a:lnTo>
                  <a:pt x="3927" y="176"/>
                </a:lnTo>
                <a:lnTo>
                  <a:pt x="3928" y="164"/>
                </a:lnTo>
                <a:lnTo>
                  <a:pt x="3929" y="152"/>
                </a:lnTo>
                <a:lnTo>
                  <a:pt x="3930" y="142"/>
                </a:lnTo>
                <a:lnTo>
                  <a:pt x="3932" y="132"/>
                </a:lnTo>
                <a:lnTo>
                  <a:pt x="3936" y="112"/>
                </a:lnTo>
                <a:lnTo>
                  <a:pt x="3939" y="102"/>
                </a:lnTo>
                <a:lnTo>
                  <a:pt x="3942" y="94"/>
                </a:lnTo>
                <a:lnTo>
                  <a:pt x="3949" y="78"/>
                </a:lnTo>
                <a:lnTo>
                  <a:pt x="3957" y="62"/>
                </a:lnTo>
                <a:lnTo>
                  <a:pt x="3961" y="56"/>
                </a:lnTo>
                <a:lnTo>
                  <a:pt x="3965" y="50"/>
                </a:lnTo>
                <a:lnTo>
                  <a:pt x="3974" y="38"/>
                </a:lnTo>
                <a:lnTo>
                  <a:pt x="3984" y="28"/>
                </a:lnTo>
                <a:lnTo>
                  <a:pt x="3994" y="20"/>
                </a:lnTo>
                <a:lnTo>
                  <a:pt x="4005" y="12"/>
                </a:lnTo>
                <a:lnTo>
                  <a:pt x="4017" y="6"/>
                </a:lnTo>
                <a:lnTo>
                  <a:pt x="4029" y="4"/>
                </a:lnTo>
                <a:lnTo>
                  <a:pt x="4042" y="0"/>
                </a:lnTo>
                <a:lnTo>
                  <a:pt x="4055" y="0"/>
                </a:lnTo>
                <a:lnTo>
                  <a:pt x="4070" y="2"/>
                </a:lnTo>
                <a:lnTo>
                  <a:pt x="4085" y="4"/>
                </a:lnTo>
                <a:lnTo>
                  <a:pt x="4098" y="10"/>
                </a:lnTo>
                <a:lnTo>
                  <a:pt x="4104" y="14"/>
                </a:lnTo>
                <a:lnTo>
                  <a:pt x="4110" y="18"/>
                </a:lnTo>
                <a:lnTo>
                  <a:pt x="4122" y="26"/>
                </a:lnTo>
                <a:lnTo>
                  <a:pt x="4132" y="38"/>
                </a:lnTo>
                <a:lnTo>
                  <a:pt x="4141" y="50"/>
                </a:lnTo>
                <a:lnTo>
                  <a:pt x="4149" y="64"/>
                </a:lnTo>
                <a:lnTo>
                  <a:pt x="4153" y="72"/>
                </a:lnTo>
                <a:lnTo>
                  <a:pt x="4156" y="78"/>
                </a:lnTo>
                <a:lnTo>
                  <a:pt x="4159" y="86"/>
                </a:lnTo>
                <a:lnTo>
                  <a:pt x="4162" y="94"/>
                </a:lnTo>
                <a:lnTo>
                  <a:pt x="4167" y="112"/>
                </a:lnTo>
                <a:lnTo>
                  <a:pt x="4172" y="128"/>
                </a:lnTo>
                <a:lnTo>
                  <a:pt x="4175" y="146"/>
                </a:lnTo>
                <a:lnTo>
                  <a:pt x="4177" y="166"/>
                </a:lnTo>
                <a:lnTo>
                  <a:pt x="4179" y="184"/>
                </a:lnTo>
                <a:lnTo>
                  <a:pt x="4179" y="202"/>
                </a:lnTo>
                <a:lnTo>
                  <a:pt x="4117" y="228"/>
                </a:lnTo>
                <a:lnTo>
                  <a:pt x="4117" y="212"/>
                </a:lnTo>
                <a:lnTo>
                  <a:pt x="4115" y="198"/>
                </a:lnTo>
                <a:lnTo>
                  <a:pt x="4114" y="186"/>
                </a:lnTo>
                <a:lnTo>
                  <a:pt x="4112" y="172"/>
                </a:lnTo>
                <a:lnTo>
                  <a:pt x="4109" y="162"/>
                </a:lnTo>
                <a:lnTo>
                  <a:pt x="4106" y="152"/>
                </a:lnTo>
                <a:lnTo>
                  <a:pt x="4103" y="142"/>
                </a:lnTo>
                <a:lnTo>
                  <a:pt x="4099" y="136"/>
                </a:lnTo>
                <a:lnTo>
                  <a:pt x="4095" y="128"/>
                </a:lnTo>
                <a:lnTo>
                  <a:pt x="4090" y="122"/>
                </a:lnTo>
                <a:lnTo>
                  <a:pt x="4085" y="118"/>
                </a:lnTo>
                <a:lnTo>
                  <a:pt x="4079" y="114"/>
                </a:lnTo>
                <a:lnTo>
                  <a:pt x="4073" y="110"/>
                </a:lnTo>
                <a:lnTo>
                  <a:pt x="4067" y="108"/>
                </a:lnTo>
                <a:lnTo>
                  <a:pt x="4060" y="108"/>
                </a:lnTo>
                <a:lnTo>
                  <a:pt x="4052" y="106"/>
                </a:lnTo>
                <a:lnTo>
                  <a:pt x="4040" y="108"/>
                </a:lnTo>
                <a:lnTo>
                  <a:pt x="4028" y="112"/>
                </a:lnTo>
                <a:lnTo>
                  <a:pt x="4023" y="116"/>
                </a:lnTo>
                <a:lnTo>
                  <a:pt x="4018" y="120"/>
                </a:lnTo>
                <a:lnTo>
                  <a:pt x="4013" y="124"/>
                </a:lnTo>
                <a:lnTo>
                  <a:pt x="4009" y="128"/>
                </a:lnTo>
                <a:lnTo>
                  <a:pt x="4005" y="134"/>
                </a:lnTo>
                <a:lnTo>
                  <a:pt x="4002" y="140"/>
                </a:lnTo>
                <a:lnTo>
                  <a:pt x="3999" y="148"/>
                </a:lnTo>
                <a:lnTo>
                  <a:pt x="3996" y="156"/>
                </a:lnTo>
                <a:lnTo>
                  <a:pt x="3994" y="164"/>
                </a:lnTo>
                <a:lnTo>
                  <a:pt x="3993" y="174"/>
                </a:lnTo>
                <a:lnTo>
                  <a:pt x="3992" y="184"/>
                </a:lnTo>
                <a:lnTo>
                  <a:pt x="3992" y="194"/>
                </a:lnTo>
                <a:lnTo>
                  <a:pt x="3992" y="204"/>
                </a:lnTo>
                <a:lnTo>
                  <a:pt x="3992" y="214"/>
                </a:lnTo>
                <a:lnTo>
                  <a:pt x="3993" y="224"/>
                </a:lnTo>
                <a:lnTo>
                  <a:pt x="3994" y="232"/>
                </a:lnTo>
                <a:lnTo>
                  <a:pt x="3996" y="240"/>
                </a:lnTo>
                <a:lnTo>
                  <a:pt x="3998" y="248"/>
                </a:lnTo>
                <a:lnTo>
                  <a:pt x="4001" y="255"/>
                </a:lnTo>
                <a:lnTo>
                  <a:pt x="4003" y="261"/>
                </a:lnTo>
                <a:lnTo>
                  <a:pt x="4007" y="267"/>
                </a:lnTo>
                <a:lnTo>
                  <a:pt x="4010" y="273"/>
                </a:lnTo>
                <a:lnTo>
                  <a:pt x="4019" y="285"/>
                </a:lnTo>
                <a:lnTo>
                  <a:pt x="4029" y="297"/>
                </a:lnTo>
                <a:lnTo>
                  <a:pt x="4041" y="309"/>
                </a:lnTo>
                <a:lnTo>
                  <a:pt x="4103" y="363"/>
                </a:lnTo>
                <a:lnTo>
                  <a:pt x="4113" y="373"/>
                </a:lnTo>
                <a:lnTo>
                  <a:pt x="4123" y="383"/>
                </a:lnTo>
                <a:lnTo>
                  <a:pt x="4133" y="393"/>
                </a:lnTo>
                <a:lnTo>
                  <a:pt x="4141" y="405"/>
                </a:lnTo>
                <a:lnTo>
                  <a:pt x="4149" y="417"/>
                </a:lnTo>
                <a:lnTo>
                  <a:pt x="4156" y="427"/>
                </a:lnTo>
                <a:lnTo>
                  <a:pt x="4162" y="441"/>
                </a:lnTo>
                <a:lnTo>
                  <a:pt x="4168" y="453"/>
                </a:lnTo>
                <a:lnTo>
                  <a:pt x="4173" y="467"/>
                </a:lnTo>
                <a:lnTo>
                  <a:pt x="4177" y="481"/>
                </a:lnTo>
                <a:lnTo>
                  <a:pt x="4181" y="495"/>
                </a:lnTo>
                <a:lnTo>
                  <a:pt x="4184" y="511"/>
                </a:lnTo>
                <a:lnTo>
                  <a:pt x="4186" y="527"/>
                </a:lnTo>
                <a:lnTo>
                  <a:pt x="4187" y="537"/>
                </a:lnTo>
                <a:lnTo>
                  <a:pt x="4187" y="545"/>
                </a:lnTo>
                <a:lnTo>
                  <a:pt x="4188" y="563"/>
                </a:lnTo>
                <a:lnTo>
                  <a:pt x="4189" y="583"/>
                </a:lnTo>
                <a:lnTo>
                  <a:pt x="4188" y="609"/>
                </a:lnTo>
                <a:lnTo>
                  <a:pt x="4186" y="633"/>
                </a:lnTo>
                <a:lnTo>
                  <a:pt x="4185" y="645"/>
                </a:lnTo>
                <a:lnTo>
                  <a:pt x="4183" y="655"/>
                </a:lnTo>
                <a:lnTo>
                  <a:pt x="4181" y="667"/>
                </a:lnTo>
                <a:lnTo>
                  <a:pt x="4179" y="677"/>
                </a:lnTo>
                <a:lnTo>
                  <a:pt x="4177" y="687"/>
                </a:lnTo>
                <a:lnTo>
                  <a:pt x="4174" y="697"/>
                </a:lnTo>
                <a:lnTo>
                  <a:pt x="4167" y="715"/>
                </a:lnTo>
                <a:lnTo>
                  <a:pt x="4164" y="723"/>
                </a:lnTo>
                <a:lnTo>
                  <a:pt x="4160" y="733"/>
                </a:lnTo>
                <a:lnTo>
                  <a:pt x="4152" y="746"/>
                </a:lnTo>
                <a:lnTo>
                  <a:pt x="4147" y="754"/>
                </a:lnTo>
                <a:lnTo>
                  <a:pt x="4142" y="760"/>
                </a:lnTo>
                <a:lnTo>
                  <a:pt x="4137" y="766"/>
                </a:lnTo>
                <a:lnTo>
                  <a:pt x="4132" y="772"/>
                </a:lnTo>
                <a:lnTo>
                  <a:pt x="4121" y="782"/>
                </a:lnTo>
                <a:lnTo>
                  <a:pt x="4109" y="790"/>
                </a:lnTo>
                <a:lnTo>
                  <a:pt x="4096" y="798"/>
                </a:lnTo>
                <a:lnTo>
                  <a:pt x="4082" y="802"/>
                </a:lnTo>
                <a:lnTo>
                  <a:pt x="4075" y="804"/>
                </a:lnTo>
                <a:lnTo>
                  <a:pt x="4068" y="804"/>
                </a:lnTo>
                <a:lnTo>
                  <a:pt x="4052" y="806"/>
                </a:lnTo>
                <a:close/>
                <a:moveTo>
                  <a:pt x="1669" y="1273"/>
                </a:moveTo>
                <a:lnTo>
                  <a:pt x="1669" y="1936"/>
                </a:lnTo>
                <a:lnTo>
                  <a:pt x="1604" y="1936"/>
                </a:lnTo>
                <a:lnTo>
                  <a:pt x="1604" y="1273"/>
                </a:lnTo>
                <a:lnTo>
                  <a:pt x="1506" y="1273"/>
                </a:lnTo>
                <a:lnTo>
                  <a:pt x="1506" y="1166"/>
                </a:lnTo>
                <a:lnTo>
                  <a:pt x="1767" y="1166"/>
                </a:lnTo>
                <a:lnTo>
                  <a:pt x="1767" y="1273"/>
                </a:lnTo>
                <a:lnTo>
                  <a:pt x="1669" y="1273"/>
                </a:lnTo>
                <a:close/>
                <a:moveTo>
                  <a:pt x="1832" y="1936"/>
                </a:moveTo>
                <a:lnTo>
                  <a:pt x="1832" y="1166"/>
                </a:lnTo>
                <a:lnTo>
                  <a:pt x="2060" y="1166"/>
                </a:lnTo>
                <a:lnTo>
                  <a:pt x="2060" y="1273"/>
                </a:lnTo>
                <a:lnTo>
                  <a:pt x="1897" y="1273"/>
                </a:lnTo>
                <a:lnTo>
                  <a:pt x="1897" y="1489"/>
                </a:lnTo>
                <a:lnTo>
                  <a:pt x="2030" y="1489"/>
                </a:lnTo>
                <a:lnTo>
                  <a:pt x="2030" y="1593"/>
                </a:lnTo>
                <a:lnTo>
                  <a:pt x="1897" y="1593"/>
                </a:lnTo>
                <a:lnTo>
                  <a:pt x="1897" y="1828"/>
                </a:lnTo>
                <a:lnTo>
                  <a:pt x="2060" y="1828"/>
                </a:lnTo>
                <a:lnTo>
                  <a:pt x="2060" y="1936"/>
                </a:lnTo>
                <a:lnTo>
                  <a:pt x="1832" y="1936"/>
                </a:lnTo>
                <a:close/>
                <a:moveTo>
                  <a:pt x="2260" y="1954"/>
                </a:moveTo>
                <a:lnTo>
                  <a:pt x="2251" y="1954"/>
                </a:lnTo>
                <a:lnTo>
                  <a:pt x="2242" y="1952"/>
                </a:lnTo>
                <a:lnTo>
                  <a:pt x="2234" y="1950"/>
                </a:lnTo>
                <a:lnTo>
                  <a:pt x="2226" y="1948"/>
                </a:lnTo>
                <a:lnTo>
                  <a:pt x="2218" y="1944"/>
                </a:lnTo>
                <a:lnTo>
                  <a:pt x="2211" y="1938"/>
                </a:lnTo>
                <a:lnTo>
                  <a:pt x="2204" y="1932"/>
                </a:lnTo>
                <a:lnTo>
                  <a:pt x="2197" y="1926"/>
                </a:lnTo>
                <a:lnTo>
                  <a:pt x="2190" y="1920"/>
                </a:lnTo>
                <a:lnTo>
                  <a:pt x="2184" y="1912"/>
                </a:lnTo>
                <a:lnTo>
                  <a:pt x="2178" y="1902"/>
                </a:lnTo>
                <a:lnTo>
                  <a:pt x="2172" y="1892"/>
                </a:lnTo>
                <a:lnTo>
                  <a:pt x="2166" y="1882"/>
                </a:lnTo>
                <a:lnTo>
                  <a:pt x="2161" y="1872"/>
                </a:lnTo>
                <a:lnTo>
                  <a:pt x="2156" y="1860"/>
                </a:lnTo>
                <a:lnTo>
                  <a:pt x="2151" y="1846"/>
                </a:lnTo>
                <a:lnTo>
                  <a:pt x="2147" y="1834"/>
                </a:lnTo>
                <a:lnTo>
                  <a:pt x="2143" y="1820"/>
                </a:lnTo>
                <a:lnTo>
                  <a:pt x="2139" y="1804"/>
                </a:lnTo>
                <a:lnTo>
                  <a:pt x="2135" y="1788"/>
                </a:lnTo>
                <a:lnTo>
                  <a:pt x="2132" y="1772"/>
                </a:lnTo>
                <a:lnTo>
                  <a:pt x="2129" y="1756"/>
                </a:lnTo>
                <a:lnTo>
                  <a:pt x="2126" y="1738"/>
                </a:lnTo>
                <a:lnTo>
                  <a:pt x="2124" y="1720"/>
                </a:lnTo>
                <a:lnTo>
                  <a:pt x="2121" y="1701"/>
                </a:lnTo>
                <a:lnTo>
                  <a:pt x="2120" y="1681"/>
                </a:lnTo>
                <a:lnTo>
                  <a:pt x="2118" y="1661"/>
                </a:lnTo>
                <a:lnTo>
                  <a:pt x="2117" y="1641"/>
                </a:lnTo>
                <a:lnTo>
                  <a:pt x="2115" y="1597"/>
                </a:lnTo>
                <a:lnTo>
                  <a:pt x="2114" y="1575"/>
                </a:lnTo>
                <a:lnTo>
                  <a:pt x="2114" y="1551"/>
                </a:lnTo>
                <a:lnTo>
                  <a:pt x="2115" y="1505"/>
                </a:lnTo>
                <a:lnTo>
                  <a:pt x="2117" y="1461"/>
                </a:lnTo>
                <a:lnTo>
                  <a:pt x="2118" y="1441"/>
                </a:lnTo>
                <a:lnTo>
                  <a:pt x="2120" y="1421"/>
                </a:lnTo>
                <a:lnTo>
                  <a:pt x="2124" y="1383"/>
                </a:lnTo>
                <a:lnTo>
                  <a:pt x="2126" y="1363"/>
                </a:lnTo>
                <a:lnTo>
                  <a:pt x="2129" y="1347"/>
                </a:lnTo>
                <a:lnTo>
                  <a:pt x="2135" y="1313"/>
                </a:lnTo>
                <a:lnTo>
                  <a:pt x="2139" y="1297"/>
                </a:lnTo>
                <a:lnTo>
                  <a:pt x="2143" y="1283"/>
                </a:lnTo>
                <a:lnTo>
                  <a:pt x="2147" y="1269"/>
                </a:lnTo>
                <a:lnTo>
                  <a:pt x="2151" y="1255"/>
                </a:lnTo>
                <a:lnTo>
                  <a:pt x="2156" y="1243"/>
                </a:lnTo>
                <a:lnTo>
                  <a:pt x="2161" y="1231"/>
                </a:lnTo>
                <a:lnTo>
                  <a:pt x="2166" y="1220"/>
                </a:lnTo>
                <a:lnTo>
                  <a:pt x="2172" y="1210"/>
                </a:lnTo>
                <a:lnTo>
                  <a:pt x="2178" y="1200"/>
                </a:lnTo>
                <a:lnTo>
                  <a:pt x="2184" y="1192"/>
                </a:lnTo>
                <a:lnTo>
                  <a:pt x="2197" y="1176"/>
                </a:lnTo>
                <a:lnTo>
                  <a:pt x="2204" y="1170"/>
                </a:lnTo>
                <a:lnTo>
                  <a:pt x="2211" y="1164"/>
                </a:lnTo>
                <a:lnTo>
                  <a:pt x="2218" y="1160"/>
                </a:lnTo>
                <a:lnTo>
                  <a:pt x="2226" y="1156"/>
                </a:lnTo>
                <a:lnTo>
                  <a:pt x="2234" y="1152"/>
                </a:lnTo>
                <a:lnTo>
                  <a:pt x="2242" y="1150"/>
                </a:lnTo>
                <a:lnTo>
                  <a:pt x="2251" y="1148"/>
                </a:lnTo>
                <a:lnTo>
                  <a:pt x="2260" y="1148"/>
                </a:lnTo>
                <a:lnTo>
                  <a:pt x="2268" y="1148"/>
                </a:lnTo>
                <a:lnTo>
                  <a:pt x="2277" y="1150"/>
                </a:lnTo>
                <a:lnTo>
                  <a:pt x="2285" y="1152"/>
                </a:lnTo>
                <a:lnTo>
                  <a:pt x="2293" y="1156"/>
                </a:lnTo>
                <a:lnTo>
                  <a:pt x="2301" y="1160"/>
                </a:lnTo>
                <a:lnTo>
                  <a:pt x="2308" y="1164"/>
                </a:lnTo>
                <a:lnTo>
                  <a:pt x="2316" y="1170"/>
                </a:lnTo>
                <a:lnTo>
                  <a:pt x="2323" y="1176"/>
                </a:lnTo>
                <a:lnTo>
                  <a:pt x="2329" y="1184"/>
                </a:lnTo>
                <a:lnTo>
                  <a:pt x="2336" y="1192"/>
                </a:lnTo>
                <a:lnTo>
                  <a:pt x="2342" y="1200"/>
                </a:lnTo>
                <a:lnTo>
                  <a:pt x="2348" y="1210"/>
                </a:lnTo>
                <a:lnTo>
                  <a:pt x="2353" y="1220"/>
                </a:lnTo>
                <a:lnTo>
                  <a:pt x="2359" y="1229"/>
                </a:lnTo>
                <a:lnTo>
                  <a:pt x="2364" y="1241"/>
                </a:lnTo>
                <a:lnTo>
                  <a:pt x="2368" y="1255"/>
                </a:lnTo>
                <a:lnTo>
                  <a:pt x="2377" y="1283"/>
                </a:lnTo>
                <a:lnTo>
                  <a:pt x="2381" y="1297"/>
                </a:lnTo>
                <a:lnTo>
                  <a:pt x="2385" y="1313"/>
                </a:lnTo>
                <a:lnTo>
                  <a:pt x="2391" y="1345"/>
                </a:lnTo>
                <a:lnTo>
                  <a:pt x="2394" y="1363"/>
                </a:lnTo>
                <a:lnTo>
                  <a:pt x="2396" y="1381"/>
                </a:lnTo>
                <a:lnTo>
                  <a:pt x="2398" y="1401"/>
                </a:lnTo>
                <a:lnTo>
                  <a:pt x="2400" y="1421"/>
                </a:lnTo>
                <a:lnTo>
                  <a:pt x="2402" y="1441"/>
                </a:lnTo>
                <a:lnTo>
                  <a:pt x="2403" y="1461"/>
                </a:lnTo>
                <a:lnTo>
                  <a:pt x="2404" y="1483"/>
                </a:lnTo>
                <a:lnTo>
                  <a:pt x="2405" y="1505"/>
                </a:lnTo>
                <a:lnTo>
                  <a:pt x="2405" y="1527"/>
                </a:lnTo>
                <a:lnTo>
                  <a:pt x="2406" y="1551"/>
                </a:lnTo>
                <a:lnTo>
                  <a:pt x="2405" y="1597"/>
                </a:lnTo>
                <a:lnTo>
                  <a:pt x="2403" y="1641"/>
                </a:lnTo>
                <a:lnTo>
                  <a:pt x="2402" y="1663"/>
                </a:lnTo>
                <a:lnTo>
                  <a:pt x="2400" y="1683"/>
                </a:lnTo>
                <a:lnTo>
                  <a:pt x="2396" y="1720"/>
                </a:lnTo>
                <a:lnTo>
                  <a:pt x="2394" y="1738"/>
                </a:lnTo>
                <a:lnTo>
                  <a:pt x="2391" y="1756"/>
                </a:lnTo>
                <a:lnTo>
                  <a:pt x="2388" y="1772"/>
                </a:lnTo>
                <a:lnTo>
                  <a:pt x="2385" y="1790"/>
                </a:lnTo>
                <a:lnTo>
                  <a:pt x="2381" y="1804"/>
                </a:lnTo>
                <a:lnTo>
                  <a:pt x="2377" y="1820"/>
                </a:lnTo>
                <a:lnTo>
                  <a:pt x="2373" y="1834"/>
                </a:lnTo>
                <a:lnTo>
                  <a:pt x="2368" y="1846"/>
                </a:lnTo>
                <a:lnTo>
                  <a:pt x="2364" y="1860"/>
                </a:lnTo>
                <a:lnTo>
                  <a:pt x="2359" y="1872"/>
                </a:lnTo>
                <a:lnTo>
                  <a:pt x="2353" y="1882"/>
                </a:lnTo>
                <a:lnTo>
                  <a:pt x="2348" y="1894"/>
                </a:lnTo>
                <a:lnTo>
                  <a:pt x="2342" y="1902"/>
                </a:lnTo>
                <a:lnTo>
                  <a:pt x="2336" y="1912"/>
                </a:lnTo>
                <a:lnTo>
                  <a:pt x="2329" y="1920"/>
                </a:lnTo>
                <a:lnTo>
                  <a:pt x="2323" y="1926"/>
                </a:lnTo>
                <a:lnTo>
                  <a:pt x="2316" y="1934"/>
                </a:lnTo>
                <a:lnTo>
                  <a:pt x="2308" y="1938"/>
                </a:lnTo>
                <a:lnTo>
                  <a:pt x="2301" y="1944"/>
                </a:lnTo>
                <a:lnTo>
                  <a:pt x="2293" y="1948"/>
                </a:lnTo>
                <a:lnTo>
                  <a:pt x="2285" y="1950"/>
                </a:lnTo>
                <a:lnTo>
                  <a:pt x="2277" y="1952"/>
                </a:lnTo>
                <a:lnTo>
                  <a:pt x="2268" y="1954"/>
                </a:lnTo>
                <a:lnTo>
                  <a:pt x="2260" y="1954"/>
                </a:lnTo>
                <a:close/>
                <a:moveTo>
                  <a:pt x="2260" y="1257"/>
                </a:moveTo>
                <a:lnTo>
                  <a:pt x="2251" y="1257"/>
                </a:lnTo>
                <a:lnTo>
                  <a:pt x="2246" y="1259"/>
                </a:lnTo>
                <a:lnTo>
                  <a:pt x="2242" y="1259"/>
                </a:lnTo>
                <a:lnTo>
                  <a:pt x="2234" y="1265"/>
                </a:lnTo>
                <a:lnTo>
                  <a:pt x="2227" y="1271"/>
                </a:lnTo>
                <a:lnTo>
                  <a:pt x="2223" y="1275"/>
                </a:lnTo>
                <a:lnTo>
                  <a:pt x="2220" y="1281"/>
                </a:lnTo>
                <a:lnTo>
                  <a:pt x="2216" y="1287"/>
                </a:lnTo>
                <a:lnTo>
                  <a:pt x="2213" y="1293"/>
                </a:lnTo>
                <a:lnTo>
                  <a:pt x="2210" y="1299"/>
                </a:lnTo>
                <a:lnTo>
                  <a:pt x="2207" y="1307"/>
                </a:lnTo>
                <a:lnTo>
                  <a:pt x="2201" y="1323"/>
                </a:lnTo>
                <a:lnTo>
                  <a:pt x="2199" y="1331"/>
                </a:lnTo>
                <a:lnTo>
                  <a:pt x="2196" y="1341"/>
                </a:lnTo>
                <a:lnTo>
                  <a:pt x="2192" y="1363"/>
                </a:lnTo>
                <a:lnTo>
                  <a:pt x="2188" y="1387"/>
                </a:lnTo>
                <a:lnTo>
                  <a:pt x="2187" y="1399"/>
                </a:lnTo>
                <a:lnTo>
                  <a:pt x="2185" y="1413"/>
                </a:lnTo>
                <a:lnTo>
                  <a:pt x="2183" y="1443"/>
                </a:lnTo>
                <a:lnTo>
                  <a:pt x="2181" y="1477"/>
                </a:lnTo>
                <a:lnTo>
                  <a:pt x="2180" y="1513"/>
                </a:lnTo>
                <a:lnTo>
                  <a:pt x="2180" y="1551"/>
                </a:lnTo>
                <a:lnTo>
                  <a:pt x="2180" y="1591"/>
                </a:lnTo>
                <a:lnTo>
                  <a:pt x="2181" y="1627"/>
                </a:lnTo>
                <a:lnTo>
                  <a:pt x="2183" y="1659"/>
                </a:lnTo>
                <a:lnTo>
                  <a:pt x="2185" y="1689"/>
                </a:lnTo>
                <a:lnTo>
                  <a:pt x="2188" y="1714"/>
                </a:lnTo>
                <a:lnTo>
                  <a:pt x="2192" y="1738"/>
                </a:lnTo>
                <a:lnTo>
                  <a:pt x="2196" y="1760"/>
                </a:lnTo>
                <a:lnTo>
                  <a:pt x="2201" y="1780"/>
                </a:lnTo>
                <a:lnTo>
                  <a:pt x="2207" y="1796"/>
                </a:lnTo>
                <a:lnTo>
                  <a:pt x="2213" y="1810"/>
                </a:lnTo>
                <a:lnTo>
                  <a:pt x="2220" y="1820"/>
                </a:lnTo>
                <a:lnTo>
                  <a:pt x="2227" y="1830"/>
                </a:lnTo>
                <a:lnTo>
                  <a:pt x="2234" y="1836"/>
                </a:lnTo>
                <a:lnTo>
                  <a:pt x="2242" y="1842"/>
                </a:lnTo>
                <a:lnTo>
                  <a:pt x="2251" y="1844"/>
                </a:lnTo>
                <a:lnTo>
                  <a:pt x="2260" y="1846"/>
                </a:lnTo>
                <a:lnTo>
                  <a:pt x="2269" y="1844"/>
                </a:lnTo>
                <a:lnTo>
                  <a:pt x="2273" y="1844"/>
                </a:lnTo>
                <a:lnTo>
                  <a:pt x="2277" y="1842"/>
                </a:lnTo>
                <a:lnTo>
                  <a:pt x="2285" y="1836"/>
                </a:lnTo>
                <a:lnTo>
                  <a:pt x="2293" y="1830"/>
                </a:lnTo>
                <a:lnTo>
                  <a:pt x="2296" y="1826"/>
                </a:lnTo>
                <a:lnTo>
                  <a:pt x="2300" y="1820"/>
                </a:lnTo>
                <a:lnTo>
                  <a:pt x="2306" y="1808"/>
                </a:lnTo>
                <a:lnTo>
                  <a:pt x="2309" y="1802"/>
                </a:lnTo>
                <a:lnTo>
                  <a:pt x="2312" y="1796"/>
                </a:lnTo>
                <a:lnTo>
                  <a:pt x="2318" y="1778"/>
                </a:lnTo>
                <a:lnTo>
                  <a:pt x="2320" y="1770"/>
                </a:lnTo>
                <a:lnTo>
                  <a:pt x="2323" y="1760"/>
                </a:lnTo>
                <a:lnTo>
                  <a:pt x="2327" y="1738"/>
                </a:lnTo>
                <a:lnTo>
                  <a:pt x="2331" y="1714"/>
                </a:lnTo>
                <a:lnTo>
                  <a:pt x="2332" y="1703"/>
                </a:lnTo>
                <a:lnTo>
                  <a:pt x="2334" y="1689"/>
                </a:lnTo>
                <a:lnTo>
                  <a:pt x="2336" y="1659"/>
                </a:lnTo>
                <a:lnTo>
                  <a:pt x="2338" y="1625"/>
                </a:lnTo>
                <a:lnTo>
                  <a:pt x="2339" y="1591"/>
                </a:lnTo>
                <a:lnTo>
                  <a:pt x="2340" y="1551"/>
                </a:lnTo>
                <a:lnTo>
                  <a:pt x="2339" y="1513"/>
                </a:lnTo>
                <a:lnTo>
                  <a:pt x="2338" y="1477"/>
                </a:lnTo>
                <a:lnTo>
                  <a:pt x="2336" y="1443"/>
                </a:lnTo>
                <a:lnTo>
                  <a:pt x="2334" y="1415"/>
                </a:lnTo>
                <a:lnTo>
                  <a:pt x="2331" y="1387"/>
                </a:lnTo>
                <a:lnTo>
                  <a:pt x="2327" y="1363"/>
                </a:lnTo>
                <a:lnTo>
                  <a:pt x="2323" y="1341"/>
                </a:lnTo>
                <a:lnTo>
                  <a:pt x="2318" y="1323"/>
                </a:lnTo>
                <a:lnTo>
                  <a:pt x="2312" y="1307"/>
                </a:lnTo>
                <a:lnTo>
                  <a:pt x="2306" y="1293"/>
                </a:lnTo>
                <a:lnTo>
                  <a:pt x="2300" y="1281"/>
                </a:lnTo>
                <a:lnTo>
                  <a:pt x="2293" y="1271"/>
                </a:lnTo>
                <a:lnTo>
                  <a:pt x="2285" y="1265"/>
                </a:lnTo>
                <a:lnTo>
                  <a:pt x="2277" y="1259"/>
                </a:lnTo>
                <a:lnTo>
                  <a:pt x="2273" y="1259"/>
                </a:lnTo>
                <a:lnTo>
                  <a:pt x="2269" y="1257"/>
                </a:lnTo>
                <a:lnTo>
                  <a:pt x="2260" y="1257"/>
                </a:lnTo>
                <a:close/>
                <a:moveTo>
                  <a:pt x="2485" y="1936"/>
                </a:moveTo>
                <a:lnTo>
                  <a:pt x="2485" y="1166"/>
                </a:lnTo>
                <a:lnTo>
                  <a:pt x="2549" y="1166"/>
                </a:lnTo>
                <a:lnTo>
                  <a:pt x="2549" y="1828"/>
                </a:lnTo>
                <a:lnTo>
                  <a:pt x="2709" y="1828"/>
                </a:lnTo>
                <a:lnTo>
                  <a:pt x="2709" y="1936"/>
                </a:lnTo>
                <a:lnTo>
                  <a:pt x="2485" y="1936"/>
                </a:lnTo>
                <a:close/>
                <a:moveTo>
                  <a:pt x="2769" y="1936"/>
                </a:moveTo>
                <a:lnTo>
                  <a:pt x="2769" y="1166"/>
                </a:lnTo>
                <a:lnTo>
                  <a:pt x="2835" y="1166"/>
                </a:lnTo>
                <a:lnTo>
                  <a:pt x="2835" y="1828"/>
                </a:lnTo>
                <a:lnTo>
                  <a:pt x="2994" y="1828"/>
                </a:lnTo>
                <a:lnTo>
                  <a:pt x="2994" y="1936"/>
                </a:lnTo>
                <a:lnTo>
                  <a:pt x="2769" y="1936"/>
                </a:lnTo>
                <a:close/>
                <a:moveTo>
                  <a:pt x="3055" y="1166"/>
                </a:moveTo>
                <a:lnTo>
                  <a:pt x="3120" y="1166"/>
                </a:lnTo>
                <a:lnTo>
                  <a:pt x="3120" y="1936"/>
                </a:lnTo>
                <a:lnTo>
                  <a:pt x="3055" y="1936"/>
                </a:lnTo>
                <a:lnTo>
                  <a:pt x="3055" y="1166"/>
                </a:lnTo>
                <a:close/>
                <a:moveTo>
                  <a:pt x="3337" y="1954"/>
                </a:moveTo>
                <a:lnTo>
                  <a:pt x="3321" y="1954"/>
                </a:lnTo>
                <a:lnTo>
                  <a:pt x="3305" y="1950"/>
                </a:lnTo>
                <a:lnTo>
                  <a:pt x="3291" y="1944"/>
                </a:lnTo>
                <a:lnTo>
                  <a:pt x="3284" y="1940"/>
                </a:lnTo>
                <a:lnTo>
                  <a:pt x="3278" y="1936"/>
                </a:lnTo>
                <a:lnTo>
                  <a:pt x="3266" y="1928"/>
                </a:lnTo>
                <a:lnTo>
                  <a:pt x="3260" y="1922"/>
                </a:lnTo>
                <a:lnTo>
                  <a:pt x="3255" y="1916"/>
                </a:lnTo>
                <a:lnTo>
                  <a:pt x="3245" y="1902"/>
                </a:lnTo>
                <a:lnTo>
                  <a:pt x="3241" y="1896"/>
                </a:lnTo>
                <a:lnTo>
                  <a:pt x="3236" y="1888"/>
                </a:lnTo>
                <a:lnTo>
                  <a:pt x="3232" y="1880"/>
                </a:lnTo>
                <a:lnTo>
                  <a:pt x="3229" y="1872"/>
                </a:lnTo>
                <a:lnTo>
                  <a:pt x="3225" y="1864"/>
                </a:lnTo>
                <a:lnTo>
                  <a:pt x="3222" y="1854"/>
                </a:lnTo>
                <a:lnTo>
                  <a:pt x="3216" y="1834"/>
                </a:lnTo>
                <a:lnTo>
                  <a:pt x="3211" y="1814"/>
                </a:lnTo>
                <a:lnTo>
                  <a:pt x="3210" y="1804"/>
                </a:lnTo>
                <a:lnTo>
                  <a:pt x="3208" y="1792"/>
                </a:lnTo>
                <a:lnTo>
                  <a:pt x="3205" y="1770"/>
                </a:lnTo>
                <a:lnTo>
                  <a:pt x="3203" y="1746"/>
                </a:lnTo>
                <a:lnTo>
                  <a:pt x="3203" y="1732"/>
                </a:lnTo>
                <a:lnTo>
                  <a:pt x="3203" y="1720"/>
                </a:lnTo>
                <a:lnTo>
                  <a:pt x="3265" y="1693"/>
                </a:lnTo>
                <a:lnTo>
                  <a:pt x="3266" y="1714"/>
                </a:lnTo>
                <a:lnTo>
                  <a:pt x="3267" y="1734"/>
                </a:lnTo>
                <a:lnTo>
                  <a:pt x="3269" y="1750"/>
                </a:lnTo>
                <a:lnTo>
                  <a:pt x="3271" y="1766"/>
                </a:lnTo>
                <a:lnTo>
                  <a:pt x="3273" y="1774"/>
                </a:lnTo>
                <a:lnTo>
                  <a:pt x="3274" y="1782"/>
                </a:lnTo>
                <a:lnTo>
                  <a:pt x="3278" y="1794"/>
                </a:lnTo>
                <a:lnTo>
                  <a:pt x="3282" y="1804"/>
                </a:lnTo>
                <a:lnTo>
                  <a:pt x="3286" y="1814"/>
                </a:lnTo>
                <a:lnTo>
                  <a:pt x="3291" y="1824"/>
                </a:lnTo>
                <a:lnTo>
                  <a:pt x="3297" y="1830"/>
                </a:lnTo>
                <a:lnTo>
                  <a:pt x="3303" y="1836"/>
                </a:lnTo>
                <a:lnTo>
                  <a:pt x="3310" y="1840"/>
                </a:lnTo>
                <a:lnTo>
                  <a:pt x="3317" y="1844"/>
                </a:lnTo>
                <a:lnTo>
                  <a:pt x="3324" y="1846"/>
                </a:lnTo>
                <a:lnTo>
                  <a:pt x="3332" y="1848"/>
                </a:lnTo>
                <a:lnTo>
                  <a:pt x="3341" y="1848"/>
                </a:lnTo>
                <a:lnTo>
                  <a:pt x="3348" y="1848"/>
                </a:lnTo>
                <a:lnTo>
                  <a:pt x="3355" y="1846"/>
                </a:lnTo>
                <a:lnTo>
                  <a:pt x="3362" y="1844"/>
                </a:lnTo>
                <a:lnTo>
                  <a:pt x="3368" y="1842"/>
                </a:lnTo>
                <a:lnTo>
                  <a:pt x="3374" y="1838"/>
                </a:lnTo>
                <a:lnTo>
                  <a:pt x="3380" y="1832"/>
                </a:lnTo>
                <a:lnTo>
                  <a:pt x="3385" y="1826"/>
                </a:lnTo>
                <a:lnTo>
                  <a:pt x="3390" y="1820"/>
                </a:lnTo>
                <a:lnTo>
                  <a:pt x="3394" y="1812"/>
                </a:lnTo>
                <a:lnTo>
                  <a:pt x="3398" y="1804"/>
                </a:lnTo>
                <a:lnTo>
                  <a:pt x="3401" y="1796"/>
                </a:lnTo>
                <a:lnTo>
                  <a:pt x="3404" y="1786"/>
                </a:lnTo>
                <a:lnTo>
                  <a:pt x="3406" y="1774"/>
                </a:lnTo>
                <a:lnTo>
                  <a:pt x="3407" y="1770"/>
                </a:lnTo>
                <a:lnTo>
                  <a:pt x="3408" y="1764"/>
                </a:lnTo>
                <a:lnTo>
                  <a:pt x="3409" y="1752"/>
                </a:lnTo>
                <a:lnTo>
                  <a:pt x="3409" y="1738"/>
                </a:lnTo>
                <a:lnTo>
                  <a:pt x="3409" y="1728"/>
                </a:lnTo>
                <a:lnTo>
                  <a:pt x="3408" y="1718"/>
                </a:lnTo>
                <a:lnTo>
                  <a:pt x="3407" y="1711"/>
                </a:lnTo>
                <a:lnTo>
                  <a:pt x="3406" y="1701"/>
                </a:lnTo>
                <a:lnTo>
                  <a:pt x="3404" y="1693"/>
                </a:lnTo>
                <a:lnTo>
                  <a:pt x="3402" y="1685"/>
                </a:lnTo>
                <a:lnTo>
                  <a:pt x="3400" y="1677"/>
                </a:lnTo>
                <a:lnTo>
                  <a:pt x="3396" y="1669"/>
                </a:lnTo>
                <a:lnTo>
                  <a:pt x="3389" y="1653"/>
                </a:lnTo>
                <a:lnTo>
                  <a:pt x="3385" y="1645"/>
                </a:lnTo>
                <a:lnTo>
                  <a:pt x="3380" y="1639"/>
                </a:lnTo>
                <a:lnTo>
                  <a:pt x="3369" y="1625"/>
                </a:lnTo>
                <a:lnTo>
                  <a:pt x="3356" y="1613"/>
                </a:lnTo>
                <a:lnTo>
                  <a:pt x="3292" y="1555"/>
                </a:lnTo>
                <a:lnTo>
                  <a:pt x="3282" y="1547"/>
                </a:lnTo>
                <a:lnTo>
                  <a:pt x="3273" y="1537"/>
                </a:lnTo>
                <a:lnTo>
                  <a:pt x="3257" y="1517"/>
                </a:lnTo>
                <a:lnTo>
                  <a:pt x="3243" y="1497"/>
                </a:lnTo>
                <a:lnTo>
                  <a:pt x="3237" y="1485"/>
                </a:lnTo>
                <a:lnTo>
                  <a:pt x="3232" y="1473"/>
                </a:lnTo>
                <a:lnTo>
                  <a:pt x="3227" y="1461"/>
                </a:lnTo>
                <a:lnTo>
                  <a:pt x="3223" y="1447"/>
                </a:lnTo>
                <a:lnTo>
                  <a:pt x="3220" y="1433"/>
                </a:lnTo>
                <a:lnTo>
                  <a:pt x="3217" y="1417"/>
                </a:lnTo>
                <a:lnTo>
                  <a:pt x="3215" y="1401"/>
                </a:lnTo>
                <a:lnTo>
                  <a:pt x="3214" y="1393"/>
                </a:lnTo>
                <a:lnTo>
                  <a:pt x="3213" y="1385"/>
                </a:lnTo>
                <a:lnTo>
                  <a:pt x="3212" y="1367"/>
                </a:lnTo>
                <a:lnTo>
                  <a:pt x="3212" y="1347"/>
                </a:lnTo>
                <a:lnTo>
                  <a:pt x="3212" y="1335"/>
                </a:lnTo>
                <a:lnTo>
                  <a:pt x="3213" y="1323"/>
                </a:lnTo>
                <a:lnTo>
                  <a:pt x="3214" y="1311"/>
                </a:lnTo>
                <a:lnTo>
                  <a:pt x="3215" y="1299"/>
                </a:lnTo>
                <a:lnTo>
                  <a:pt x="3216" y="1289"/>
                </a:lnTo>
                <a:lnTo>
                  <a:pt x="3218" y="1279"/>
                </a:lnTo>
                <a:lnTo>
                  <a:pt x="3222" y="1259"/>
                </a:lnTo>
                <a:lnTo>
                  <a:pt x="3225" y="1249"/>
                </a:lnTo>
                <a:lnTo>
                  <a:pt x="3228" y="1241"/>
                </a:lnTo>
                <a:lnTo>
                  <a:pt x="3234" y="1225"/>
                </a:lnTo>
                <a:lnTo>
                  <a:pt x="3241" y="1210"/>
                </a:lnTo>
                <a:lnTo>
                  <a:pt x="3245" y="1204"/>
                </a:lnTo>
                <a:lnTo>
                  <a:pt x="3250" y="1198"/>
                </a:lnTo>
                <a:lnTo>
                  <a:pt x="3259" y="1186"/>
                </a:lnTo>
                <a:lnTo>
                  <a:pt x="3269" y="1176"/>
                </a:lnTo>
                <a:lnTo>
                  <a:pt x="3279" y="1166"/>
                </a:lnTo>
                <a:lnTo>
                  <a:pt x="3290" y="1160"/>
                </a:lnTo>
                <a:lnTo>
                  <a:pt x="3302" y="1154"/>
                </a:lnTo>
                <a:lnTo>
                  <a:pt x="3314" y="1150"/>
                </a:lnTo>
                <a:lnTo>
                  <a:pt x="3327" y="1148"/>
                </a:lnTo>
                <a:lnTo>
                  <a:pt x="3340" y="1148"/>
                </a:lnTo>
                <a:lnTo>
                  <a:pt x="3355" y="1150"/>
                </a:lnTo>
                <a:lnTo>
                  <a:pt x="3370" y="1152"/>
                </a:lnTo>
                <a:lnTo>
                  <a:pt x="3383" y="1158"/>
                </a:lnTo>
                <a:lnTo>
                  <a:pt x="3389" y="1162"/>
                </a:lnTo>
                <a:lnTo>
                  <a:pt x="3395" y="1166"/>
                </a:lnTo>
                <a:lnTo>
                  <a:pt x="3407" y="1174"/>
                </a:lnTo>
                <a:lnTo>
                  <a:pt x="3417" y="1186"/>
                </a:lnTo>
                <a:lnTo>
                  <a:pt x="3426" y="1198"/>
                </a:lnTo>
                <a:lnTo>
                  <a:pt x="3434" y="1212"/>
                </a:lnTo>
                <a:lnTo>
                  <a:pt x="3438" y="1218"/>
                </a:lnTo>
                <a:lnTo>
                  <a:pt x="3441" y="1225"/>
                </a:lnTo>
                <a:lnTo>
                  <a:pt x="3444" y="1233"/>
                </a:lnTo>
                <a:lnTo>
                  <a:pt x="3447" y="1241"/>
                </a:lnTo>
                <a:lnTo>
                  <a:pt x="3452" y="1259"/>
                </a:lnTo>
                <a:lnTo>
                  <a:pt x="3457" y="1275"/>
                </a:lnTo>
                <a:lnTo>
                  <a:pt x="3460" y="1293"/>
                </a:lnTo>
                <a:lnTo>
                  <a:pt x="3462" y="1313"/>
                </a:lnTo>
                <a:lnTo>
                  <a:pt x="3464" y="1331"/>
                </a:lnTo>
                <a:lnTo>
                  <a:pt x="3464" y="1349"/>
                </a:lnTo>
                <a:lnTo>
                  <a:pt x="3402" y="1375"/>
                </a:lnTo>
                <a:lnTo>
                  <a:pt x="3402" y="1359"/>
                </a:lnTo>
                <a:lnTo>
                  <a:pt x="3400" y="1345"/>
                </a:lnTo>
                <a:lnTo>
                  <a:pt x="3399" y="1331"/>
                </a:lnTo>
                <a:lnTo>
                  <a:pt x="3397" y="1319"/>
                </a:lnTo>
                <a:lnTo>
                  <a:pt x="3394" y="1309"/>
                </a:lnTo>
                <a:lnTo>
                  <a:pt x="3391" y="1299"/>
                </a:lnTo>
                <a:lnTo>
                  <a:pt x="3388" y="1289"/>
                </a:lnTo>
                <a:lnTo>
                  <a:pt x="3384" y="1281"/>
                </a:lnTo>
                <a:lnTo>
                  <a:pt x="3380" y="1275"/>
                </a:lnTo>
                <a:lnTo>
                  <a:pt x="3375" y="1269"/>
                </a:lnTo>
                <a:lnTo>
                  <a:pt x="3370" y="1265"/>
                </a:lnTo>
                <a:lnTo>
                  <a:pt x="3364" y="1261"/>
                </a:lnTo>
                <a:lnTo>
                  <a:pt x="3358" y="1257"/>
                </a:lnTo>
                <a:lnTo>
                  <a:pt x="3352" y="1255"/>
                </a:lnTo>
                <a:lnTo>
                  <a:pt x="3345" y="1255"/>
                </a:lnTo>
                <a:lnTo>
                  <a:pt x="3337" y="1253"/>
                </a:lnTo>
                <a:lnTo>
                  <a:pt x="3325" y="1255"/>
                </a:lnTo>
                <a:lnTo>
                  <a:pt x="3313" y="1259"/>
                </a:lnTo>
                <a:lnTo>
                  <a:pt x="3308" y="1263"/>
                </a:lnTo>
                <a:lnTo>
                  <a:pt x="3303" y="1267"/>
                </a:lnTo>
                <a:lnTo>
                  <a:pt x="3298" y="1271"/>
                </a:lnTo>
                <a:lnTo>
                  <a:pt x="3294" y="1275"/>
                </a:lnTo>
                <a:lnTo>
                  <a:pt x="3290" y="1281"/>
                </a:lnTo>
                <a:lnTo>
                  <a:pt x="3287" y="1287"/>
                </a:lnTo>
                <a:lnTo>
                  <a:pt x="3284" y="1295"/>
                </a:lnTo>
                <a:lnTo>
                  <a:pt x="3281" y="1303"/>
                </a:lnTo>
                <a:lnTo>
                  <a:pt x="3279" y="1311"/>
                </a:lnTo>
                <a:lnTo>
                  <a:pt x="3278" y="1321"/>
                </a:lnTo>
                <a:lnTo>
                  <a:pt x="3277" y="1331"/>
                </a:lnTo>
                <a:lnTo>
                  <a:pt x="3276" y="1341"/>
                </a:lnTo>
                <a:lnTo>
                  <a:pt x="3277" y="1351"/>
                </a:lnTo>
                <a:lnTo>
                  <a:pt x="3277" y="1361"/>
                </a:lnTo>
                <a:lnTo>
                  <a:pt x="3278" y="1371"/>
                </a:lnTo>
                <a:lnTo>
                  <a:pt x="3279" y="1379"/>
                </a:lnTo>
                <a:lnTo>
                  <a:pt x="3281" y="1387"/>
                </a:lnTo>
                <a:lnTo>
                  <a:pt x="3283" y="1395"/>
                </a:lnTo>
                <a:lnTo>
                  <a:pt x="3286" y="1403"/>
                </a:lnTo>
                <a:lnTo>
                  <a:pt x="3288" y="1409"/>
                </a:lnTo>
                <a:lnTo>
                  <a:pt x="3292" y="1415"/>
                </a:lnTo>
                <a:lnTo>
                  <a:pt x="3295" y="1421"/>
                </a:lnTo>
                <a:lnTo>
                  <a:pt x="3304" y="1433"/>
                </a:lnTo>
                <a:lnTo>
                  <a:pt x="3314" y="1445"/>
                </a:lnTo>
                <a:lnTo>
                  <a:pt x="3326" y="1457"/>
                </a:lnTo>
                <a:lnTo>
                  <a:pt x="3388" y="1511"/>
                </a:lnTo>
                <a:lnTo>
                  <a:pt x="3398" y="1521"/>
                </a:lnTo>
                <a:lnTo>
                  <a:pt x="3408" y="1531"/>
                </a:lnTo>
                <a:lnTo>
                  <a:pt x="3418" y="1541"/>
                </a:lnTo>
                <a:lnTo>
                  <a:pt x="3426" y="1553"/>
                </a:lnTo>
                <a:lnTo>
                  <a:pt x="3434" y="1565"/>
                </a:lnTo>
                <a:lnTo>
                  <a:pt x="3441" y="1575"/>
                </a:lnTo>
                <a:lnTo>
                  <a:pt x="3447" y="1589"/>
                </a:lnTo>
                <a:lnTo>
                  <a:pt x="3453" y="1601"/>
                </a:lnTo>
                <a:lnTo>
                  <a:pt x="3458" y="1615"/>
                </a:lnTo>
                <a:lnTo>
                  <a:pt x="3462" y="1629"/>
                </a:lnTo>
                <a:lnTo>
                  <a:pt x="3466" y="1643"/>
                </a:lnTo>
                <a:lnTo>
                  <a:pt x="3469" y="1659"/>
                </a:lnTo>
                <a:lnTo>
                  <a:pt x="3471" y="1675"/>
                </a:lnTo>
                <a:lnTo>
                  <a:pt x="3472" y="1685"/>
                </a:lnTo>
                <a:lnTo>
                  <a:pt x="3472" y="1693"/>
                </a:lnTo>
                <a:lnTo>
                  <a:pt x="3473" y="1711"/>
                </a:lnTo>
                <a:lnTo>
                  <a:pt x="3474" y="1730"/>
                </a:lnTo>
                <a:lnTo>
                  <a:pt x="3473" y="1756"/>
                </a:lnTo>
                <a:lnTo>
                  <a:pt x="3471" y="1780"/>
                </a:lnTo>
                <a:lnTo>
                  <a:pt x="3470" y="1792"/>
                </a:lnTo>
                <a:lnTo>
                  <a:pt x="3468" y="1802"/>
                </a:lnTo>
                <a:lnTo>
                  <a:pt x="3466" y="1814"/>
                </a:lnTo>
                <a:lnTo>
                  <a:pt x="3464" y="1824"/>
                </a:lnTo>
                <a:lnTo>
                  <a:pt x="3461" y="1834"/>
                </a:lnTo>
                <a:lnTo>
                  <a:pt x="3459" y="1844"/>
                </a:lnTo>
                <a:lnTo>
                  <a:pt x="3452" y="1862"/>
                </a:lnTo>
                <a:lnTo>
                  <a:pt x="3449" y="1870"/>
                </a:lnTo>
                <a:lnTo>
                  <a:pt x="3445" y="1880"/>
                </a:lnTo>
                <a:lnTo>
                  <a:pt x="3437" y="1894"/>
                </a:lnTo>
                <a:lnTo>
                  <a:pt x="3432" y="1902"/>
                </a:lnTo>
                <a:lnTo>
                  <a:pt x="3427" y="1908"/>
                </a:lnTo>
                <a:lnTo>
                  <a:pt x="3422" y="1914"/>
                </a:lnTo>
                <a:lnTo>
                  <a:pt x="3417" y="1920"/>
                </a:lnTo>
                <a:lnTo>
                  <a:pt x="3406" y="1930"/>
                </a:lnTo>
                <a:lnTo>
                  <a:pt x="3394" y="1938"/>
                </a:lnTo>
                <a:lnTo>
                  <a:pt x="3381" y="1946"/>
                </a:lnTo>
                <a:lnTo>
                  <a:pt x="3367" y="1950"/>
                </a:lnTo>
                <a:lnTo>
                  <a:pt x="3360" y="1952"/>
                </a:lnTo>
                <a:lnTo>
                  <a:pt x="3353" y="1952"/>
                </a:lnTo>
                <a:lnTo>
                  <a:pt x="3337" y="1954"/>
                </a:lnTo>
                <a:close/>
                <a:moveTo>
                  <a:pt x="3582" y="1882"/>
                </a:moveTo>
                <a:lnTo>
                  <a:pt x="3574" y="1866"/>
                </a:lnTo>
                <a:lnTo>
                  <a:pt x="3567" y="1848"/>
                </a:lnTo>
                <a:lnTo>
                  <a:pt x="3562" y="1828"/>
                </a:lnTo>
                <a:lnTo>
                  <a:pt x="3559" y="1816"/>
                </a:lnTo>
                <a:lnTo>
                  <a:pt x="3557" y="1806"/>
                </a:lnTo>
                <a:lnTo>
                  <a:pt x="3554" y="1782"/>
                </a:lnTo>
                <a:lnTo>
                  <a:pt x="3551" y="1756"/>
                </a:lnTo>
                <a:lnTo>
                  <a:pt x="3550" y="1742"/>
                </a:lnTo>
                <a:lnTo>
                  <a:pt x="3550" y="1726"/>
                </a:lnTo>
                <a:lnTo>
                  <a:pt x="3549" y="1697"/>
                </a:lnTo>
                <a:lnTo>
                  <a:pt x="3549" y="1166"/>
                </a:lnTo>
                <a:lnTo>
                  <a:pt x="3615" y="1166"/>
                </a:lnTo>
                <a:lnTo>
                  <a:pt x="3615" y="1691"/>
                </a:lnTo>
                <a:lnTo>
                  <a:pt x="3615" y="1711"/>
                </a:lnTo>
                <a:lnTo>
                  <a:pt x="3616" y="1728"/>
                </a:lnTo>
                <a:lnTo>
                  <a:pt x="3617" y="1744"/>
                </a:lnTo>
                <a:lnTo>
                  <a:pt x="3618" y="1758"/>
                </a:lnTo>
                <a:lnTo>
                  <a:pt x="3620" y="1772"/>
                </a:lnTo>
                <a:lnTo>
                  <a:pt x="3623" y="1784"/>
                </a:lnTo>
                <a:lnTo>
                  <a:pt x="3625" y="1796"/>
                </a:lnTo>
                <a:lnTo>
                  <a:pt x="3629" y="1804"/>
                </a:lnTo>
                <a:lnTo>
                  <a:pt x="3633" y="1814"/>
                </a:lnTo>
                <a:lnTo>
                  <a:pt x="3637" y="1822"/>
                </a:lnTo>
                <a:lnTo>
                  <a:pt x="3643" y="1830"/>
                </a:lnTo>
                <a:lnTo>
                  <a:pt x="3649" y="1836"/>
                </a:lnTo>
                <a:lnTo>
                  <a:pt x="3652" y="1838"/>
                </a:lnTo>
                <a:lnTo>
                  <a:pt x="3655" y="1840"/>
                </a:lnTo>
                <a:lnTo>
                  <a:pt x="3662" y="1844"/>
                </a:lnTo>
                <a:lnTo>
                  <a:pt x="3670" y="1846"/>
                </a:lnTo>
                <a:lnTo>
                  <a:pt x="3678" y="1846"/>
                </a:lnTo>
                <a:lnTo>
                  <a:pt x="3686" y="1846"/>
                </a:lnTo>
                <a:lnTo>
                  <a:pt x="3694" y="1844"/>
                </a:lnTo>
                <a:lnTo>
                  <a:pt x="3701" y="1840"/>
                </a:lnTo>
                <a:lnTo>
                  <a:pt x="3708" y="1836"/>
                </a:lnTo>
                <a:lnTo>
                  <a:pt x="3713" y="1830"/>
                </a:lnTo>
                <a:lnTo>
                  <a:pt x="3719" y="1822"/>
                </a:lnTo>
                <a:lnTo>
                  <a:pt x="3723" y="1814"/>
                </a:lnTo>
                <a:lnTo>
                  <a:pt x="3728" y="1804"/>
                </a:lnTo>
                <a:lnTo>
                  <a:pt x="3731" y="1796"/>
                </a:lnTo>
                <a:lnTo>
                  <a:pt x="3734" y="1784"/>
                </a:lnTo>
                <a:lnTo>
                  <a:pt x="3736" y="1772"/>
                </a:lnTo>
                <a:lnTo>
                  <a:pt x="3738" y="1758"/>
                </a:lnTo>
                <a:lnTo>
                  <a:pt x="3740" y="1744"/>
                </a:lnTo>
                <a:lnTo>
                  <a:pt x="3741" y="1728"/>
                </a:lnTo>
                <a:lnTo>
                  <a:pt x="3741" y="1711"/>
                </a:lnTo>
                <a:lnTo>
                  <a:pt x="3741" y="1691"/>
                </a:lnTo>
                <a:lnTo>
                  <a:pt x="3741" y="1166"/>
                </a:lnTo>
                <a:lnTo>
                  <a:pt x="3807" y="1166"/>
                </a:lnTo>
                <a:lnTo>
                  <a:pt x="3807" y="1697"/>
                </a:lnTo>
                <a:lnTo>
                  <a:pt x="3806" y="1726"/>
                </a:lnTo>
                <a:lnTo>
                  <a:pt x="3805" y="1742"/>
                </a:lnTo>
                <a:lnTo>
                  <a:pt x="3805" y="1756"/>
                </a:lnTo>
                <a:lnTo>
                  <a:pt x="3802" y="1782"/>
                </a:lnTo>
                <a:lnTo>
                  <a:pt x="3798" y="1806"/>
                </a:lnTo>
                <a:lnTo>
                  <a:pt x="3796" y="1816"/>
                </a:lnTo>
                <a:lnTo>
                  <a:pt x="3794" y="1828"/>
                </a:lnTo>
                <a:lnTo>
                  <a:pt x="3788" y="1848"/>
                </a:lnTo>
                <a:lnTo>
                  <a:pt x="3785" y="1856"/>
                </a:lnTo>
                <a:lnTo>
                  <a:pt x="3782" y="1866"/>
                </a:lnTo>
                <a:lnTo>
                  <a:pt x="3779" y="1874"/>
                </a:lnTo>
                <a:lnTo>
                  <a:pt x="3775" y="1882"/>
                </a:lnTo>
                <a:lnTo>
                  <a:pt x="3771" y="1890"/>
                </a:lnTo>
                <a:lnTo>
                  <a:pt x="3766" y="1898"/>
                </a:lnTo>
                <a:lnTo>
                  <a:pt x="3756" y="1914"/>
                </a:lnTo>
                <a:lnTo>
                  <a:pt x="3745" y="1926"/>
                </a:lnTo>
                <a:lnTo>
                  <a:pt x="3739" y="1930"/>
                </a:lnTo>
                <a:lnTo>
                  <a:pt x="3733" y="1936"/>
                </a:lnTo>
                <a:lnTo>
                  <a:pt x="3720" y="1944"/>
                </a:lnTo>
                <a:lnTo>
                  <a:pt x="3714" y="1946"/>
                </a:lnTo>
                <a:lnTo>
                  <a:pt x="3707" y="1950"/>
                </a:lnTo>
                <a:lnTo>
                  <a:pt x="3693" y="1952"/>
                </a:lnTo>
                <a:lnTo>
                  <a:pt x="3685" y="1954"/>
                </a:lnTo>
                <a:lnTo>
                  <a:pt x="3678" y="1954"/>
                </a:lnTo>
                <a:lnTo>
                  <a:pt x="3663" y="1952"/>
                </a:lnTo>
                <a:lnTo>
                  <a:pt x="3649" y="1950"/>
                </a:lnTo>
                <a:lnTo>
                  <a:pt x="3643" y="1946"/>
                </a:lnTo>
                <a:lnTo>
                  <a:pt x="3636" y="1944"/>
                </a:lnTo>
                <a:lnTo>
                  <a:pt x="3624" y="1936"/>
                </a:lnTo>
                <a:lnTo>
                  <a:pt x="3612" y="1926"/>
                </a:lnTo>
                <a:lnTo>
                  <a:pt x="3601" y="1914"/>
                </a:lnTo>
                <a:lnTo>
                  <a:pt x="3591" y="1898"/>
                </a:lnTo>
                <a:lnTo>
                  <a:pt x="3586" y="1890"/>
                </a:lnTo>
                <a:lnTo>
                  <a:pt x="3582" y="1882"/>
                </a:lnTo>
                <a:close/>
                <a:moveTo>
                  <a:pt x="3934" y="1882"/>
                </a:moveTo>
                <a:lnTo>
                  <a:pt x="3927" y="1866"/>
                </a:lnTo>
                <a:lnTo>
                  <a:pt x="3920" y="1848"/>
                </a:lnTo>
                <a:lnTo>
                  <a:pt x="3915" y="1828"/>
                </a:lnTo>
                <a:lnTo>
                  <a:pt x="3912" y="1816"/>
                </a:lnTo>
                <a:lnTo>
                  <a:pt x="3910" y="1806"/>
                </a:lnTo>
                <a:lnTo>
                  <a:pt x="3907" y="1782"/>
                </a:lnTo>
                <a:lnTo>
                  <a:pt x="3904" y="1756"/>
                </a:lnTo>
                <a:lnTo>
                  <a:pt x="3903" y="1742"/>
                </a:lnTo>
                <a:lnTo>
                  <a:pt x="3903" y="1726"/>
                </a:lnTo>
                <a:lnTo>
                  <a:pt x="3902" y="1697"/>
                </a:lnTo>
                <a:lnTo>
                  <a:pt x="3902" y="1166"/>
                </a:lnTo>
                <a:lnTo>
                  <a:pt x="3968" y="1166"/>
                </a:lnTo>
                <a:lnTo>
                  <a:pt x="3968" y="1691"/>
                </a:lnTo>
                <a:lnTo>
                  <a:pt x="3968" y="1711"/>
                </a:lnTo>
                <a:lnTo>
                  <a:pt x="3969" y="1728"/>
                </a:lnTo>
                <a:lnTo>
                  <a:pt x="3970" y="1744"/>
                </a:lnTo>
                <a:lnTo>
                  <a:pt x="3972" y="1758"/>
                </a:lnTo>
                <a:lnTo>
                  <a:pt x="3973" y="1772"/>
                </a:lnTo>
                <a:lnTo>
                  <a:pt x="3976" y="1784"/>
                </a:lnTo>
                <a:lnTo>
                  <a:pt x="3979" y="1796"/>
                </a:lnTo>
                <a:lnTo>
                  <a:pt x="3982" y="1804"/>
                </a:lnTo>
                <a:lnTo>
                  <a:pt x="3986" y="1814"/>
                </a:lnTo>
                <a:lnTo>
                  <a:pt x="3991" y="1822"/>
                </a:lnTo>
                <a:lnTo>
                  <a:pt x="3996" y="1830"/>
                </a:lnTo>
                <a:lnTo>
                  <a:pt x="4002" y="1836"/>
                </a:lnTo>
                <a:lnTo>
                  <a:pt x="4005" y="1838"/>
                </a:lnTo>
                <a:lnTo>
                  <a:pt x="4008" y="1840"/>
                </a:lnTo>
                <a:lnTo>
                  <a:pt x="4015" y="1844"/>
                </a:lnTo>
                <a:lnTo>
                  <a:pt x="4023" y="1846"/>
                </a:lnTo>
                <a:lnTo>
                  <a:pt x="4031" y="1846"/>
                </a:lnTo>
                <a:lnTo>
                  <a:pt x="4040" y="1846"/>
                </a:lnTo>
                <a:lnTo>
                  <a:pt x="4047" y="1844"/>
                </a:lnTo>
                <a:lnTo>
                  <a:pt x="4054" y="1840"/>
                </a:lnTo>
                <a:lnTo>
                  <a:pt x="4061" y="1836"/>
                </a:lnTo>
                <a:lnTo>
                  <a:pt x="4067" y="1830"/>
                </a:lnTo>
                <a:lnTo>
                  <a:pt x="4072" y="1822"/>
                </a:lnTo>
                <a:lnTo>
                  <a:pt x="4077" y="1814"/>
                </a:lnTo>
                <a:lnTo>
                  <a:pt x="4081" y="1804"/>
                </a:lnTo>
                <a:lnTo>
                  <a:pt x="4084" y="1796"/>
                </a:lnTo>
                <a:lnTo>
                  <a:pt x="4087" y="1784"/>
                </a:lnTo>
                <a:lnTo>
                  <a:pt x="4090" y="1772"/>
                </a:lnTo>
                <a:lnTo>
                  <a:pt x="4091" y="1758"/>
                </a:lnTo>
                <a:lnTo>
                  <a:pt x="4093" y="1744"/>
                </a:lnTo>
                <a:lnTo>
                  <a:pt x="4094" y="1728"/>
                </a:lnTo>
                <a:lnTo>
                  <a:pt x="4094" y="1711"/>
                </a:lnTo>
                <a:lnTo>
                  <a:pt x="4094" y="1691"/>
                </a:lnTo>
                <a:lnTo>
                  <a:pt x="4094" y="1166"/>
                </a:lnTo>
                <a:lnTo>
                  <a:pt x="4160" y="1166"/>
                </a:lnTo>
                <a:lnTo>
                  <a:pt x="4160" y="1697"/>
                </a:lnTo>
                <a:lnTo>
                  <a:pt x="4159" y="1726"/>
                </a:lnTo>
                <a:lnTo>
                  <a:pt x="4159" y="1742"/>
                </a:lnTo>
                <a:lnTo>
                  <a:pt x="4158" y="1756"/>
                </a:lnTo>
                <a:lnTo>
                  <a:pt x="4155" y="1782"/>
                </a:lnTo>
                <a:lnTo>
                  <a:pt x="4152" y="1806"/>
                </a:lnTo>
                <a:lnTo>
                  <a:pt x="4149" y="1816"/>
                </a:lnTo>
                <a:lnTo>
                  <a:pt x="4147" y="1828"/>
                </a:lnTo>
                <a:lnTo>
                  <a:pt x="4142" y="1848"/>
                </a:lnTo>
                <a:lnTo>
                  <a:pt x="4139" y="1856"/>
                </a:lnTo>
                <a:lnTo>
                  <a:pt x="4135" y="1866"/>
                </a:lnTo>
                <a:lnTo>
                  <a:pt x="4132" y="1874"/>
                </a:lnTo>
                <a:lnTo>
                  <a:pt x="4128" y="1882"/>
                </a:lnTo>
                <a:lnTo>
                  <a:pt x="4124" y="1890"/>
                </a:lnTo>
                <a:lnTo>
                  <a:pt x="4119" y="1898"/>
                </a:lnTo>
                <a:lnTo>
                  <a:pt x="4109" y="1914"/>
                </a:lnTo>
                <a:lnTo>
                  <a:pt x="4098" y="1926"/>
                </a:lnTo>
                <a:lnTo>
                  <a:pt x="4092" y="1930"/>
                </a:lnTo>
                <a:lnTo>
                  <a:pt x="4086" y="1936"/>
                </a:lnTo>
                <a:lnTo>
                  <a:pt x="4073" y="1944"/>
                </a:lnTo>
                <a:lnTo>
                  <a:pt x="4067" y="1946"/>
                </a:lnTo>
                <a:lnTo>
                  <a:pt x="4060" y="1950"/>
                </a:lnTo>
                <a:lnTo>
                  <a:pt x="4046" y="1952"/>
                </a:lnTo>
                <a:lnTo>
                  <a:pt x="4039" y="1954"/>
                </a:lnTo>
                <a:lnTo>
                  <a:pt x="4031" y="1954"/>
                </a:lnTo>
                <a:lnTo>
                  <a:pt x="4017" y="1952"/>
                </a:lnTo>
                <a:lnTo>
                  <a:pt x="4003" y="1950"/>
                </a:lnTo>
                <a:lnTo>
                  <a:pt x="3996" y="1946"/>
                </a:lnTo>
                <a:lnTo>
                  <a:pt x="3989" y="1944"/>
                </a:lnTo>
                <a:lnTo>
                  <a:pt x="3977" y="1936"/>
                </a:lnTo>
                <a:lnTo>
                  <a:pt x="3965" y="1926"/>
                </a:lnTo>
                <a:lnTo>
                  <a:pt x="3954" y="1914"/>
                </a:lnTo>
                <a:lnTo>
                  <a:pt x="3943" y="1898"/>
                </a:lnTo>
                <a:lnTo>
                  <a:pt x="3938" y="1890"/>
                </a:lnTo>
                <a:lnTo>
                  <a:pt x="3934" y="1882"/>
                </a:lnTo>
                <a:close/>
                <a:moveTo>
                  <a:pt x="4370" y="1954"/>
                </a:moveTo>
                <a:lnTo>
                  <a:pt x="4354" y="1954"/>
                </a:lnTo>
                <a:lnTo>
                  <a:pt x="4339" y="1950"/>
                </a:lnTo>
                <a:lnTo>
                  <a:pt x="4324" y="1944"/>
                </a:lnTo>
                <a:lnTo>
                  <a:pt x="4317" y="1940"/>
                </a:lnTo>
                <a:lnTo>
                  <a:pt x="4310" y="1936"/>
                </a:lnTo>
                <a:lnTo>
                  <a:pt x="4298" y="1928"/>
                </a:lnTo>
                <a:lnTo>
                  <a:pt x="4292" y="1922"/>
                </a:lnTo>
                <a:lnTo>
                  <a:pt x="4287" y="1916"/>
                </a:lnTo>
                <a:lnTo>
                  <a:pt x="4277" y="1902"/>
                </a:lnTo>
                <a:lnTo>
                  <a:pt x="4273" y="1896"/>
                </a:lnTo>
                <a:lnTo>
                  <a:pt x="4268" y="1888"/>
                </a:lnTo>
                <a:lnTo>
                  <a:pt x="4264" y="1880"/>
                </a:lnTo>
                <a:lnTo>
                  <a:pt x="4261" y="1872"/>
                </a:lnTo>
                <a:lnTo>
                  <a:pt x="4257" y="1864"/>
                </a:lnTo>
                <a:lnTo>
                  <a:pt x="4254" y="1854"/>
                </a:lnTo>
                <a:lnTo>
                  <a:pt x="4248" y="1834"/>
                </a:lnTo>
                <a:lnTo>
                  <a:pt x="4244" y="1814"/>
                </a:lnTo>
                <a:lnTo>
                  <a:pt x="4242" y="1804"/>
                </a:lnTo>
                <a:lnTo>
                  <a:pt x="4240" y="1792"/>
                </a:lnTo>
                <a:lnTo>
                  <a:pt x="4237" y="1770"/>
                </a:lnTo>
                <a:lnTo>
                  <a:pt x="4236" y="1746"/>
                </a:lnTo>
                <a:lnTo>
                  <a:pt x="4235" y="1732"/>
                </a:lnTo>
                <a:lnTo>
                  <a:pt x="4235" y="1720"/>
                </a:lnTo>
                <a:lnTo>
                  <a:pt x="4298" y="1693"/>
                </a:lnTo>
                <a:lnTo>
                  <a:pt x="4298" y="1714"/>
                </a:lnTo>
                <a:lnTo>
                  <a:pt x="4299" y="1734"/>
                </a:lnTo>
                <a:lnTo>
                  <a:pt x="4301" y="1750"/>
                </a:lnTo>
                <a:lnTo>
                  <a:pt x="4303" y="1766"/>
                </a:lnTo>
                <a:lnTo>
                  <a:pt x="4305" y="1774"/>
                </a:lnTo>
                <a:lnTo>
                  <a:pt x="4306" y="1782"/>
                </a:lnTo>
                <a:lnTo>
                  <a:pt x="4310" y="1794"/>
                </a:lnTo>
                <a:lnTo>
                  <a:pt x="4314" y="1804"/>
                </a:lnTo>
                <a:lnTo>
                  <a:pt x="4318" y="1814"/>
                </a:lnTo>
                <a:lnTo>
                  <a:pt x="4324" y="1824"/>
                </a:lnTo>
                <a:lnTo>
                  <a:pt x="4330" y="1830"/>
                </a:lnTo>
                <a:lnTo>
                  <a:pt x="4336" y="1836"/>
                </a:lnTo>
                <a:lnTo>
                  <a:pt x="4343" y="1840"/>
                </a:lnTo>
                <a:lnTo>
                  <a:pt x="4350" y="1844"/>
                </a:lnTo>
                <a:lnTo>
                  <a:pt x="4357" y="1846"/>
                </a:lnTo>
                <a:lnTo>
                  <a:pt x="4365" y="1848"/>
                </a:lnTo>
                <a:lnTo>
                  <a:pt x="4374" y="1848"/>
                </a:lnTo>
                <a:lnTo>
                  <a:pt x="4381" y="1848"/>
                </a:lnTo>
                <a:lnTo>
                  <a:pt x="4388" y="1846"/>
                </a:lnTo>
                <a:lnTo>
                  <a:pt x="4395" y="1844"/>
                </a:lnTo>
                <a:lnTo>
                  <a:pt x="4401" y="1842"/>
                </a:lnTo>
                <a:lnTo>
                  <a:pt x="4407" y="1838"/>
                </a:lnTo>
                <a:lnTo>
                  <a:pt x="4413" y="1832"/>
                </a:lnTo>
                <a:lnTo>
                  <a:pt x="4418" y="1826"/>
                </a:lnTo>
                <a:lnTo>
                  <a:pt x="4423" y="1820"/>
                </a:lnTo>
                <a:lnTo>
                  <a:pt x="4427" y="1812"/>
                </a:lnTo>
                <a:lnTo>
                  <a:pt x="4431" y="1804"/>
                </a:lnTo>
                <a:lnTo>
                  <a:pt x="4434" y="1796"/>
                </a:lnTo>
                <a:lnTo>
                  <a:pt x="4437" y="1786"/>
                </a:lnTo>
                <a:lnTo>
                  <a:pt x="4439" y="1774"/>
                </a:lnTo>
                <a:lnTo>
                  <a:pt x="4440" y="1770"/>
                </a:lnTo>
                <a:lnTo>
                  <a:pt x="4441" y="1764"/>
                </a:lnTo>
                <a:lnTo>
                  <a:pt x="4442" y="1752"/>
                </a:lnTo>
                <a:lnTo>
                  <a:pt x="4442" y="1738"/>
                </a:lnTo>
                <a:lnTo>
                  <a:pt x="4442" y="1728"/>
                </a:lnTo>
                <a:lnTo>
                  <a:pt x="4442" y="1718"/>
                </a:lnTo>
                <a:lnTo>
                  <a:pt x="4441" y="1711"/>
                </a:lnTo>
                <a:lnTo>
                  <a:pt x="4439" y="1701"/>
                </a:lnTo>
                <a:lnTo>
                  <a:pt x="4437" y="1693"/>
                </a:lnTo>
                <a:lnTo>
                  <a:pt x="4435" y="1685"/>
                </a:lnTo>
                <a:lnTo>
                  <a:pt x="4433" y="1677"/>
                </a:lnTo>
                <a:lnTo>
                  <a:pt x="4430" y="1669"/>
                </a:lnTo>
                <a:lnTo>
                  <a:pt x="4422" y="1653"/>
                </a:lnTo>
                <a:lnTo>
                  <a:pt x="4418" y="1645"/>
                </a:lnTo>
                <a:lnTo>
                  <a:pt x="4413" y="1639"/>
                </a:lnTo>
                <a:lnTo>
                  <a:pt x="4402" y="1625"/>
                </a:lnTo>
                <a:lnTo>
                  <a:pt x="4389" y="1613"/>
                </a:lnTo>
                <a:lnTo>
                  <a:pt x="4325" y="1555"/>
                </a:lnTo>
                <a:lnTo>
                  <a:pt x="4315" y="1547"/>
                </a:lnTo>
                <a:lnTo>
                  <a:pt x="4305" y="1537"/>
                </a:lnTo>
                <a:lnTo>
                  <a:pt x="4289" y="1517"/>
                </a:lnTo>
                <a:lnTo>
                  <a:pt x="4275" y="1497"/>
                </a:lnTo>
                <a:lnTo>
                  <a:pt x="4270" y="1485"/>
                </a:lnTo>
                <a:lnTo>
                  <a:pt x="4264" y="1473"/>
                </a:lnTo>
                <a:lnTo>
                  <a:pt x="4260" y="1461"/>
                </a:lnTo>
                <a:lnTo>
                  <a:pt x="4255" y="1447"/>
                </a:lnTo>
                <a:lnTo>
                  <a:pt x="4252" y="1433"/>
                </a:lnTo>
                <a:lnTo>
                  <a:pt x="4249" y="1417"/>
                </a:lnTo>
                <a:lnTo>
                  <a:pt x="4247" y="1401"/>
                </a:lnTo>
                <a:lnTo>
                  <a:pt x="4246" y="1393"/>
                </a:lnTo>
                <a:lnTo>
                  <a:pt x="4245" y="1385"/>
                </a:lnTo>
                <a:lnTo>
                  <a:pt x="4244" y="1367"/>
                </a:lnTo>
                <a:lnTo>
                  <a:pt x="4244" y="1347"/>
                </a:lnTo>
                <a:lnTo>
                  <a:pt x="4244" y="1335"/>
                </a:lnTo>
                <a:lnTo>
                  <a:pt x="4245" y="1323"/>
                </a:lnTo>
                <a:lnTo>
                  <a:pt x="4246" y="1311"/>
                </a:lnTo>
                <a:lnTo>
                  <a:pt x="4247" y="1299"/>
                </a:lnTo>
                <a:lnTo>
                  <a:pt x="4248" y="1289"/>
                </a:lnTo>
                <a:lnTo>
                  <a:pt x="4250" y="1279"/>
                </a:lnTo>
                <a:lnTo>
                  <a:pt x="4254" y="1259"/>
                </a:lnTo>
                <a:lnTo>
                  <a:pt x="4257" y="1249"/>
                </a:lnTo>
                <a:lnTo>
                  <a:pt x="4260" y="1241"/>
                </a:lnTo>
                <a:lnTo>
                  <a:pt x="4266" y="1225"/>
                </a:lnTo>
                <a:lnTo>
                  <a:pt x="4273" y="1210"/>
                </a:lnTo>
                <a:lnTo>
                  <a:pt x="4277" y="1204"/>
                </a:lnTo>
                <a:lnTo>
                  <a:pt x="4282" y="1198"/>
                </a:lnTo>
                <a:lnTo>
                  <a:pt x="4291" y="1186"/>
                </a:lnTo>
                <a:lnTo>
                  <a:pt x="4301" y="1176"/>
                </a:lnTo>
                <a:lnTo>
                  <a:pt x="4311" y="1166"/>
                </a:lnTo>
                <a:lnTo>
                  <a:pt x="4323" y="1160"/>
                </a:lnTo>
                <a:lnTo>
                  <a:pt x="4335" y="1154"/>
                </a:lnTo>
                <a:lnTo>
                  <a:pt x="4347" y="1150"/>
                </a:lnTo>
                <a:lnTo>
                  <a:pt x="4360" y="1148"/>
                </a:lnTo>
                <a:lnTo>
                  <a:pt x="4373" y="1148"/>
                </a:lnTo>
                <a:lnTo>
                  <a:pt x="4388" y="1150"/>
                </a:lnTo>
                <a:lnTo>
                  <a:pt x="4403" y="1152"/>
                </a:lnTo>
                <a:lnTo>
                  <a:pt x="4416" y="1158"/>
                </a:lnTo>
                <a:lnTo>
                  <a:pt x="4422" y="1162"/>
                </a:lnTo>
                <a:lnTo>
                  <a:pt x="4428" y="1166"/>
                </a:lnTo>
                <a:lnTo>
                  <a:pt x="4440" y="1174"/>
                </a:lnTo>
                <a:lnTo>
                  <a:pt x="4450" y="1186"/>
                </a:lnTo>
                <a:lnTo>
                  <a:pt x="4459" y="1198"/>
                </a:lnTo>
                <a:lnTo>
                  <a:pt x="4467" y="1212"/>
                </a:lnTo>
                <a:lnTo>
                  <a:pt x="4471" y="1218"/>
                </a:lnTo>
                <a:lnTo>
                  <a:pt x="4474" y="1225"/>
                </a:lnTo>
                <a:lnTo>
                  <a:pt x="4477" y="1233"/>
                </a:lnTo>
                <a:lnTo>
                  <a:pt x="4480" y="1241"/>
                </a:lnTo>
                <a:lnTo>
                  <a:pt x="4485" y="1259"/>
                </a:lnTo>
                <a:lnTo>
                  <a:pt x="4490" y="1275"/>
                </a:lnTo>
                <a:lnTo>
                  <a:pt x="4493" y="1293"/>
                </a:lnTo>
                <a:lnTo>
                  <a:pt x="4495" y="1313"/>
                </a:lnTo>
                <a:lnTo>
                  <a:pt x="4497" y="1331"/>
                </a:lnTo>
                <a:lnTo>
                  <a:pt x="4497" y="1349"/>
                </a:lnTo>
                <a:lnTo>
                  <a:pt x="4435" y="1375"/>
                </a:lnTo>
                <a:lnTo>
                  <a:pt x="4435" y="1359"/>
                </a:lnTo>
                <a:lnTo>
                  <a:pt x="4433" y="1345"/>
                </a:lnTo>
                <a:lnTo>
                  <a:pt x="4432" y="1331"/>
                </a:lnTo>
                <a:lnTo>
                  <a:pt x="4430" y="1319"/>
                </a:lnTo>
                <a:lnTo>
                  <a:pt x="4427" y="1309"/>
                </a:lnTo>
                <a:lnTo>
                  <a:pt x="4426" y="1303"/>
                </a:lnTo>
                <a:lnTo>
                  <a:pt x="4424" y="1299"/>
                </a:lnTo>
                <a:lnTo>
                  <a:pt x="4421" y="1289"/>
                </a:lnTo>
                <a:lnTo>
                  <a:pt x="4417" y="1281"/>
                </a:lnTo>
                <a:lnTo>
                  <a:pt x="4413" y="1275"/>
                </a:lnTo>
                <a:lnTo>
                  <a:pt x="4408" y="1269"/>
                </a:lnTo>
                <a:lnTo>
                  <a:pt x="4403" y="1265"/>
                </a:lnTo>
                <a:lnTo>
                  <a:pt x="4397" y="1261"/>
                </a:lnTo>
                <a:lnTo>
                  <a:pt x="4391" y="1257"/>
                </a:lnTo>
                <a:lnTo>
                  <a:pt x="4385" y="1255"/>
                </a:lnTo>
                <a:lnTo>
                  <a:pt x="4378" y="1255"/>
                </a:lnTo>
                <a:lnTo>
                  <a:pt x="4370" y="1253"/>
                </a:lnTo>
                <a:lnTo>
                  <a:pt x="4358" y="1255"/>
                </a:lnTo>
                <a:lnTo>
                  <a:pt x="4346" y="1259"/>
                </a:lnTo>
                <a:lnTo>
                  <a:pt x="4341" y="1263"/>
                </a:lnTo>
                <a:lnTo>
                  <a:pt x="4336" y="1267"/>
                </a:lnTo>
                <a:lnTo>
                  <a:pt x="4331" y="1271"/>
                </a:lnTo>
                <a:lnTo>
                  <a:pt x="4327" y="1275"/>
                </a:lnTo>
                <a:lnTo>
                  <a:pt x="4323" y="1281"/>
                </a:lnTo>
                <a:lnTo>
                  <a:pt x="4319" y="1287"/>
                </a:lnTo>
                <a:lnTo>
                  <a:pt x="4316" y="1295"/>
                </a:lnTo>
                <a:lnTo>
                  <a:pt x="4313" y="1303"/>
                </a:lnTo>
                <a:lnTo>
                  <a:pt x="4311" y="1311"/>
                </a:lnTo>
                <a:lnTo>
                  <a:pt x="4310" y="1321"/>
                </a:lnTo>
                <a:lnTo>
                  <a:pt x="4309" y="1331"/>
                </a:lnTo>
                <a:lnTo>
                  <a:pt x="4308" y="1341"/>
                </a:lnTo>
                <a:lnTo>
                  <a:pt x="4309" y="1351"/>
                </a:lnTo>
                <a:lnTo>
                  <a:pt x="4309" y="1361"/>
                </a:lnTo>
                <a:lnTo>
                  <a:pt x="4310" y="1371"/>
                </a:lnTo>
                <a:lnTo>
                  <a:pt x="4311" y="1379"/>
                </a:lnTo>
                <a:lnTo>
                  <a:pt x="4313" y="1387"/>
                </a:lnTo>
                <a:lnTo>
                  <a:pt x="4315" y="1395"/>
                </a:lnTo>
                <a:lnTo>
                  <a:pt x="4318" y="1403"/>
                </a:lnTo>
                <a:lnTo>
                  <a:pt x="4321" y="1409"/>
                </a:lnTo>
                <a:lnTo>
                  <a:pt x="4325" y="1415"/>
                </a:lnTo>
                <a:lnTo>
                  <a:pt x="4328" y="1421"/>
                </a:lnTo>
                <a:lnTo>
                  <a:pt x="4337" y="1433"/>
                </a:lnTo>
                <a:lnTo>
                  <a:pt x="4347" y="1445"/>
                </a:lnTo>
                <a:lnTo>
                  <a:pt x="4359" y="1457"/>
                </a:lnTo>
                <a:lnTo>
                  <a:pt x="4421" y="1511"/>
                </a:lnTo>
                <a:lnTo>
                  <a:pt x="4431" y="1521"/>
                </a:lnTo>
                <a:lnTo>
                  <a:pt x="4442" y="1531"/>
                </a:lnTo>
                <a:lnTo>
                  <a:pt x="4451" y="1541"/>
                </a:lnTo>
                <a:lnTo>
                  <a:pt x="4459" y="1553"/>
                </a:lnTo>
                <a:lnTo>
                  <a:pt x="4467" y="1565"/>
                </a:lnTo>
                <a:lnTo>
                  <a:pt x="4474" y="1575"/>
                </a:lnTo>
                <a:lnTo>
                  <a:pt x="4480" y="1589"/>
                </a:lnTo>
                <a:lnTo>
                  <a:pt x="4486" y="1601"/>
                </a:lnTo>
                <a:lnTo>
                  <a:pt x="4491" y="1615"/>
                </a:lnTo>
                <a:lnTo>
                  <a:pt x="4495" y="1629"/>
                </a:lnTo>
                <a:lnTo>
                  <a:pt x="4499" y="1643"/>
                </a:lnTo>
                <a:lnTo>
                  <a:pt x="4502" y="1659"/>
                </a:lnTo>
                <a:lnTo>
                  <a:pt x="4504" y="1675"/>
                </a:lnTo>
                <a:lnTo>
                  <a:pt x="4505" y="1685"/>
                </a:lnTo>
                <a:lnTo>
                  <a:pt x="4505" y="1693"/>
                </a:lnTo>
                <a:lnTo>
                  <a:pt x="4506" y="1711"/>
                </a:lnTo>
                <a:lnTo>
                  <a:pt x="4507" y="1730"/>
                </a:lnTo>
                <a:lnTo>
                  <a:pt x="4506" y="1756"/>
                </a:lnTo>
                <a:lnTo>
                  <a:pt x="4504" y="1780"/>
                </a:lnTo>
                <a:lnTo>
                  <a:pt x="4503" y="1792"/>
                </a:lnTo>
                <a:lnTo>
                  <a:pt x="4501" y="1802"/>
                </a:lnTo>
                <a:lnTo>
                  <a:pt x="4499" y="1814"/>
                </a:lnTo>
                <a:lnTo>
                  <a:pt x="4497" y="1824"/>
                </a:lnTo>
                <a:lnTo>
                  <a:pt x="4494" y="1834"/>
                </a:lnTo>
                <a:lnTo>
                  <a:pt x="4492" y="1844"/>
                </a:lnTo>
                <a:lnTo>
                  <a:pt x="4485" y="1862"/>
                </a:lnTo>
                <a:lnTo>
                  <a:pt x="4482" y="1870"/>
                </a:lnTo>
                <a:lnTo>
                  <a:pt x="4478" y="1880"/>
                </a:lnTo>
                <a:lnTo>
                  <a:pt x="4470" y="1894"/>
                </a:lnTo>
                <a:lnTo>
                  <a:pt x="4465" y="1902"/>
                </a:lnTo>
                <a:lnTo>
                  <a:pt x="4460" y="1908"/>
                </a:lnTo>
                <a:lnTo>
                  <a:pt x="4455" y="1914"/>
                </a:lnTo>
                <a:lnTo>
                  <a:pt x="4450" y="1920"/>
                </a:lnTo>
                <a:lnTo>
                  <a:pt x="4439" y="1930"/>
                </a:lnTo>
                <a:lnTo>
                  <a:pt x="4427" y="1938"/>
                </a:lnTo>
                <a:lnTo>
                  <a:pt x="4414" y="1946"/>
                </a:lnTo>
                <a:lnTo>
                  <a:pt x="4400" y="1950"/>
                </a:lnTo>
                <a:lnTo>
                  <a:pt x="4393" y="1952"/>
                </a:lnTo>
                <a:lnTo>
                  <a:pt x="4386" y="1952"/>
                </a:lnTo>
                <a:lnTo>
                  <a:pt x="4370" y="19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81692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6924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oitusdia 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89437-0A9F-6907-E834-ECE3DB6251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1700" cy="2304529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BA9B7E5-3139-76AA-C2C3-60620F1D9B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4509120"/>
            <a:ext cx="9791700" cy="864096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98F4D-E89B-8263-EB37-8F8B305D4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49D97704-E287-423D-8083-7C61008EE172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B5C31-D7B7-0A4A-9FF1-A8910751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9B765-A518-625F-2D82-59131FF13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CD5646D-347F-0693-85B7-82EEFAEE1F7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07368" y="333375"/>
            <a:ext cx="2325003" cy="504000"/>
          </a:xfrm>
          <a:custGeom>
            <a:avLst/>
            <a:gdLst>
              <a:gd name="T0" fmla="*/ 11 w 4507"/>
              <a:gd name="T1" fmla="*/ 18 h 1954"/>
              <a:gd name="T2" fmla="*/ 659 w 4507"/>
              <a:gd name="T3" fmla="*/ 297 h 1954"/>
              <a:gd name="T4" fmla="*/ 666 w 4507"/>
              <a:gd name="T5" fmla="*/ 916 h 1954"/>
              <a:gd name="T6" fmla="*/ 347 w 4507"/>
              <a:gd name="T7" fmla="*/ 880 h 1954"/>
              <a:gd name="T8" fmla="*/ 471 w 4507"/>
              <a:gd name="T9" fmla="*/ 675 h 1954"/>
              <a:gd name="T10" fmla="*/ 375 w 4507"/>
              <a:gd name="T11" fmla="*/ 401 h 1954"/>
              <a:gd name="T12" fmla="*/ 1722 w 4507"/>
              <a:gd name="T13" fmla="*/ 26 h 1954"/>
              <a:gd name="T14" fmla="*/ 1804 w 4507"/>
              <a:gd name="T15" fmla="*/ 309 h 1954"/>
              <a:gd name="T16" fmla="*/ 1741 w 4507"/>
              <a:gd name="T17" fmla="*/ 269 h 1954"/>
              <a:gd name="T18" fmla="*/ 1854 w 4507"/>
              <a:gd name="T19" fmla="*/ 788 h 1954"/>
              <a:gd name="T20" fmla="*/ 2410 w 4507"/>
              <a:gd name="T21" fmla="*/ 18 h 1954"/>
              <a:gd name="T22" fmla="*/ 3053 w 4507"/>
              <a:gd name="T23" fmla="*/ 553 h 1954"/>
              <a:gd name="T24" fmla="*/ 3419 w 4507"/>
              <a:gd name="T25" fmla="*/ 539 h 1954"/>
              <a:gd name="T26" fmla="*/ 3595 w 4507"/>
              <a:gd name="T27" fmla="*/ 659 h 1954"/>
              <a:gd name="T28" fmla="*/ 3699 w 4507"/>
              <a:gd name="T29" fmla="*/ 697 h 1954"/>
              <a:gd name="T30" fmla="*/ 3842 w 4507"/>
              <a:gd name="T31" fmla="*/ 595 h 1954"/>
              <a:gd name="T32" fmla="*/ 3700 w 4507"/>
              <a:gd name="T33" fmla="*/ 806 h 1954"/>
              <a:gd name="T34" fmla="*/ 3943 w 4507"/>
              <a:gd name="T35" fmla="*/ 725 h 1954"/>
              <a:gd name="T36" fmla="*/ 4018 w 4507"/>
              <a:gd name="T37" fmla="*/ 689 h 1954"/>
              <a:gd name="T38" fmla="*/ 4124 w 4507"/>
              <a:gd name="T39" fmla="*/ 581 h 1954"/>
              <a:gd name="T40" fmla="*/ 3931 w 4507"/>
              <a:gd name="T41" fmla="*/ 269 h 1954"/>
              <a:gd name="T42" fmla="*/ 4017 w 4507"/>
              <a:gd name="T43" fmla="*/ 6 h 1954"/>
              <a:gd name="T44" fmla="*/ 4117 w 4507"/>
              <a:gd name="T45" fmla="*/ 228 h 1954"/>
              <a:gd name="T46" fmla="*/ 4005 w 4507"/>
              <a:gd name="T47" fmla="*/ 134 h 1954"/>
              <a:gd name="T48" fmla="*/ 4123 w 4507"/>
              <a:gd name="T49" fmla="*/ 383 h 1954"/>
              <a:gd name="T50" fmla="*/ 4174 w 4507"/>
              <a:gd name="T51" fmla="*/ 697 h 1954"/>
              <a:gd name="T52" fmla="*/ 1767 w 4507"/>
              <a:gd name="T53" fmla="*/ 1273 h 1954"/>
              <a:gd name="T54" fmla="*/ 2197 w 4507"/>
              <a:gd name="T55" fmla="*/ 1926 h 1954"/>
              <a:gd name="T56" fmla="*/ 2114 w 4507"/>
              <a:gd name="T57" fmla="*/ 1551 h 1954"/>
              <a:gd name="T58" fmla="*/ 2226 w 4507"/>
              <a:gd name="T59" fmla="*/ 1156 h 1954"/>
              <a:gd name="T60" fmla="*/ 2385 w 4507"/>
              <a:gd name="T61" fmla="*/ 1313 h 1954"/>
              <a:gd name="T62" fmla="*/ 2373 w 4507"/>
              <a:gd name="T63" fmla="*/ 1834 h 1954"/>
              <a:gd name="T64" fmla="*/ 2227 w 4507"/>
              <a:gd name="T65" fmla="*/ 1271 h 1954"/>
              <a:gd name="T66" fmla="*/ 2192 w 4507"/>
              <a:gd name="T67" fmla="*/ 1738 h 1954"/>
              <a:gd name="T68" fmla="*/ 2323 w 4507"/>
              <a:gd name="T69" fmla="*/ 1760 h 1954"/>
              <a:gd name="T70" fmla="*/ 2273 w 4507"/>
              <a:gd name="T71" fmla="*/ 1259 h 1954"/>
              <a:gd name="T72" fmla="*/ 3321 w 4507"/>
              <a:gd name="T73" fmla="*/ 1954 h 1954"/>
              <a:gd name="T74" fmla="*/ 3265 w 4507"/>
              <a:gd name="T75" fmla="*/ 1693 h 1954"/>
              <a:gd name="T76" fmla="*/ 3380 w 4507"/>
              <a:gd name="T77" fmla="*/ 1832 h 1954"/>
              <a:gd name="T78" fmla="*/ 3369 w 4507"/>
              <a:gd name="T79" fmla="*/ 1625 h 1954"/>
              <a:gd name="T80" fmla="*/ 3218 w 4507"/>
              <a:gd name="T81" fmla="*/ 1279 h 1954"/>
              <a:gd name="T82" fmla="*/ 3426 w 4507"/>
              <a:gd name="T83" fmla="*/ 1198 h 1954"/>
              <a:gd name="T84" fmla="*/ 3370 w 4507"/>
              <a:gd name="T85" fmla="*/ 1265 h 1954"/>
              <a:gd name="T86" fmla="*/ 3279 w 4507"/>
              <a:gd name="T87" fmla="*/ 1379 h 1954"/>
              <a:gd name="T88" fmla="*/ 3471 w 4507"/>
              <a:gd name="T89" fmla="*/ 1675 h 1954"/>
              <a:gd name="T90" fmla="*/ 3381 w 4507"/>
              <a:gd name="T91" fmla="*/ 1946 h 1954"/>
              <a:gd name="T92" fmla="*/ 3620 w 4507"/>
              <a:gd name="T93" fmla="*/ 1772 h 1954"/>
              <a:gd name="T94" fmla="*/ 3736 w 4507"/>
              <a:gd name="T95" fmla="*/ 1772 h 1954"/>
              <a:gd name="T96" fmla="*/ 3756 w 4507"/>
              <a:gd name="T97" fmla="*/ 1914 h 1954"/>
              <a:gd name="T98" fmla="*/ 3915 w 4507"/>
              <a:gd name="T99" fmla="*/ 1828 h 1954"/>
              <a:gd name="T100" fmla="*/ 4005 w 4507"/>
              <a:gd name="T101" fmla="*/ 1838 h 1954"/>
              <a:gd name="T102" fmla="*/ 4160 w 4507"/>
              <a:gd name="T103" fmla="*/ 1697 h 1954"/>
              <a:gd name="T104" fmla="*/ 4039 w 4507"/>
              <a:gd name="T105" fmla="*/ 1954 h 1954"/>
              <a:gd name="T106" fmla="*/ 4268 w 4507"/>
              <a:gd name="T107" fmla="*/ 1888 h 1954"/>
              <a:gd name="T108" fmla="*/ 4324 w 4507"/>
              <a:gd name="T109" fmla="*/ 1824 h 1954"/>
              <a:gd name="T110" fmla="*/ 4442 w 4507"/>
              <a:gd name="T111" fmla="*/ 1752 h 1954"/>
              <a:gd name="T112" fmla="*/ 4255 w 4507"/>
              <a:gd name="T113" fmla="*/ 1447 h 1954"/>
              <a:gd name="T114" fmla="*/ 4311 w 4507"/>
              <a:gd name="T115" fmla="*/ 1166 h 1954"/>
              <a:gd name="T116" fmla="*/ 4497 w 4507"/>
              <a:gd name="T117" fmla="*/ 1331 h 1954"/>
              <a:gd name="T118" fmla="*/ 4336 w 4507"/>
              <a:gd name="T119" fmla="*/ 1267 h 1954"/>
              <a:gd name="T120" fmla="*/ 4359 w 4507"/>
              <a:gd name="T121" fmla="*/ 1457 h 1954"/>
              <a:gd name="T122" fmla="*/ 4499 w 4507"/>
              <a:gd name="T123" fmla="*/ 1814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507" h="1954">
                <a:moveTo>
                  <a:pt x="4307" y="327"/>
                </a:moveTo>
                <a:lnTo>
                  <a:pt x="4377" y="327"/>
                </a:lnTo>
                <a:lnTo>
                  <a:pt x="4377" y="463"/>
                </a:lnTo>
                <a:lnTo>
                  <a:pt x="4307" y="463"/>
                </a:lnTo>
                <a:lnTo>
                  <a:pt x="4307" y="327"/>
                </a:lnTo>
                <a:close/>
                <a:moveTo>
                  <a:pt x="1248" y="18"/>
                </a:moveTo>
                <a:lnTo>
                  <a:pt x="1248" y="473"/>
                </a:lnTo>
                <a:lnTo>
                  <a:pt x="1051" y="473"/>
                </a:lnTo>
                <a:lnTo>
                  <a:pt x="1051" y="1936"/>
                </a:lnTo>
                <a:lnTo>
                  <a:pt x="821" y="1936"/>
                </a:lnTo>
                <a:lnTo>
                  <a:pt x="821" y="473"/>
                </a:lnTo>
                <a:lnTo>
                  <a:pt x="655" y="18"/>
                </a:lnTo>
                <a:lnTo>
                  <a:pt x="1248" y="18"/>
                </a:lnTo>
                <a:close/>
                <a:moveTo>
                  <a:pt x="0" y="1481"/>
                </a:moveTo>
                <a:lnTo>
                  <a:pt x="230" y="1481"/>
                </a:lnTo>
                <a:lnTo>
                  <a:pt x="230" y="1936"/>
                </a:lnTo>
                <a:lnTo>
                  <a:pt x="0" y="1936"/>
                </a:lnTo>
                <a:lnTo>
                  <a:pt x="0" y="1481"/>
                </a:lnTo>
                <a:close/>
                <a:moveTo>
                  <a:pt x="487" y="1186"/>
                </a:moveTo>
                <a:lnTo>
                  <a:pt x="752" y="1936"/>
                </a:lnTo>
                <a:lnTo>
                  <a:pt x="495" y="1936"/>
                </a:lnTo>
                <a:lnTo>
                  <a:pt x="11" y="559"/>
                </a:lnTo>
                <a:lnTo>
                  <a:pt x="11" y="18"/>
                </a:lnTo>
                <a:lnTo>
                  <a:pt x="309" y="18"/>
                </a:lnTo>
                <a:lnTo>
                  <a:pt x="335" y="18"/>
                </a:lnTo>
                <a:lnTo>
                  <a:pt x="359" y="20"/>
                </a:lnTo>
                <a:lnTo>
                  <a:pt x="382" y="24"/>
                </a:lnTo>
                <a:lnTo>
                  <a:pt x="404" y="30"/>
                </a:lnTo>
                <a:lnTo>
                  <a:pt x="426" y="36"/>
                </a:lnTo>
                <a:lnTo>
                  <a:pt x="447" y="44"/>
                </a:lnTo>
                <a:lnTo>
                  <a:pt x="467" y="52"/>
                </a:lnTo>
                <a:lnTo>
                  <a:pt x="476" y="58"/>
                </a:lnTo>
                <a:lnTo>
                  <a:pt x="486" y="62"/>
                </a:lnTo>
                <a:lnTo>
                  <a:pt x="504" y="74"/>
                </a:lnTo>
                <a:lnTo>
                  <a:pt x="521" y="88"/>
                </a:lnTo>
                <a:lnTo>
                  <a:pt x="538" y="102"/>
                </a:lnTo>
                <a:lnTo>
                  <a:pt x="553" y="116"/>
                </a:lnTo>
                <a:lnTo>
                  <a:pt x="569" y="132"/>
                </a:lnTo>
                <a:lnTo>
                  <a:pt x="583" y="150"/>
                </a:lnTo>
                <a:lnTo>
                  <a:pt x="596" y="168"/>
                </a:lnTo>
                <a:lnTo>
                  <a:pt x="609" y="188"/>
                </a:lnTo>
                <a:lnTo>
                  <a:pt x="620" y="208"/>
                </a:lnTo>
                <a:lnTo>
                  <a:pt x="631" y="230"/>
                </a:lnTo>
                <a:lnTo>
                  <a:pt x="641" y="251"/>
                </a:lnTo>
                <a:lnTo>
                  <a:pt x="650" y="273"/>
                </a:lnTo>
                <a:lnTo>
                  <a:pt x="659" y="297"/>
                </a:lnTo>
                <a:lnTo>
                  <a:pt x="666" y="323"/>
                </a:lnTo>
                <a:lnTo>
                  <a:pt x="673" y="349"/>
                </a:lnTo>
                <a:lnTo>
                  <a:pt x="680" y="375"/>
                </a:lnTo>
                <a:lnTo>
                  <a:pt x="685" y="401"/>
                </a:lnTo>
                <a:lnTo>
                  <a:pt x="690" y="429"/>
                </a:lnTo>
                <a:lnTo>
                  <a:pt x="694" y="459"/>
                </a:lnTo>
                <a:lnTo>
                  <a:pt x="697" y="487"/>
                </a:lnTo>
                <a:lnTo>
                  <a:pt x="699" y="517"/>
                </a:lnTo>
                <a:lnTo>
                  <a:pt x="701" y="547"/>
                </a:lnTo>
                <a:lnTo>
                  <a:pt x="702" y="579"/>
                </a:lnTo>
                <a:lnTo>
                  <a:pt x="703" y="611"/>
                </a:lnTo>
                <a:lnTo>
                  <a:pt x="702" y="661"/>
                </a:lnTo>
                <a:lnTo>
                  <a:pt x="701" y="687"/>
                </a:lnTo>
                <a:lnTo>
                  <a:pt x="699" y="711"/>
                </a:lnTo>
                <a:lnTo>
                  <a:pt x="697" y="735"/>
                </a:lnTo>
                <a:lnTo>
                  <a:pt x="695" y="758"/>
                </a:lnTo>
                <a:lnTo>
                  <a:pt x="692" y="782"/>
                </a:lnTo>
                <a:lnTo>
                  <a:pt x="689" y="806"/>
                </a:lnTo>
                <a:lnTo>
                  <a:pt x="685" y="830"/>
                </a:lnTo>
                <a:lnTo>
                  <a:pt x="681" y="852"/>
                </a:lnTo>
                <a:lnTo>
                  <a:pt x="677" y="874"/>
                </a:lnTo>
                <a:lnTo>
                  <a:pt x="672" y="896"/>
                </a:lnTo>
                <a:lnTo>
                  <a:pt x="666" y="916"/>
                </a:lnTo>
                <a:lnTo>
                  <a:pt x="661" y="938"/>
                </a:lnTo>
                <a:lnTo>
                  <a:pt x="655" y="958"/>
                </a:lnTo>
                <a:lnTo>
                  <a:pt x="648" y="976"/>
                </a:lnTo>
                <a:lnTo>
                  <a:pt x="641" y="996"/>
                </a:lnTo>
                <a:lnTo>
                  <a:pt x="634" y="1014"/>
                </a:lnTo>
                <a:lnTo>
                  <a:pt x="626" y="1030"/>
                </a:lnTo>
                <a:lnTo>
                  <a:pt x="618" y="1048"/>
                </a:lnTo>
                <a:lnTo>
                  <a:pt x="609" y="1064"/>
                </a:lnTo>
                <a:lnTo>
                  <a:pt x="600" y="1080"/>
                </a:lnTo>
                <a:lnTo>
                  <a:pt x="591" y="1094"/>
                </a:lnTo>
                <a:lnTo>
                  <a:pt x="581" y="1108"/>
                </a:lnTo>
                <a:lnTo>
                  <a:pt x="571" y="1120"/>
                </a:lnTo>
                <a:lnTo>
                  <a:pt x="559" y="1132"/>
                </a:lnTo>
                <a:lnTo>
                  <a:pt x="548" y="1144"/>
                </a:lnTo>
                <a:lnTo>
                  <a:pt x="537" y="1154"/>
                </a:lnTo>
                <a:lnTo>
                  <a:pt x="525" y="1164"/>
                </a:lnTo>
                <a:lnTo>
                  <a:pt x="513" y="1172"/>
                </a:lnTo>
                <a:lnTo>
                  <a:pt x="500" y="1180"/>
                </a:lnTo>
                <a:lnTo>
                  <a:pt x="487" y="1186"/>
                </a:lnTo>
                <a:close/>
                <a:moveTo>
                  <a:pt x="239" y="391"/>
                </a:moveTo>
                <a:lnTo>
                  <a:pt x="239" y="880"/>
                </a:lnTo>
                <a:lnTo>
                  <a:pt x="337" y="880"/>
                </a:lnTo>
                <a:lnTo>
                  <a:pt x="347" y="880"/>
                </a:lnTo>
                <a:lnTo>
                  <a:pt x="357" y="880"/>
                </a:lnTo>
                <a:lnTo>
                  <a:pt x="367" y="878"/>
                </a:lnTo>
                <a:lnTo>
                  <a:pt x="376" y="874"/>
                </a:lnTo>
                <a:lnTo>
                  <a:pt x="384" y="872"/>
                </a:lnTo>
                <a:lnTo>
                  <a:pt x="392" y="868"/>
                </a:lnTo>
                <a:lnTo>
                  <a:pt x="400" y="862"/>
                </a:lnTo>
                <a:lnTo>
                  <a:pt x="407" y="858"/>
                </a:lnTo>
                <a:lnTo>
                  <a:pt x="413" y="852"/>
                </a:lnTo>
                <a:lnTo>
                  <a:pt x="419" y="844"/>
                </a:lnTo>
                <a:lnTo>
                  <a:pt x="425" y="838"/>
                </a:lnTo>
                <a:lnTo>
                  <a:pt x="430" y="830"/>
                </a:lnTo>
                <a:lnTo>
                  <a:pt x="435" y="822"/>
                </a:lnTo>
                <a:lnTo>
                  <a:pt x="440" y="814"/>
                </a:lnTo>
                <a:lnTo>
                  <a:pt x="444" y="806"/>
                </a:lnTo>
                <a:lnTo>
                  <a:pt x="448" y="796"/>
                </a:lnTo>
                <a:lnTo>
                  <a:pt x="451" y="788"/>
                </a:lnTo>
                <a:lnTo>
                  <a:pt x="454" y="778"/>
                </a:lnTo>
                <a:lnTo>
                  <a:pt x="457" y="768"/>
                </a:lnTo>
                <a:lnTo>
                  <a:pt x="460" y="758"/>
                </a:lnTo>
                <a:lnTo>
                  <a:pt x="464" y="738"/>
                </a:lnTo>
                <a:lnTo>
                  <a:pt x="467" y="717"/>
                </a:lnTo>
                <a:lnTo>
                  <a:pt x="470" y="697"/>
                </a:lnTo>
                <a:lnTo>
                  <a:pt x="471" y="675"/>
                </a:lnTo>
                <a:lnTo>
                  <a:pt x="472" y="655"/>
                </a:lnTo>
                <a:lnTo>
                  <a:pt x="472" y="635"/>
                </a:lnTo>
                <a:lnTo>
                  <a:pt x="472" y="615"/>
                </a:lnTo>
                <a:lnTo>
                  <a:pt x="470" y="593"/>
                </a:lnTo>
                <a:lnTo>
                  <a:pt x="468" y="573"/>
                </a:lnTo>
                <a:lnTo>
                  <a:pt x="464" y="551"/>
                </a:lnTo>
                <a:lnTo>
                  <a:pt x="462" y="541"/>
                </a:lnTo>
                <a:lnTo>
                  <a:pt x="459" y="531"/>
                </a:lnTo>
                <a:lnTo>
                  <a:pt x="457" y="521"/>
                </a:lnTo>
                <a:lnTo>
                  <a:pt x="454" y="511"/>
                </a:lnTo>
                <a:lnTo>
                  <a:pt x="447" y="491"/>
                </a:lnTo>
                <a:lnTo>
                  <a:pt x="443" y="483"/>
                </a:lnTo>
                <a:lnTo>
                  <a:pt x="439" y="473"/>
                </a:lnTo>
                <a:lnTo>
                  <a:pt x="435" y="465"/>
                </a:lnTo>
                <a:lnTo>
                  <a:pt x="430" y="457"/>
                </a:lnTo>
                <a:lnTo>
                  <a:pt x="420" y="441"/>
                </a:lnTo>
                <a:lnTo>
                  <a:pt x="414" y="433"/>
                </a:lnTo>
                <a:lnTo>
                  <a:pt x="408" y="427"/>
                </a:lnTo>
                <a:lnTo>
                  <a:pt x="402" y="421"/>
                </a:lnTo>
                <a:lnTo>
                  <a:pt x="396" y="415"/>
                </a:lnTo>
                <a:lnTo>
                  <a:pt x="389" y="409"/>
                </a:lnTo>
                <a:lnTo>
                  <a:pt x="382" y="405"/>
                </a:lnTo>
                <a:lnTo>
                  <a:pt x="375" y="401"/>
                </a:lnTo>
                <a:lnTo>
                  <a:pt x="367" y="397"/>
                </a:lnTo>
                <a:lnTo>
                  <a:pt x="359" y="395"/>
                </a:lnTo>
                <a:lnTo>
                  <a:pt x="351" y="393"/>
                </a:lnTo>
                <a:lnTo>
                  <a:pt x="333" y="391"/>
                </a:lnTo>
                <a:lnTo>
                  <a:pt x="239" y="391"/>
                </a:lnTo>
                <a:close/>
                <a:moveTo>
                  <a:pt x="1780" y="395"/>
                </a:moveTo>
                <a:lnTo>
                  <a:pt x="1776" y="403"/>
                </a:lnTo>
                <a:lnTo>
                  <a:pt x="1772" y="411"/>
                </a:lnTo>
                <a:lnTo>
                  <a:pt x="1763" y="423"/>
                </a:lnTo>
                <a:lnTo>
                  <a:pt x="1754" y="433"/>
                </a:lnTo>
                <a:lnTo>
                  <a:pt x="1743" y="443"/>
                </a:lnTo>
                <a:lnTo>
                  <a:pt x="1814" y="788"/>
                </a:lnTo>
                <a:lnTo>
                  <a:pt x="1742" y="788"/>
                </a:lnTo>
                <a:lnTo>
                  <a:pt x="1683" y="465"/>
                </a:lnTo>
                <a:lnTo>
                  <a:pt x="1607" y="465"/>
                </a:lnTo>
                <a:lnTo>
                  <a:pt x="1607" y="788"/>
                </a:lnTo>
                <a:lnTo>
                  <a:pt x="1543" y="788"/>
                </a:lnTo>
                <a:lnTo>
                  <a:pt x="1543" y="18"/>
                </a:lnTo>
                <a:lnTo>
                  <a:pt x="1681" y="18"/>
                </a:lnTo>
                <a:lnTo>
                  <a:pt x="1696" y="18"/>
                </a:lnTo>
                <a:lnTo>
                  <a:pt x="1703" y="20"/>
                </a:lnTo>
                <a:lnTo>
                  <a:pt x="1710" y="22"/>
                </a:lnTo>
                <a:lnTo>
                  <a:pt x="1722" y="26"/>
                </a:lnTo>
                <a:lnTo>
                  <a:pt x="1734" y="32"/>
                </a:lnTo>
                <a:lnTo>
                  <a:pt x="1745" y="40"/>
                </a:lnTo>
                <a:lnTo>
                  <a:pt x="1755" y="50"/>
                </a:lnTo>
                <a:lnTo>
                  <a:pt x="1765" y="62"/>
                </a:lnTo>
                <a:lnTo>
                  <a:pt x="1769" y="68"/>
                </a:lnTo>
                <a:lnTo>
                  <a:pt x="1773" y="76"/>
                </a:lnTo>
                <a:lnTo>
                  <a:pt x="1781" y="92"/>
                </a:lnTo>
                <a:lnTo>
                  <a:pt x="1788" y="108"/>
                </a:lnTo>
                <a:lnTo>
                  <a:pt x="1791" y="118"/>
                </a:lnTo>
                <a:lnTo>
                  <a:pt x="1794" y="126"/>
                </a:lnTo>
                <a:lnTo>
                  <a:pt x="1799" y="146"/>
                </a:lnTo>
                <a:lnTo>
                  <a:pt x="1803" y="168"/>
                </a:lnTo>
                <a:lnTo>
                  <a:pt x="1805" y="178"/>
                </a:lnTo>
                <a:lnTo>
                  <a:pt x="1806" y="190"/>
                </a:lnTo>
                <a:lnTo>
                  <a:pt x="1807" y="200"/>
                </a:lnTo>
                <a:lnTo>
                  <a:pt x="1808" y="212"/>
                </a:lnTo>
                <a:lnTo>
                  <a:pt x="1808" y="224"/>
                </a:lnTo>
                <a:lnTo>
                  <a:pt x="1808" y="236"/>
                </a:lnTo>
                <a:lnTo>
                  <a:pt x="1808" y="263"/>
                </a:lnTo>
                <a:lnTo>
                  <a:pt x="1807" y="275"/>
                </a:lnTo>
                <a:lnTo>
                  <a:pt x="1806" y="287"/>
                </a:lnTo>
                <a:lnTo>
                  <a:pt x="1805" y="299"/>
                </a:lnTo>
                <a:lnTo>
                  <a:pt x="1804" y="309"/>
                </a:lnTo>
                <a:lnTo>
                  <a:pt x="1801" y="331"/>
                </a:lnTo>
                <a:lnTo>
                  <a:pt x="1797" y="349"/>
                </a:lnTo>
                <a:lnTo>
                  <a:pt x="1792" y="367"/>
                </a:lnTo>
                <a:lnTo>
                  <a:pt x="1786" y="381"/>
                </a:lnTo>
                <a:lnTo>
                  <a:pt x="1780" y="395"/>
                </a:lnTo>
                <a:close/>
                <a:moveTo>
                  <a:pt x="1678" y="122"/>
                </a:moveTo>
                <a:lnTo>
                  <a:pt x="1607" y="122"/>
                </a:lnTo>
                <a:lnTo>
                  <a:pt x="1607" y="365"/>
                </a:lnTo>
                <a:lnTo>
                  <a:pt x="1678" y="365"/>
                </a:lnTo>
                <a:lnTo>
                  <a:pt x="1686" y="363"/>
                </a:lnTo>
                <a:lnTo>
                  <a:pt x="1694" y="361"/>
                </a:lnTo>
                <a:lnTo>
                  <a:pt x="1700" y="359"/>
                </a:lnTo>
                <a:lnTo>
                  <a:pt x="1707" y="355"/>
                </a:lnTo>
                <a:lnTo>
                  <a:pt x="1712" y="351"/>
                </a:lnTo>
                <a:lnTo>
                  <a:pt x="1717" y="345"/>
                </a:lnTo>
                <a:lnTo>
                  <a:pt x="1722" y="339"/>
                </a:lnTo>
                <a:lnTo>
                  <a:pt x="1726" y="331"/>
                </a:lnTo>
                <a:lnTo>
                  <a:pt x="1730" y="323"/>
                </a:lnTo>
                <a:lnTo>
                  <a:pt x="1733" y="313"/>
                </a:lnTo>
                <a:lnTo>
                  <a:pt x="1736" y="303"/>
                </a:lnTo>
                <a:lnTo>
                  <a:pt x="1738" y="293"/>
                </a:lnTo>
                <a:lnTo>
                  <a:pt x="1740" y="281"/>
                </a:lnTo>
                <a:lnTo>
                  <a:pt x="1741" y="269"/>
                </a:lnTo>
                <a:lnTo>
                  <a:pt x="1742" y="257"/>
                </a:lnTo>
                <a:lnTo>
                  <a:pt x="1742" y="244"/>
                </a:lnTo>
                <a:lnTo>
                  <a:pt x="1742" y="230"/>
                </a:lnTo>
                <a:lnTo>
                  <a:pt x="1742" y="218"/>
                </a:lnTo>
                <a:lnTo>
                  <a:pt x="1740" y="206"/>
                </a:lnTo>
                <a:lnTo>
                  <a:pt x="1739" y="194"/>
                </a:lnTo>
                <a:lnTo>
                  <a:pt x="1737" y="184"/>
                </a:lnTo>
                <a:lnTo>
                  <a:pt x="1734" y="174"/>
                </a:lnTo>
                <a:lnTo>
                  <a:pt x="1731" y="164"/>
                </a:lnTo>
                <a:lnTo>
                  <a:pt x="1728" y="156"/>
                </a:lnTo>
                <a:lnTo>
                  <a:pt x="1723" y="148"/>
                </a:lnTo>
                <a:lnTo>
                  <a:pt x="1719" y="142"/>
                </a:lnTo>
                <a:lnTo>
                  <a:pt x="1713" y="136"/>
                </a:lnTo>
                <a:lnTo>
                  <a:pt x="1708" y="132"/>
                </a:lnTo>
                <a:lnTo>
                  <a:pt x="1701" y="128"/>
                </a:lnTo>
                <a:lnTo>
                  <a:pt x="1694" y="124"/>
                </a:lnTo>
                <a:lnTo>
                  <a:pt x="1686" y="122"/>
                </a:lnTo>
                <a:lnTo>
                  <a:pt x="1678" y="122"/>
                </a:lnTo>
                <a:close/>
                <a:moveTo>
                  <a:pt x="2090" y="788"/>
                </a:moveTo>
                <a:lnTo>
                  <a:pt x="2069" y="635"/>
                </a:lnTo>
                <a:lnTo>
                  <a:pt x="1942" y="635"/>
                </a:lnTo>
                <a:lnTo>
                  <a:pt x="1921" y="788"/>
                </a:lnTo>
                <a:lnTo>
                  <a:pt x="1854" y="788"/>
                </a:lnTo>
                <a:lnTo>
                  <a:pt x="1975" y="18"/>
                </a:lnTo>
                <a:lnTo>
                  <a:pt x="2037" y="18"/>
                </a:lnTo>
                <a:lnTo>
                  <a:pt x="2160" y="788"/>
                </a:lnTo>
                <a:lnTo>
                  <a:pt x="2090" y="788"/>
                </a:lnTo>
                <a:close/>
                <a:moveTo>
                  <a:pt x="2026" y="323"/>
                </a:moveTo>
                <a:lnTo>
                  <a:pt x="2015" y="250"/>
                </a:lnTo>
                <a:lnTo>
                  <a:pt x="2010" y="210"/>
                </a:lnTo>
                <a:lnTo>
                  <a:pt x="2006" y="170"/>
                </a:lnTo>
                <a:lnTo>
                  <a:pt x="2001" y="210"/>
                </a:lnTo>
                <a:lnTo>
                  <a:pt x="1996" y="250"/>
                </a:lnTo>
                <a:lnTo>
                  <a:pt x="1986" y="325"/>
                </a:lnTo>
                <a:lnTo>
                  <a:pt x="1957" y="529"/>
                </a:lnTo>
                <a:lnTo>
                  <a:pt x="2053" y="529"/>
                </a:lnTo>
                <a:lnTo>
                  <a:pt x="2026" y="323"/>
                </a:lnTo>
                <a:close/>
                <a:moveTo>
                  <a:pt x="2419" y="788"/>
                </a:moveTo>
                <a:lnTo>
                  <a:pt x="2323" y="431"/>
                </a:lnTo>
                <a:lnTo>
                  <a:pt x="2285" y="527"/>
                </a:lnTo>
                <a:lnTo>
                  <a:pt x="2285" y="788"/>
                </a:lnTo>
                <a:lnTo>
                  <a:pt x="2220" y="788"/>
                </a:lnTo>
                <a:lnTo>
                  <a:pt x="2220" y="18"/>
                </a:lnTo>
                <a:lnTo>
                  <a:pt x="2285" y="18"/>
                </a:lnTo>
                <a:lnTo>
                  <a:pt x="2285" y="347"/>
                </a:lnTo>
                <a:lnTo>
                  <a:pt x="2410" y="18"/>
                </a:lnTo>
                <a:lnTo>
                  <a:pt x="2492" y="18"/>
                </a:lnTo>
                <a:lnTo>
                  <a:pt x="2363" y="333"/>
                </a:lnTo>
                <a:lnTo>
                  <a:pt x="2498" y="788"/>
                </a:lnTo>
                <a:lnTo>
                  <a:pt x="2419" y="788"/>
                </a:lnTo>
                <a:close/>
                <a:moveTo>
                  <a:pt x="2558" y="788"/>
                </a:moveTo>
                <a:lnTo>
                  <a:pt x="2558" y="18"/>
                </a:lnTo>
                <a:lnTo>
                  <a:pt x="2786" y="18"/>
                </a:lnTo>
                <a:lnTo>
                  <a:pt x="2786" y="126"/>
                </a:lnTo>
                <a:lnTo>
                  <a:pt x="2623" y="126"/>
                </a:lnTo>
                <a:lnTo>
                  <a:pt x="2623" y="341"/>
                </a:lnTo>
                <a:lnTo>
                  <a:pt x="2756" y="341"/>
                </a:lnTo>
                <a:lnTo>
                  <a:pt x="2756" y="445"/>
                </a:lnTo>
                <a:lnTo>
                  <a:pt x="2623" y="445"/>
                </a:lnTo>
                <a:lnTo>
                  <a:pt x="2623" y="683"/>
                </a:lnTo>
                <a:lnTo>
                  <a:pt x="2786" y="683"/>
                </a:lnTo>
                <a:lnTo>
                  <a:pt x="2786" y="788"/>
                </a:lnTo>
                <a:lnTo>
                  <a:pt x="2558" y="788"/>
                </a:lnTo>
                <a:close/>
                <a:moveTo>
                  <a:pt x="2939" y="18"/>
                </a:moveTo>
                <a:lnTo>
                  <a:pt x="3030" y="439"/>
                </a:lnTo>
                <a:lnTo>
                  <a:pt x="3038" y="477"/>
                </a:lnTo>
                <a:lnTo>
                  <a:pt x="3042" y="495"/>
                </a:lnTo>
                <a:lnTo>
                  <a:pt x="3046" y="515"/>
                </a:lnTo>
                <a:lnTo>
                  <a:pt x="3053" y="553"/>
                </a:lnTo>
                <a:lnTo>
                  <a:pt x="3060" y="595"/>
                </a:lnTo>
                <a:lnTo>
                  <a:pt x="3060" y="509"/>
                </a:lnTo>
                <a:lnTo>
                  <a:pt x="3059" y="421"/>
                </a:lnTo>
                <a:lnTo>
                  <a:pt x="3059" y="18"/>
                </a:lnTo>
                <a:lnTo>
                  <a:pt x="3124" y="18"/>
                </a:lnTo>
                <a:lnTo>
                  <a:pt x="3124" y="788"/>
                </a:lnTo>
                <a:lnTo>
                  <a:pt x="3046" y="788"/>
                </a:lnTo>
                <a:lnTo>
                  <a:pt x="2954" y="369"/>
                </a:lnTo>
                <a:lnTo>
                  <a:pt x="2946" y="331"/>
                </a:lnTo>
                <a:lnTo>
                  <a:pt x="2938" y="293"/>
                </a:lnTo>
                <a:lnTo>
                  <a:pt x="2931" y="255"/>
                </a:lnTo>
                <a:lnTo>
                  <a:pt x="2923" y="214"/>
                </a:lnTo>
                <a:lnTo>
                  <a:pt x="2924" y="389"/>
                </a:lnTo>
                <a:lnTo>
                  <a:pt x="2924" y="790"/>
                </a:lnTo>
                <a:lnTo>
                  <a:pt x="2859" y="790"/>
                </a:lnTo>
                <a:lnTo>
                  <a:pt x="2859" y="18"/>
                </a:lnTo>
                <a:lnTo>
                  <a:pt x="2939" y="18"/>
                </a:lnTo>
                <a:close/>
                <a:moveTo>
                  <a:pt x="3306" y="18"/>
                </a:moveTo>
                <a:lnTo>
                  <a:pt x="3396" y="425"/>
                </a:lnTo>
                <a:lnTo>
                  <a:pt x="3404" y="463"/>
                </a:lnTo>
                <a:lnTo>
                  <a:pt x="3408" y="481"/>
                </a:lnTo>
                <a:lnTo>
                  <a:pt x="3412" y="501"/>
                </a:lnTo>
                <a:lnTo>
                  <a:pt x="3419" y="539"/>
                </a:lnTo>
                <a:lnTo>
                  <a:pt x="3426" y="581"/>
                </a:lnTo>
                <a:lnTo>
                  <a:pt x="3426" y="495"/>
                </a:lnTo>
                <a:lnTo>
                  <a:pt x="3426" y="407"/>
                </a:lnTo>
                <a:lnTo>
                  <a:pt x="3426" y="18"/>
                </a:lnTo>
                <a:lnTo>
                  <a:pt x="3491" y="18"/>
                </a:lnTo>
                <a:lnTo>
                  <a:pt x="3491" y="788"/>
                </a:lnTo>
                <a:lnTo>
                  <a:pt x="3412" y="788"/>
                </a:lnTo>
                <a:lnTo>
                  <a:pt x="3320" y="383"/>
                </a:lnTo>
                <a:lnTo>
                  <a:pt x="3312" y="345"/>
                </a:lnTo>
                <a:lnTo>
                  <a:pt x="3305" y="307"/>
                </a:lnTo>
                <a:lnTo>
                  <a:pt x="3297" y="269"/>
                </a:lnTo>
                <a:lnTo>
                  <a:pt x="3290" y="228"/>
                </a:lnTo>
                <a:lnTo>
                  <a:pt x="3290" y="403"/>
                </a:lnTo>
                <a:lnTo>
                  <a:pt x="3290" y="788"/>
                </a:lnTo>
                <a:lnTo>
                  <a:pt x="3226" y="788"/>
                </a:lnTo>
                <a:lnTo>
                  <a:pt x="3226" y="18"/>
                </a:lnTo>
                <a:lnTo>
                  <a:pt x="3306" y="18"/>
                </a:lnTo>
                <a:close/>
                <a:moveTo>
                  <a:pt x="3618" y="735"/>
                </a:moveTo>
                <a:lnTo>
                  <a:pt x="3611" y="719"/>
                </a:lnTo>
                <a:lnTo>
                  <a:pt x="3605" y="701"/>
                </a:lnTo>
                <a:lnTo>
                  <a:pt x="3599" y="681"/>
                </a:lnTo>
                <a:lnTo>
                  <a:pt x="3597" y="669"/>
                </a:lnTo>
                <a:lnTo>
                  <a:pt x="3595" y="659"/>
                </a:lnTo>
                <a:lnTo>
                  <a:pt x="3591" y="635"/>
                </a:lnTo>
                <a:lnTo>
                  <a:pt x="3589" y="609"/>
                </a:lnTo>
                <a:lnTo>
                  <a:pt x="3588" y="595"/>
                </a:lnTo>
                <a:lnTo>
                  <a:pt x="3587" y="581"/>
                </a:lnTo>
                <a:lnTo>
                  <a:pt x="3587" y="549"/>
                </a:lnTo>
                <a:lnTo>
                  <a:pt x="3587" y="18"/>
                </a:lnTo>
                <a:lnTo>
                  <a:pt x="3652" y="18"/>
                </a:lnTo>
                <a:lnTo>
                  <a:pt x="3652" y="543"/>
                </a:lnTo>
                <a:lnTo>
                  <a:pt x="3652" y="563"/>
                </a:lnTo>
                <a:lnTo>
                  <a:pt x="3652" y="581"/>
                </a:lnTo>
                <a:lnTo>
                  <a:pt x="3653" y="597"/>
                </a:lnTo>
                <a:lnTo>
                  <a:pt x="3655" y="611"/>
                </a:lnTo>
                <a:lnTo>
                  <a:pt x="3657" y="625"/>
                </a:lnTo>
                <a:lnTo>
                  <a:pt x="3659" y="637"/>
                </a:lnTo>
                <a:lnTo>
                  <a:pt x="3662" y="649"/>
                </a:lnTo>
                <a:lnTo>
                  <a:pt x="3665" y="659"/>
                </a:lnTo>
                <a:lnTo>
                  <a:pt x="3669" y="667"/>
                </a:lnTo>
                <a:lnTo>
                  <a:pt x="3674" y="675"/>
                </a:lnTo>
                <a:lnTo>
                  <a:pt x="3679" y="683"/>
                </a:lnTo>
                <a:lnTo>
                  <a:pt x="3685" y="689"/>
                </a:lnTo>
                <a:lnTo>
                  <a:pt x="3688" y="691"/>
                </a:lnTo>
                <a:lnTo>
                  <a:pt x="3692" y="693"/>
                </a:lnTo>
                <a:lnTo>
                  <a:pt x="3699" y="697"/>
                </a:lnTo>
                <a:lnTo>
                  <a:pt x="3706" y="699"/>
                </a:lnTo>
                <a:lnTo>
                  <a:pt x="3715" y="699"/>
                </a:lnTo>
                <a:lnTo>
                  <a:pt x="3723" y="699"/>
                </a:lnTo>
                <a:lnTo>
                  <a:pt x="3731" y="697"/>
                </a:lnTo>
                <a:lnTo>
                  <a:pt x="3738" y="693"/>
                </a:lnTo>
                <a:lnTo>
                  <a:pt x="3744" y="689"/>
                </a:lnTo>
                <a:lnTo>
                  <a:pt x="3750" y="683"/>
                </a:lnTo>
                <a:lnTo>
                  <a:pt x="3755" y="675"/>
                </a:lnTo>
                <a:lnTo>
                  <a:pt x="3760" y="667"/>
                </a:lnTo>
                <a:lnTo>
                  <a:pt x="3764" y="659"/>
                </a:lnTo>
                <a:lnTo>
                  <a:pt x="3768" y="649"/>
                </a:lnTo>
                <a:lnTo>
                  <a:pt x="3770" y="637"/>
                </a:lnTo>
                <a:lnTo>
                  <a:pt x="3773" y="625"/>
                </a:lnTo>
                <a:lnTo>
                  <a:pt x="3775" y="613"/>
                </a:lnTo>
                <a:lnTo>
                  <a:pt x="3776" y="597"/>
                </a:lnTo>
                <a:lnTo>
                  <a:pt x="3777" y="581"/>
                </a:lnTo>
                <a:lnTo>
                  <a:pt x="3778" y="563"/>
                </a:lnTo>
                <a:lnTo>
                  <a:pt x="3778" y="543"/>
                </a:lnTo>
                <a:lnTo>
                  <a:pt x="3778" y="18"/>
                </a:lnTo>
                <a:lnTo>
                  <a:pt x="3843" y="18"/>
                </a:lnTo>
                <a:lnTo>
                  <a:pt x="3843" y="549"/>
                </a:lnTo>
                <a:lnTo>
                  <a:pt x="3843" y="581"/>
                </a:lnTo>
                <a:lnTo>
                  <a:pt x="3842" y="595"/>
                </a:lnTo>
                <a:lnTo>
                  <a:pt x="3841" y="609"/>
                </a:lnTo>
                <a:lnTo>
                  <a:pt x="3838" y="635"/>
                </a:lnTo>
                <a:lnTo>
                  <a:pt x="3835" y="659"/>
                </a:lnTo>
                <a:lnTo>
                  <a:pt x="3833" y="669"/>
                </a:lnTo>
                <a:lnTo>
                  <a:pt x="3830" y="681"/>
                </a:lnTo>
                <a:lnTo>
                  <a:pt x="3825" y="701"/>
                </a:lnTo>
                <a:lnTo>
                  <a:pt x="3822" y="709"/>
                </a:lnTo>
                <a:lnTo>
                  <a:pt x="3819" y="719"/>
                </a:lnTo>
                <a:lnTo>
                  <a:pt x="3815" y="727"/>
                </a:lnTo>
                <a:lnTo>
                  <a:pt x="3812" y="735"/>
                </a:lnTo>
                <a:lnTo>
                  <a:pt x="3807" y="744"/>
                </a:lnTo>
                <a:lnTo>
                  <a:pt x="3802" y="752"/>
                </a:lnTo>
                <a:lnTo>
                  <a:pt x="3792" y="766"/>
                </a:lnTo>
                <a:lnTo>
                  <a:pt x="3781" y="778"/>
                </a:lnTo>
                <a:lnTo>
                  <a:pt x="3775" y="784"/>
                </a:lnTo>
                <a:lnTo>
                  <a:pt x="3769" y="788"/>
                </a:lnTo>
                <a:lnTo>
                  <a:pt x="3757" y="796"/>
                </a:lnTo>
                <a:lnTo>
                  <a:pt x="3750" y="800"/>
                </a:lnTo>
                <a:lnTo>
                  <a:pt x="3743" y="802"/>
                </a:lnTo>
                <a:lnTo>
                  <a:pt x="3729" y="806"/>
                </a:lnTo>
                <a:lnTo>
                  <a:pt x="3722" y="806"/>
                </a:lnTo>
                <a:lnTo>
                  <a:pt x="3715" y="806"/>
                </a:lnTo>
                <a:lnTo>
                  <a:pt x="3700" y="806"/>
                </a:lnTo>
                <a:lnTo>
                  <a:pt x="3686" y="802"/>
                </a:lnTo>
                <a:lnTo>
                  <a:pt x="3679" y="800"/>
                </a:lnTo>
                <a:lnTo>
                  <a:pt x="3673" y="796"/>
                </a:lnTo>
                <a:lnTo>
                  <a:pt x="3660" y="788"/>
                </a:lnTo>
                <a:lnTo>
                  <a:pt x="3648" y="778"/>
                </a:lnTo>
                <a:lnTo>
                  <a:pt x="3637" y="766"/>
                </a:lnTo>
                <a:lnTo>
                  <a:pt x="3627" y="750"/>
                </a:lnTo>
                <a:lnTo>
                  <a:pt x="3623" y="742"/>
                </a:lnTo>
                <a:lnTo>
                  <a:pt x="3618" y="735"/>
                </a:lnTo>
                <a:close/>
                <a:moveTo>
                  <a:pt x="4052" y="806"/>
                </a:moveTo>
                <a:lnTo>
                  <a:pt x="4036" y="806"/>
                </a:lnTo>
                <a:lnTo>
                  <a:pt x="4020" y="802"/>
                </a:lnTo>
                <a:lnTo>
                  <a:pt x="4006" y="796"/>
                </a:lnTo>
                <a:lnTo>
                  <a:pt x="4000" y="792"/>
                </a:lnTo>
                <a:lnTo>
                  <a:pt x="3993" y="788"/>
                </a:lnTo>
                <a:lnTo>
                  <a:pt x="3981" y="780"/>
                </a:lnTo>
                <a:lnTo>
                  <a:pt x="3975" y="774"/>
                </a:lnTo>
                <a:lnTo>
                  <a:pt x="3970" y="768"/>
                </a:lnTo>
                <a:lnTo>
                  <a:pt x="3960" y="756"/>
                </a:lnTo>
                <a:lnTo>
                  <a:pt x="3956" y="748"/>
                </a:lnTo>
                <a:lnTo>
                  <a:pt x="3951" y="740"/>
                </a:lnTo>
                <a:lnTo>
                  <a:pt x="3947" y="733"/>
                </a:lnTo>
                <a:lnTo>
                  <a:pt x="3943" y="725"/>
                </a:lnTo>
                <a:lnTo>
                  <a:pt x="3939" y="717"/>
                </a:lnTo>
                <a:lnTo>
                  <a:pt x="3936" y="707"/>
                </a:lnTo>
                <a:lnTo>
                  <a:pt x="3930" y="687"/>
                </a:lnTo>
                <a:lnTo>
                  <a:pt x="3926" y="667"/>
                </a:lnTo>
                <a:lnTo>
                  <a:pt x="3924" y="657"/>
                </a:lnTo>
                <a:lnTo>
                  <a:pt x="3922" y="645"/>
                </a:lnTo>
                <a:lnTo>
                  <a:pt x="3919" y="623"/>
                </a:lnTo>
                <a:lnTo>
                  <a:pt x="3918" y="599"/>
                </a:lnTo>
                <a:lnTo>
                  <a:pt x="3917" y="585"/>
                </a:lnTo>
                <a:lnTo>
                  <a:pt x="3917" y="573"/>
                </a:lnTo>
                <a:lnTo>
                  <a:pt x="3980" y="545"/>
                </a:lnTo>
                <a:lnTo>
                  <a:pt x="3981" y="567"/>
                </a:lnTo>
                <a:lnTo>
                  <a:pt x="3982" y="587"/>
                </a:lnTo>
                <a:lnTo>
                  <a:pt x="3984" y="603"/>
                </a:lnTo>
                <a:lnTo>
                  <a:pt x="3986" y="619"/>
                </a:lnTo>
                <a:lnTo>
                  <a:pt x="3988" y="627"/>
                </a:lnTo>
                <a:lnTo>
                  <a:pt x="3989" y="635"/>
                </a:lnTo>
                <a:lnTo>
                  <a:pt x="3993" y="647"/>
                </a:lnTo>
                <a:lnTo>
                  <a:pt x="3997" y="659"/>
                </a:lnTo>
                <a:lnTo>
                  <a:pt x="4001" y="667"/>
                </a:lnTo>
                <a:lnTo>
                  <a:pt x="4006" y="677"/>
                </a:lnTo>
                <a:lnTo>
                  <a:pt x="4012" y="683"/>
                </a:lnTo>
                <a:lnTo>
                  <a:pt x="4018" y="689"/>
                </a:lnTo>
                <a:lnTo>
                  <a:pt x="4025" y="693"/>
                </a:lnTo>
                <a:lnTo>
                  <a:pt x="4032" y="697"/>
                </a:lnTo>
                <a:lnTo>
                  <a:pt x="4039" y="699"/>
                </a:lnTo>
                <a:lnTo>
                  <a:pt x="4047" y="701"/>
                </a:lnTo>
                <a:lnTo>
                  <a:pt x="4056" y="701"/>
                </a:lnTo>
                <a:lnTo>
                  <a:pt x="4063" y="701"/>
                </a:lnTo>
                <a:lnTo>
                  <a:pt x="4070" y="699"/>
                </a:lnTo>
                <a:lnTo>
                  <a:pt x="4077" y="697"/>
                </a:lnTo>
                <a:lnTo>
                  <a:pt x="4083" y="695"/>
                </a:lnTo>
                <a:lnTo>
                  <a:pt x="4089" y="691"/>
                </a:lnTo>
                <a:lnTo>
                  <a:pt x="4095" y="685"/>
                </a:lnTo>
                <a:lnTo>
                  <a:pt x="4100" y="679"/>
                </a:lnTo>
                <a:lnTo>
                  <a:pt x="4105" y="673"/>
                </a:lnTo>
                <a:lnTo>
                  <a:pt x="4109" y="665"/>
                </a:lnTo>
                <a:lnTo>
                  <a:pt x="4113" y="657"/>
                </a:lnTo>
                <a:lnTo>
                  <a:pt x="4116" y="649"/>
                </a:lnTo>
                <a:lnTo>
                  <a:pt x="4119" y="639"/>
                </a:lnTo>
                <a:lnTo>
                  <a:pt x="4121" y="627"/>
                </a:lnTo>
                <a:lnTo>
                  <a:pt x="4122" y="623"/>
                </a:lnTo>
                <a:lnTo>
                  <a:pt x="4123" y="617"/>
                </a:lnTo>
                <a:lnTo>
                  <a:pt x="4124" y="605"/>
                </a:lnTo>
                <a:lnTo>
                  <a:pt x="4124" y="591"/>
                </a:lnTo>
                <a:lnTo>
                  <a:pt x="4124" y="581"/>
                </a:lnTo>
                <a:lnTo>
                  <a:pt x="4123" y="571"/>
                </a:lnTo>
                <a:lnTo>
                  <a:pt x="4122" y="563"/>
                </a:lnTo>
                <a:lnTo>
                  <a:pt x="4121" y="553"/>
                </a:lnTo>
                <a:lnTo>
                  <a:pt x="4119" y="545"/>
                </a:lnTo>
                <a:lnTo>
                  <a:pt x="4117" y="537"/>
                </a:lnTo>
                <a:lnTo>
                  <a:pt x="4115" y="529"/>
                </a:lnTo>
                <a:lnTo>
                  <a:pt x="4112" y="521"/>
                </a:lnTo>
                <a:lnTo>
                  <a:pt x="4104" y="505"/>
                </a:lnTo>
                <a:lnTo>
                  <a:pt x="4100" y="497"/>
                </a:lnTo>
                <a:lnTo>
                  <a:pt x="4095" y="491"/>
                </a:lnTo>
                <a:lnTo>
                  <a:pt x="4084" y="477"/>
                </a:lnTo>
                <a:lnTo>
                  <a:pt x="4071" y="465"/>
                </a:lnTo>
                <a:lnTo>
                  <a:pt x="4007" y="407"/>
                </a:lnTo>
                <a:lnTo>
                  <a:pt x="3998" y="399"/>
                </a:lnTo>
                <a:lnTo>
                  <a:pt x="3988" y="389"/>
                </a:lnTo>
                <a:lnTo>
                  <a:pt x="3972" y="369"/>
                </a:lnTo>
                <a:lnTo>
                  <a:pt x="3958" y="349"/>
                </a:lnTo>
                <a:lnTo>
                  <a:pt x="3953" y="337"/>
                </a:lnTo>
                <a:lnTo>
                  <a:pt x="3947" y="325"/>
                </a:lnTo>
                <a:lnTo>
                  <a:pt x="3942" y="313"/>
                </a:lnTo>
                <a:lnTo>
                  <a:pt x="3937" y="299"/>
                </a:lnTo>
                <a:lnTo>
                  <a:pt x="3934" y="285"/>
                </a:lnTo>
                <a:lnTo>
                  <a:pt x="3931" y="269"/>
                </a:lnTo>
                <a:lnTo>
                  <a:pt x="3929" y="253"/>
                </a:lnTo>
                <a:lnTo>
                  <a:pt x="3928" y="246"/>
                </a:lnTo>
                <a:lnTo>
                  <a:pt x="3927" y="238"/>
                </a:lnTo>
                <a:lnTo>
                  <a:pt x="3927" y="220"/>
                </a:lnTo>
                <a:lnTo>
                  <a:pt x="3926" y="200"/>
                </a:lnTo>
                <a:lnTo>
                  <a:pt x="3926" y="188"/>
                </a:lnTo>
                <a:lnTo>
                  <a:pt x="3927" y="176"/>
                </a:lnTo>
                <a:lnTo>
                  <a:pt x="3928" y="164"/>
                </a:lnTo>
                <a:lnTo>
                  <a:pt x="3929" y="152"/>
                </a:lnTo>
                <a:lnTo>
                  <a:pt x="3930" y="142"/>
                </a:lnTo>
                <a:lnTo>
                  <a:pt x="3932" y="132"/>
                </a:lnTo>
                <a:lnTo>
                  <a:pt x="3936" y="112"/>
                </a:lnTo>
                <a:lnTo>
                  <a:pt x="3939" y="102"/>
                </a:lnTo>
                <a:lnTo>
                  <a:pt x="3942" y="94"/>
                </a:lnTo>
                <a:lnTo>
                  <a:pt x="3949" y="78"/>
                </a:lnTo>
                <a:lnTo>
                  <a:pt x="3957" y="62"/>
                </a:lnTo>
                <a:lnTo>
                  <a:pt x="3961" y="56"/>
                </a:lnTo>
                <a:lnTo>
                  <a:pt x="3965" y="50"/>
                </a:lnTo>
                <a:lnTo>
                  <a:pt x="3974" y="38"/>
                </a:lnTo>
                <a:lnTo>
                  <a:pt x="3984" y="28"/>
                </a:lnTo>
                <a:lnTo>
                  <a:pt x="3994" y="20"/>
                </a:lnTo>
                <a:lnTo>
                  <a:pt x="4005" y="12"/>
                </a:lnTo>
                <a:lnTo>
                  <a:pt x="4017" y="6"/>
                </a:lnTo>
                <a:lnTo>
                  <a:pt x="4029" y="4"/>
                </a:lnTo>
                <a:lnTo>
                  <a:pt x="4042" y="0"/>
                </a:lnTo>
                <a:lnTo>
                  <a:pt x="4055" y="0"/>
                </a:lnTo>
                <a:lnTo>
                  <a:pt x="4070" y="2"/>
                </a:lnTo>
                <a:lnTo>
                  <a:pt x="4085" y="4"/>
                </a:lnTo>
                <a:lnTo>
                  <a:pt x="4098" y="10"/>
                </a:lnTo>
                <a:lnTo>
                  <a:pt x="4104" y="14"/>
                </a:lnTo>
                <a:lnTo>
                  <a:pt x="4110" y="18"/>
                </a:lnTo>
                <a:lnTo>
                  <a:pt x="4122" y="26"/>
                </a:lnTo>
                <a:lnTo>
                  <a:pt x="4132" y="38"/>
                </a:lnTo>
                <a:lnTo>
                  <a:pt x="4141" y="50"/>
                </a:lnTo>
                <a:lnTo>
                  <a:pt x="4149" y="64"/>
                </a:lnTo>
                <a:lnTo>
                  <a:pt x="4153" y="72"/>
                </a:lnTo>
                <a:lnTo>
                  <a:pt x="4156" y="78"/>
                </a:lnTo>
                <a:lnTo>
                  <a:pt x="4159" y="86"/>
                </a:lnTo>
                <a:lnTo>
                  <a:pt x="4162" y="94"/>
                </a:lnTo>
                <a:lnTo>
                  <a:pt x="4167" y="112"/>
                </a:lnTo>
                <a:lnTo>
                  <a:pt x="4172" y="128"/>
                </a:lnTo>
                <a:lnTo>
                  <a:pt x="4175" y="146"/>
                </a:lnTo>
                <a:lnTo>
                  <a:pt x="4177" y="166"/>
                </a:lnTo>
                <a:lnTo>
                  <a:pt x="4179" y="184"/>
                </a:lnTo>
                <a:lnTo>
                  <a:pt x="4179" y="202"/>
                </a:lnTo>
                <a:lnTo>
                  <a:pt x="4117" y="228"/>
                </a:lnTo>
                <a:lnTo>
                  <a:pt x="4117" y="212"/>
                </a:lnTo>
                <a:lnTo>
                  <a:pt x="4115" y="198"/>
                </a:lnTo>
                <a:lnTo>
                  <a:pt x="4114" y="186"/>
                </a:lnTo>
                <a:lnTo>
                  <a:pt x="4112" y="172"/>
                </a:lnTo>
                <a:lnTo>
                  <a:pt x="4109" y="162"/>
                </a:lnTo>
                <a:lnTo>
                  <a:pt x="4106" y="152"/>
                </a:lnTo>
                <a:lnTo>
                  <a:pt x="4103" y="142"/>
                </a:lnTo>
                <a:lnTo>
                  <a:pt x="4099" y="136"/>
                </a:lnTo>
                <a:lnTo>
                  <a:pt x="4095" y="128"/>
                </a:lnTo>
                <a:lnTo>
                  <a:pt x="4090" y="122"/>
                </a:lnTo>
                <a:lnTo>
                  <a:pt x="4085" y="118"/>
                </a:lnTo>
                <a:lnTo>
                  <a:pt x="4079" y="114"/>
                </a:lnTo>
                <a:lnTo>
                  <a:pt x="4073" y="110"/>
                </a:lnTo>
                <a:lnTo>
                  <a:pt x="4067" y="108"/>
                </a:lnTo>
                <a:lnTo>
                  <a:pt x="4060" y="108"/>
                </a:lnTo>
                <a:lnTo>
                  <a:pt x="4052" y="106"/>
                </a:lnTo>
                <a:lnTo>
                  <a:pt x="4040" y="108"/>
                </a:lnTo>
                <a:lnTo>
                  <a:pt x="4028" y="112"/>
                </a:lnTo>
                <a:lnTo>
                  <a:pt x="4023" y="116"/>
                </a:lnTo>
                <a:lnTo>
                  <a:pt x="4018" y="120"/>
                </a:lnTo>
                <a:lnTo>
                  <a:pt x="4013" y="124"/>
                </a:lnTo>
                <a:lnTo>
                  <a:pt x="4009" y="128"/>
                </a:lnTo>
                <a:lnTo>
                  <a:pt x="4005" y="134"/>
                </a:lnTo>
                <a:lnTo>
                  <a:pt x="4002" y="140"/>
                </a:lnTo>
                <a:lnTo>
                  <a:pt x="3999" y="148"/>
                </a:lnTo>
                <a:lnTo>
                  <a:pt x="3996" y="156"/>
                </a:lnTo>
                <a:lnTo>
                  <a:pt x="3994" y="164"/>
                </a:lnTo>
                <a:lnTo>
                  <a:pt x="3993" y="174"/>
                </a:lnTo>
                <a:lnTo>
                  <a:pt x="3992" y="184"/>
                </a:lnTo>
                <a:lnTo>
                  <a:pt x="3992" y="194"/>
                </a:lnTo>
                <a:lnTo>
                  <a:pt x="3992" y="204"/>
                </a:lnTo>
                <a:lnTo>
                  <a:pt x="3992" y="214"/>
                </a:lnTo>
                <a:lnTo>
                  <a:pt x="3993" y="224"/>
                </a:lnTo>
                <a:lnTo>
                  <a:pt x="3994" y="232"/>
                </a:lnTo>
                <a:lnTo>
                  <a:pt x="3996" y="240"/>
                </a:lnTo>
                <a:lnTo>
                  <a:pt x="3998" y="248"/>
                </a:lnTo>
                <a:lnTo>
                  <a:pt x="4001" y="255"/>
                </a:lnTo>
                <a:lnTo>
                  <a:pt x="4003" y="261"/>
                </a:lnTo>
                <a:lnTo>
                  <a:pt x="4007" y="267"/>
                </a:lnTo>
                <a:lnTo>
                  <a:pt x="4010" y="273"/>
                </a:lnTo>
                <a:lnTo>
                  <a:pt x="4019" y="285"/>
                </a:lnTo>
                <a:lnTo>
                  <a:pt x="4029" y="297"/>
                </a:lnTo>
                <a:lnTo>
                  <a:pt x="4041" y="309"/>
                </a:lnTo>
                <a:lnTo>
                  <a:pt x="4103" y="363"/>
                </a:lnTo>
                <a:lnTo>
                  <a:pt x="4113" y="373"/>
                </a:lnTo>
                <a:lnTo>
                  <a:pt x="4123" y="383"/>
                </a:lnTo>
                <a:lnTo>
                  <a:pt x="4133" y="393"/>
                </a:lnTo>
                <a:lnTo>
                  <a:pt x="4141" y="405"/>
                </a:lnTo>
                <a:lnTo>
                  <a:pt x="4149" y="417"/>
                </a:lnTo>
                <a:lnTo>
                  <a:pt x="4156" y="427"/>
                </a:lnTo>
                <a:lnTo>
                  <a:pt x="4162" y="441"/>
                </a:lnTo>
                <a:lnTo>
                  <a:pt x="4168" y="453"/>
                </a:lnTo>
                <a:lnTo>
                  <a:pt x="4173" y="467"/>
                </a:lnTo>
                <a:lnTo>
                  <a:pt x="4177" y="481"/>
                </a:lnTo>
                <a:lnTo>
                  <a:pt x="4181" y="495"/>
                </a:lnTo>
                <a:lnTo>
                  <a:pt x="4184" y="511"/>
                </a:lnTo>
                <a:lnTo>
                  <a:pt x="4186" y="527"/>
                </a:lnTo>
                <a:lnTo>
                  <a:pt x="4187" y="537"/>
                </a:lnTo>
                <a:lnTo>
                  <a:pt x="4187" y="545"/>
                </a:lnTo>
                <a:lnTo>
                  <a:pt x="4188" y="563"/>
                </a:lnTo>
                <a:lnTo>
                  <a:pt x="4189" y="583"/>
                </a:lnTo>
                <a:lnTo>
                  <a:pt x="4188" y="609"/>
                </a:lnTo>
                <a:lnTo>
                  <a:pt x="4186" y="633"/>
                </a:lnTo>
                <a:lnTo>
                  <a:pt x="4185" y="645"/>
                </a:lnTo>
                <a:lnTo>
                  <a:pt x="4183" y="655"/>
                </a:lnTo>
                <a:lnTo>
                  <a:pt x="4181" y="667"/>
                </a:lnTo>
                <a:lnTo>
                  <a:pt x="4179" y="677"/>
                </a:lnTo>
                <a:lnTo>
                  <a:pt x="4177" y="687"/>
                </a:lnTo>
                <a:lnTo>
                  <a:pt x="4174" y="697"/>
                </a:lnTo>
                <a:lnTo>
                  <a:pt x="4167" y="715"/>
                </a:lnTo>
                <a:lnTo>
                  <a:pt x="4164" y="723"/>
                </a:lnTo>
                <a:lnTo>
                  <a:pt x="4160" y="733"/>
                </a:lnTo>
                <a:lnTo>
                  <a:pt x="4152" y="746"/>
                </a:lnTo>
                <a:lnTo>
                  <a:pt x="4147" y="754"/>
                </a:lnTo>
                <a:lnTo>
                  <a:pt x="4142" y="760"/>
                </a:lnTo>
                <a:lnTo>
                  <a:pt x="4137" y="766"/>
                </a:lnTo>
                <a:lnTo>
                  <a:pt x="4132" y="772"/>
                </a:lnTo>
                <a:lnTo>
                  <a:pt x="4121" y="782"/>
                </a:lnTo>
                <a:lnTo>
                  <a:pt x="4109" y="790"/>
                </a:lnTo>
                <a:lnTo>
                  <a:pt x="4096" y="798"/>
                </a:lnTo>
                <a:lnTo>
                  <a:pt x="4082" y="802"/>
                </a:lnTo>
                <a:lnTo>
                  <a:pt x="4075" y="804"/>
                </a:lnTo>
                <a:lnTo>
                  <a:pt x="4068" y="804"/>
                </a:lnTo>
                <a:lnTo>
                  <a:pt x="4052" y="806"/>
                </a:lnTo>
                <a:close/>
                <a:moveTo>
                  <a:pt x="1669" y="1273"/>
                </a:moveTo>
                <a:lnTo>
                  <a:pt x="1669" y="1936"/>
                </a:lnTo>
                <a:lnTo>
                  <a:pt x="1604" y="1936"/>
                </a:lnTo>
                <a:lnTo>
                  <a:pt x="1604" y="1273"/>
                </a:lnTo>
                <a:lnTo>
                  <a:pt x="1506" y="1273"/>
                </a:lnTo>
                <a:lnTo>
                  <a:pt x="1506" y="1166"/>
                </a:lnTo>
                <a:lnTo>
                  <a:pt x="1767" y="1166"/>
                </a:lnTo>
                <a:lnTo>
                  <a:pt x="1767" y="1273"/>
                </a:lnTo>
                <a:lnTo>
                  <a:pt x="1669" y="1273"/>
                </a:lnTo>
                <a:close/>
                <a:moveTo>
                  <a:pt x="1832" y="1936"/>
                </a:moveTo>
                <a:lnTo>
                  <a:pt x="1832" y="1166"/>
                </a:lnTo>
                <a:lnTo>
                  <a:pt x="2060" y="1166"/>
                </a:lnTo>
                <a:lnTo>
                  <a:pt x="2060" y="1273"/>
                </a:lnTo>
                <a:lnTo>
                  <a:pt x="1897" y="1273"/>
                </a:lnTo>
                <a:lnTo>
                  <a:pt x="1897" y="1489"/>
                </a:lnTo>
                <a:lnTo>
                  <a:pt x="2030" y="1489"/>
                </a:lnTo>
                <a:lnTo>
                  <a:pt x="2030" y="1593"/>
                </a:lnTo>
                <a:lnTo>
                  <a:pt x="1897" y="1593"/>
                </a:lnTo>
                <a:lnTo>
                  <a:pt x="1897" y="1828"/>
                </a:lnTo>
                <a:lnTo>
                  <a:pt x="2060" y="1828"/>
                </a:lnTo>
                <a:lnTo>
                  <a:pt x="2060" y="1936"/>
                </a:lnTo>
                <a:lnTo>
                  <a:pt x="1832" y="1936"/>
                </a:lnTo>
                <a:close/>
                <a:moveTo>
                  <a:pt x="2260" y="1954"/>
                </a:moveTo>
                <a:lnTo>
                  <a:pt x="2251" y="1954"/>
                </a:lnTo>
                <a:lnTo>
                  <a:pt x="2242" y="1952"/>
                </a:lnTo>
                <a:lnTo>
                  <a:pt x="2234" y="1950"/>
                </a:lnTo>
                <a:lnTo>
                  <a:pt x="2226" y="1948"/>
                </a:lnTo>
                <a:lnTo>
                  <a:pt x="2218" y="1944"/>
                </a:lnTo>
                <a:lnTo>
                  <a:pt x="2211" y="1938"/>
                </a:lnTo>
                <a:lnTo>
                  <a:pt x="2204" y="1932"/>
                </a:lnTo>
                <a:lnTo>
                  <a:pt x="2197" y="1926"/>
                </a:lnTo>
                <a:lnTo>
                  <a:pt x="2190" y="1920"/>
                </a:lnTo>
                <a:lnTo>
                  <a:pt x="2184" y="1912"/>
                </a:lnTo>
                <a:lnTo>
                  <a:pt x="2178" y="1902"/>
                </a:lnTo>
                <a:lnTo>
                  <a:pt x="2172" y="1892"/>
                </a:lnTo>
                <a:lnTo>
                  <a:pt x="2166" y="1882"/>
                </a:lnTo>
                <a:lnTo>
                  <a:pt x="2161" y="1872"/>
                </a:lnTo>
                <a:lnTo>
                  <a:pt x="2156" y="1860"/>
                </a:lnTo>
                <a:lnTo>
                  <a:pt x="2151" y="1846"/>
                </a:lnTo>
                <a:lnTo>
                  <a:pt x="2147" y="1834"/>
                </a:lnTo>
                <a:lnTo>
                  <a:pt x="2143" y="1820"/>
                </a:lnTo>
                <a:lnTo>
                  <a:pt x="2139" y="1804"/>
                </a:lnTo>
                <a:lnTo>
                  <a:pt x="2135" y="1788"/>
                </a:lnTo>
                <a:lnTo>
                  <a:pt x="2132" y="1772"/>
                </a:lnTo>
                <a:lnTo>
                  <a:pt x="2129" y="1756"/>
                </a:lnTo>
                <a:lnTo>
                  <a:pt x="2126" y="1738"/>
                </a:lnTo>
                <a:lnTo>
                  <a:pt x="2124" y="1720"/>
                </a:lnTo>
                <a:lnTo>
                  <a:pt x="2121" y="1701"/>
                </a:lnTo>
                <a:lnTo>
                  <a:pt x="2120" y="1681"/>
                </a:lnTo>
                <a:lnTo>
                  <a:pt x="2118" y="1661"/>
                </a:lnTo>
                <a:lnTo>
                  <a:pt x="2117" y="1641"/>
                </a:lnTo>
                <a:lnTo>
                  <a:pt x="2115" y="1597"/>
                </a:lnTo>
                <a:lnTo>
                  <a:pt x="2114" y="1575"/>
                </a:lnTo>
                <a:lnTo>
                  <a:pt x="2114" y="1551"/>
                </a:lnTo>
                <a:lnTo>
                  <a:pt x="2115" y="1505"/>
                </a:lnTo>
                <a:lnTo>
                  <a:pt x="2117" y="1461"/>
                </a:lnTo>
                <a:lnTo>
                  <a:pt x="2118" y="1441"/>
                </a:lnTo>
                <a:lnTo>
                  <a:pt x="2120" y="1421"/>
                </a:lnTo>
                <a:lnTo>
                  <a:pt x="2124" y="1383"/>
                </a:lnTo>
                <a:lnTo>
                  <a:pt x="2126" y="1363"/>
                </a:lnTo>
                <a:lnTo>
                  <a:pt x="2129" y="1347"/>
                </a:lnTo>
                <a:lnTo>
                  <a:pt x="2135" y="1313"/>
                </a:lnTo>
                <a:lnTo>
                  <a:pt x="2139" y="1297"/>
                </a:lnTo>
                <a:lnTo>
                  <a:pt x="2143" y="1283"/>
                </a:lnTo>
                <a:lnTo>
                  <a:pt x="2147" y="1269"/>
                </a:lnTo>
                <a:lnTo>
                  <a:pt x="2151" y="1255"/>
                </a:lnTo>
                <a:lnTo>
                  <a:pt x="2156" y="1243"/>
                </a:lnTo>
                <a:lnTo>
                  <a:pt x="2161" y="1231"/>
                </a:lnTo>
                <a:lnTo>
                  <a:pt x="2166" y="1220"/>
                </a:lnTo>
                <a:lnTo>
                  <a:pt x="2172" y="1210"/>
                </a:lnTo>
                <a:lnTo>
                  <a:pt x="2178" y="1200"/>
                </a:lnTo>
                <a:lnTo>
                  <a:pt x="2184" y="1192"/>
                </a:lnTo>
                <a:lnTo>
                  <a:pt x="2197" y="1176"/>
                </a:lnTo>
                <a:lnTo>
                  <a:pt x="2204" y="1170"/>
                </a:lnTo>
                <a:lnTo>
                  <a:pt x="2211" y="1164"/>
                </a:lnTo>
                <a:lnTo>
                  <a:pt x="2218" y="1160"/>
                </a:lnTo>
                <a:lnTo>
                  <a:pt x="2226" y="1156"/>
                </a:lnTo>
                <a:lnTo>
                  <a:pt x="2234" y="1152"/>
                </a:lnTo>
                <a:lnTo>
                  <a:pt x="2242" y="1150"/>
                </a:lnTo>
                <a:lnTo>
                  <a:pt x="2251" y="1148"/>
                </a:lnTo>
                <a:lnTo>
                  <a:pt x="2260" y="1148"/>
                </a:lnTo>
                <a:lnTo>
                  <a:pt x="2268" y="1148"/>
                </a:lnTo>
                <a:lnTo>
                  <a:pt x="2277" y="1150"/>
                </a:lnTo>
                <a:lnTo>
                  <a:pt x="2285" y="1152"/>
                </a:lnTo>
                <a:lnTo>
                  <a:pt x="2293" y="1156"/>
                </a:lnTo>
                <a:lnTo>
                  <a:pt x="2301" y="1160"/>
                </a:lnTo>
                <a:lnTo>
                  <a:pt x="2308" y="1164"/>
                </a:lnTo>
                <a:lnTo>
                  <a:pt x="2316" y="1170"/>
                </a:lnTo>
                <a:lnTo>
                  <a:pt x="2323" y="1176"/>
                </a:lnTo>
                <a:lnTo>
                  <a:pt x="2329" y="1184"/>
                </a:lnTo>
                <a:lnTo>
                  <a:pt x="2336" y="1192"/>
                </a:lnTo>
                <a:lnTo>
                  <a:pt x="2342" y="1200"/>
                </a:lnTo>
                <a:lnTo>
                  <a:pt x="2348" y="1210"/>
                </a:lnTo>
                <a:lnTo>
                  <a:pt x="2353" y="1220"/>
                </a:lnTo>
                <a:lnTo>
                  <a:pt x="2359" y="1229"/>
                </a:lnTo>
                <a:lnTo>
                  <a:pt x="2364" y="1241"/>
                </a:lnTo>
                <a:lnTo>
                  <a:pt x="2368" y="1255"/>
                </a:lnTo>
                <a:lnTo>
                  <a:pt x="2377" y="1283"/>
                </a:lnTo>
                <a:lnTo>
                  <a:pt x="2381" y="1297"/>
                </a:lnTo>
                <a:lnTo>
                  <a:pt x="2385" y="1313"/>
                </a:lnTo>
                <a:lnTo>
                  <a:pt x="2391" y="1345"/>
                </a:lnTo>
                <a:lnTo>
                  <a:pt x="2394" y="1363"/>
                </a:lnTo>
                <a:lnTo>
                  <a:pt x="2396" y="1381"/>
                </a:lnTo>
                <a:lnTo>
                  <a:pt x="2398" y="1401"/>
                </a:lnTo>
                <a:lnTo>
                  <a:pt x="2400" y="1421"/>
                </a:lnTo>
                <a:lnTo>
                  <a:pt x="2402" y="1441"/>
                </a:lnTo>
                <a:lnTo>
                  <a:pt x="2403" y="1461"/>
                </a:lnTo>
                <a:lnTo>
                  <a:pt x="2404" y="1483"/>
                </a:lnTo>
                <a:lnTo>
                  <a:pt x="2405" y="1505"/>
                </a:lnTo>
                <a:lnTo>
                  <a:pt x="2405" y="1527"/>
                </a:lnTo>
                <a:lnTo>
                  <a:pt x="2406" y="1551"/>
                </a:lnTo>
                <a:lnTo>
                  <a:pt x="2405" y="1597"/>
                </a:lnTo>
                <a:lnTo>
                  <a:pt x="2403" y="1641"/>
                </a:lnTo>
                <a:lnTo>
                  <a:pt x="2402" y="1663"/>
                </a:lnTo>
                <a:lnTo>
                  <a:pt x="2400" y="1683"/>
                </a:lnTo>
                <a:lnTo>
                  <a:pt x="2396" y="1720"/>
                </a:lnTo>
                <a:lnTo>
                  <a:pt x="2394" y="1738"/>
                </a:lnTo>
                <a:lnTo>
                  <a:pt x="2391" y="1756"/>
                </a:lnTo>
                <a:lnTo>
                  <a:pt x="2388" y="1772"/>
                </a:lnTo>
                <a:lnTo>
                  <a:pt x="2385" y="1790"/>
                </a:lnTo>
                <a:lnTo>
                  <a:pt x="2381" y="1804"/>
                </a:lnTo>
                <a:lnTo>
                  <a:pt x="2377" y="1820"/>
                </a:lnTo>
                <a:lnTo>
                  <a:pt x="2373" y="1834"/>
                </a:lnTo>
                <a:lnTo>
                  <a:pt x="2368" y="1846"/>
                </a:lnTo>
                <a:lnTo>
                  <a:pt x="2364" y="1860"/>
                </a:lnTo>
                <a:lnTo>
                  <a:pt x="2359" y="1872"/>
                </a:lnTo>
                <a:lnTo>
                  <a:pt x="2353" y="1882"/>
                </a:lnTo>
                <a:lnTo>
                  <a:pt x="2348" y="1894"/>
                </a:lnTo>
                <a:lnTo>
                  <a:pt x="2342" y="1902"/>
                </a:lnTo>
                <a:lnTo>
                  <a:pt x="2336" y="1912"/>
                </a:lnTo>
                <a:lnTo>
                  <a:pt x="2329" y="1920"/>
                </a:lnTo>
                <a:lnTo>
                  <a:pt x="2323" y="1926"/>
                </a:lnTo>
                <a:lnTo>
                  <a:pt x="2316" y="1934"/>
                </a:lnTo>
                <a:lnTo>
                  <a:pt x="2308" y="1938"/>
                </a:lnTo>
                <a:lnTo>
                  <a:pt x="2301" y="1944"/>
                </a:lnTo>
                <a:lnTo>
                  <a:pt x="2293" y="1948"/>
                </a:lnTo>
                <a:lnTo>
                  <a:pt x="2285" y="1950"/>
                </a:lnTo>
                <a:lnTo>
                  <a:pt x="2277" y="1952"/>
                </a:lnTo>
                <a:lnTo>
                  <a:pt x="2268" y="1954"/>
                </a:lnTo>
                <a:lnTo>
                  <a:pt x="2260" y="1954"/>
                </a:lnTo>
                <a:close/>
                <a:moveTo>
                  <a:pt x="2260" y="1257"/>
                </a:moveTo>
                <a:lnTo>
                  <a:pt x="2251" y="1257"/>
                </a:lnTo>
                <a:lnTo>
                  <a:pt x="2246" y="1259"/>
                </a:lnTo>
                <a:lnTo>
                  <a:pt x="2242" y="1259"/>
                </a:lnTo>
                <a:lnTo>
                  <a:pt x="2234" y="1265"/>
                </a:lnTo>
                <a:lnTo>
                  <a:pt x="2227" y="1271"/>
                </a:lnTo>
                <a:lnTo>
                  <a:pt x="2223" y="1275"/>
                </a:lnTo>
                <a:lnTo>
                  <a:pt x="2220" y="1281"/>
                </a:lnTo>
                <a:lnTo>
                  <a:pt x="2216" y="1287"/>
                </a:lnTo>
                <a:lnTo>
                  <a:pt x="2213" y="1293"/>
                </a:lnTo>
                <a:lnTo>
                  <a:pt x="2210" y="1299"/>
                </a:lnTo>
                <a:lnTo>
                  <a:pt x="2207" y="1307"/>
                </a:lnTo>
                <a:lnTo>
                  <a:pt x="2201" y="1323"/>
                </a:lnTo>
                <a:lnTo>
                  <a:pt x="2199" y="1331"/>
                </a:lnTo>
                <a:lnTo>
                  <a:pt x="2196" y="1341"/>
                </a:lnTo>
                <a:lnTo>
                  <a:pt x="2192" y="1363"/>
                </a:lnTo>
                <a:lnTo>
                  <a:pt x="2188" y="1387"/>
                </a:lnTo>
                <a:lnTo>
                  <a:pt x="2187" y="1399"/>
                </a:lnTo>
                <a:lnTo>
                  <a:pt x="2185" y="1413"/>
                </a:lnTo>
                <a:lnTo>
                  <a:pt x="2183" y="1443"/>
                </a:lnTo>
                <a:lnTo>
                  <a:pt x="2181" y="1477"/>
                </a:lnTo>
                <a:lnTo>
                  <a:pt x="2180" y="1513"/>
                </a:lnTo>
                <a:lnTo>
                  <a:pt x="2180" y="1551"/>
                </a:lnTo>
                <a:lnTo>
                  <a:pt x="2180" y="1591"/>
                </a:lnTo>
                <a:lnTo>
                  <a:pt x="2181" y="1627"/>
                </a:lnTo>
                <a:lnTo>
                  <a:pt x="2183" y="1659"/>
                </a:lnTo>
                <a:lnTo>
                  <a:pt x="2185" y="1689"/>
                </a:lnTo>
                <a:lnTo>
                  <a:pt x="2188" y="1714"/>
                </a:lnTo>
                <a:lnTo>
                  <a:pt x="2192" y="1738"/>
                </a:lnTo>
                <a:lnTo>
                  <a:pt x="2196" y="1760"/>
                </a:lnTo>
                <a:lnTo>
                  <a:pt x="2201" y="1780"/>
                </a:lnTo>
                <a:lnTo>
                  <a:pt x="2207" y="1796"/>
                </a:lnTo>
                <a:lnTo>
                  <a:pt x="2213" y="1810"/>
                </a:lnTo>
                <a:lnTo>
                  <a:pt x="2220" y="1820"/>
                </a:lnTo>
                <a:lnTo>
                  <a:pt x="2227" y="1830"/>
                </a:lnTo>
                <a:lnTo>
                  <a:pt x="2234" y="1836"/>
                </a:lnTo>
                <a:lnTo>
                  <a:pt x="2242" y="1842"/>
                </a:lnTo>
                <a:lnTo>
                  <a:pt x="2251" y="1844"/>
                </a:lnTo>
                <a:lnTo>
                  <a:pt x="2260" y="1846"/>
                </a:lnTo>
                <a:lnTo>
                  <a:pt x="2269" y="1844"/>
                </a:lnTo>
                <a:lnTo>
                  <a:pt x="2273" y="1844"/>
                </a:lnTo>
                <a:lnTo>
                  <a:pt x="2277" y="1842"/>
                </a:lnTo>
                <a:lnTo>
                  <a:pt x="2285" y="1836"/>
                </a:lnTo>
                <a:lnTo>
                  <a:pt x="2293" y="1830"/>
                </a:lnTo>
                <a:lnTo>
                  <a:pt x="2296" y="1826"/>
                </a:lnTo>
                <a:lnTo>
                  <a:pt x="2300" y="1820"/>
                </a:lnTo>
                <a:lnTo>
                  <a:pt x="2306" y="1808"/>
                </a:lnTo>
                <a:lnTo>
                  <a:pt x="2309" y="1802"/>
                </a:lnTo>
                <a:lnTo>
                  <a:pt x="2312" y="1796"/>
                </a:lnTo>
                <a:lnTo>
                  <a:pt x="2318" y="1778"/>
                </a:lnTo>
                <a:lnTo>
                  <a:pt x="2320" y="1770"/>
                </a:lnTo>
                <a:lnTo>
                  <a:pt x="2323" y="1760"/>
                </a:lnTo>
                <a:lnTo>
                  <a:pt x="2327" y="1738"/>
                </a:lnTo>
                <a:lnTo>
                  <a:pt x="2331" y="1714"/>
                </a:lnTo>
                <a:lnTo>
                  <a:pt x="2332" y="1703"/>
                </a:lnTo>
                <a:lnTo>
                  <a:pt x="2334" y="1689"/>
                </a:lnTo>
                <a:lnTo>
                  <a:pt x="2336" y="1659"/>
                </a:lnTo>
                <a:lnTo>
                  <a:pt x="2338" y="1625"/>
                </a:lnTo>
                <a:lnTo>
                  <a:pt x="2339" y="1591"/>
                </a:lnTo>
                <a:lnTo>
                  <a:pt x="2340" y="1551"/>
                </a:lnTo>
                <a:lnTo>
                  <a:pt x="2339" y="1513"/>
                </a:lnTo>
                <a:lnTo>
                  <a:pt x="2338" y="1477"/>
                </a:lnTo>
                <a:lnTo>
                  <a:pt x="2336" y="1443"/>
                </a:lnTo>
                <a:lnTo>
                  <a:pt x="2334" y="1415"/>
                </a:lnTo>
                <a:lnTo>
                  <a:pt x="2331" y="1387"/>
                </a:lnTo>
                <a:lnTo>
                  <a:pt x="2327" y="1363"/>
                </a:lnTo>
                <a:lnTo>
                  <a:pt x="2323" y="1341"/>
                </a:lnTo>
                <a:lnTo>
                  <a:pt x="2318" y="1323"/>
                </a:lnTo>
                <a:lnTo>
                  <a:pt x="2312" y="1307"/>
                </a:lnTo>
                <a:lnTo>
                  <a:pt x="2306" y="1293"/>
                </a:lnTo>
                <a:lnTo>
                  <a:pt x="2300" y="1281"/>
                </a:lnTo>
                <a:lnTo>
                  <a:pt x="2293" y="1271"/>
                </a:lnTo>
                <a:lnTo>
                  <a:pt x="2285" y="1265"/>
                </a:lnTo>
                <a:lnTo>
                  <a:pt x="2277" y="1259"/>
                </a:lnTo>
                <a:lnTo>
                  <a:pt x="2273" y="1259"/>
                </a:lnTo>
                <a:lnTo>
                  <a:pt x="2269" y="1257"/>
                </a:lnTo>
                <a:lnTo>
                  <a:pt x="2260" y="1257"/>
                </a:lnTo>
                <a:close/>
                <a:moveTo>
                  <a:pt x="2485" y="1936"/>
                </a:moveTo>
                <a:lnTo>
                  <a:pt x="2485" y="1166"/>
                </a:lnTo>
                <a:lnTo>
                  <a:pt x="2549" y="1166"/>
                </a:lnTo>
                <a:lnTo>
                  <a:pt x="2549" y="1828"/>
                </a:lnTo>
                <a:lnTo>
                  <a:pt x="2709" y="1828"/>
                </a:lnTo>
                <a:lnTo>
                  <a:pt x="2709" y="1936"/>
                </a:lnTo>
                <a:lnTo>
                  <a:pt x="2485" y="1936"/>
                </a:lnTo>
                <a:close/>
                <a:moveTo>
                  <a:pt x="2769" y="1936"/>
                </a:moveTo>
                <a:lnTo>
                  <a:pt x="2769" y="1166"/>
                </a:lnTo>
                <a:lnTo>
                  <a:pt x="2835" y="1166"/>
                </a:lnTo>
                <a:lnTo>
                  <a:pt x="2835" y="1828"/>
                </a:lnTo>
                <a:lnTo>
                  <a:pt x="2994" y="1828"/>
                </a:lnTo>
                <a:lnTo>
                  <a:pt x="2994" y="1936"/>
                </a:lnTo>
                <a:lnTo>
                  <a:pt x="2769" y="1936"/>
                </a:lnTo>
                <a:close/>
                <a:moveTo>
                  <a:pt x="3055" y="1166"/>
                </a:moveTo>
                <a:lnTo>
                  <a:pt x="3120" y="1166"/>
                </a:lnTo>
                <a:lnTo>
                  <a:pt x="3120" y="1936"/>
                </a:lnTo>
                <a:lnTo>
                  <a:pt x="3055" y="1936"/>
                </a:lnTo>
                <a:lnTo>
                  <a:pt x="3055" y="1166"/>
                </a:lnTo>
                <a:close/>
                <a:moveTo>
                  <a:pt x="3337" y="1954"/>
                </a:moveTo>
                <a:lnTo>
                  <a:pt x="3321" y="1954"/>
                </a:lnTo>
                <a:lnTo>
                  <a:pt x="3305" y="1950"/>
                </a:lnTo>
                <a:lnTo>
                  <a:pt x="3291" y="1944"/>
                </a:lnTo>
                <a:lnTo>
                  <a:pt x="3284" y="1940"/>
                </a:lnTo>
                <a:lnTo>
                  <a:pt x="3278" y="1936"/>
                </a:lnTo>
                <a:lnTo>
                  <a:pt x="3266" y="1928"/>
                </a:lnTo>
                <a:lnTo>
                  <a:pt x="3260" y="1922"/>
                </a:lnTo>
                <a:lnTo>
                  <a:pt x="3255" y="1916"/>
                </a:lnTo>
                <a:lnTo>
                  <a:pt x="3245" y="1902"/>
                </a:lnTo>
                <a:lnTo>
                  <a:pt x="3241" y="1896"/>
                </a:lnTo>
                <a:lnTo>
                  <a:pt x="3236" y="1888"/>
                </a:lnTo>
                <a:lnTo>
                  <a:pt x="3232" y="1880"/>
                </a:lnTo>
                <a:lnTo>
                  <a:pt x="3229" y="1872"/>
                </a:lnTo>
                <a:lnTo>
                  <a:pt x="3225" y="1864"/>
                </a:lnTo>
                <a:lnTo>
                  <a:pt x="3222" y="1854"/>
                </a:lnTo>
                <a:lnTo>
                  <a:pt x="3216" y="1834"/>
                </a:lnTo>
                <a:lnTo>
                  <a:pt x="3211" y="1814"/>
                </a:lnTo>
                <a:lnTo>
                  <a:pt x="3210" y="1804"/>
                </a:lnTo>
                <a:lnTo>
                  <a:pt x="3208" y="1792"/>
                </a:lnTo>
                <a:lnTo>
                  <a:pt x="3205" y="1770"/>
                </a:lnTo>
                <a:lnTo>
                  <a:pt x="3203" y="1746"/>
                </a:lnTo>
                <a:lnTo>
                  <a:pt x="3203" y="1732"/>
                </a:lnTo>
                <a:lnTo>
                  <a:pt x="3203" y="1720"/>
                </a:lnTo>
                <a:lnTo>
                  <a:pt x="3265" y="1693"/>
                </a:lnTo>
                <a:lnTo>
                  <a:pt x="3266" y="1714"/>
                </a:lnTo>
                <a:lnTo>
                  <a:pt x="3267" y="1734"/>
                </a:lnTo>
                <a:lnTo>
                  <a:pt x="3269" y="1750"/>
                </a:lnTo>
                <a:lnTo>
                  <a:pt x="3271" y="1766"/>
                </a:lnTo>
                <a:lnTo>
                  <a:pt x="3273" y="1774"/>
                </a:lnTo>
                <a:lnTo>
                  <a:pt x="3274" y="1782"/>
                </a:lnTo>
                <a:lnTo>
                  <a:pt x="3278" y="1794"/>
                </a:lnTo>
                <a:lnTo>
                  <a:pt x="3282" y="1804"/>
                </a:lnTo>
                <a:lnTo>
                  <a:pt x="3286" y="1814"/>
                </a:lnTo>
                <a:lnTo>
                  <a:pt x="3291" y="1824"/>
                </a:lnTo>
                <a:lnTo>
                  <a:pt x="3297" y="1830"/>
                </a:lnTo>
                <a:lnTo>
                  <a:pt x="3303" y="1836"/>
                </a:lnTo>
                <a:lnTo>
                  <a:pt x="3310" y="1840"/>
                </a:lnTo>
                <a:lnTo>
                  <a:pt x="3317" y="1844"/>
                </a:lnTo>
                <a:lnTo>
                  <a:pt x="3324" y="1846"/>
                </a:lnTo>
                <a:lnTo>
                  <a:pt x="3332" y="1848"/>
                </a:lnTo>
                <a:lnTo>
                  <a:pt x="3341" y="1848"/>
                </a:lnTo>
                <a:lnTo>
                  <a:pt x="3348" y="1848"/>
                </a:lnTo>
                <a:lnTo>
                  <a:pt x="3355" y="1846"/>
                </a:lnTo>
                <a:lnTo>
                  <a:pt x="3362" y="1844"/>
                </a:lnTo>
                <a:lnTo>
                  <a:pt x="3368" y="1842"/>
                </a:lnTo>
                <a:lnTo>
                  <a:pt x="3374" y="1838"/>
                </a:lnTo>
                <a:lnTo>
                  <a:pt x="3380" y="1832"/>
                </a:lnTo>
                <a:lnTo>
                  <a:pt x="3385" y="1826"/>
                </a:lnTo>
                <a:lnTo>
                  <a:pt x="3390" y="1820"/>
                </a:lnTo>
                <a:lnTo>
                  <a:pt x="3394" y="1812"/>
                </a:lnTo>
                <a:lnTo>
                  <a:pt x="3398" y="1804"/>
                </a:lnTo>
                <a:lnTo>
                  <a:pt x="3401" y="1796"/>
                </a:lnTo>
                <a:lnTo>
                  <a:pt x="3404" y="1786"/>
                </a:lnTo>
                <a:lnTo>
                  <a:pt x="3406" y="1774"/>
                </a:lnTo>
                <a:lnTo>
                  <a:pt x="3407" y="1770"/>
                </a:lnTo>
                <a:lnTo>
                  <a:pt x="3408" y="1764"/>
                </a:lnTo>
                <a:lnTo>
                  <a:pt x="3409" y="1752"/>
                </a:lnTo>
                <a:lnTo>
                  <a:pt x="3409" y="1738"/>
                </a:lnTo>
                <a:lnTo>
                  <a:pt x="3409" y="1728"/>
                </a:lnTo>
                <a:lnTo>
                  <a:pt x="3408" y="1718"/>
                </a:lnTo>
                <a:lnTo>
                  <a:pt x="3407" y="1711"/>
                </a:lnTo>
                <a:lnTo>
                  <a:pt x="3406" y="1701"/>
                </a:lnTo>
                <a:lnTo>
                  <a:pt x="3404" y="1693"/>
                </a:lnTo>
                <a:lnTo>
                  <a:pt x="3402" y="1685"/>
                </a:lnTo>
                <a:lnTo>
                  <a:pt x="3400" y="1677"/>
                </a:lnTo>
                <a:lnTo>
                  <a:pt x="3396" y="1669"/>
                </a:lnTo>
                <a:lnTo>
                  <a:pt x="3389" y="1653"/>
                </a:lnTo>
                <a:lnTo>
                  <a:pt x="3385" y="1645"/>
                </a:lnTo>
                <a:lnTo>
                  <a:pt x="3380" y="1639"/>
                </a:lnTo>
                <a:lnTo>
                  <a:pt x="3369" y="1625"/>
                </a:lnTo>
                <a:lnTo>
                  <a:pt x="3356" y="1613"/>
                </a:lnTo>
                <a:lnTo>
                  <a:pt x="3292" y="1555"/>
                </a:lnTo>
                <a:lnTo>
                  <a:pt x="3282" y="1547"/>
                </a:lnTo>
                <a:lnTo>
                  <a:pt x="3273" y="1537"/>
                </a:lnTo>
                <a:lnTo>
                  <a:pt x="3257" y="1517"/>
                </a:lnTo>
                <a:lnTo>
                  <a:pt x="3243" y="1497"/>
                </a:lnTo>
                <a:lnTo>
                  <a:pt x="3237" y="1485"/>
                </a:lnTo>
                <a:lnTo>
                  <a:pt x="3232" y="1473"/>
                </a:lnTo>
                <a:lnTo>
                  <a:pt x="3227" y="1461"/>
                </a:lnTo>
                <a:lnTo>
                  <a:pt x="3223" y="1447"/>
                </a:lnTo>
                <a:lnTo>
                  <a:pt x="3220" y="1433"/>
                </a:lnTo>
                <a:lnTo>
                  <a:pt x="3217" y="1417"/>
                </a:lnTo>
                <a:lnTo>
                  <a:pt x="3215" y="1401"/>
                </a:lnTo>
                <a:lnTo>
                  <a:pt x="3214" y="1393"/>
                </a:lnTo>
                <a:lnTo>
                  <a:pt x="3213" y="1385"/>
                </a:lnTo>
                <a:lnTo>
                  <a:pt x="3212" y="1367"/>
                </a:lnTo>
                <a:lnTo>
                  <a:pt x="3212" y="1347"/>
                </a:lnTo>
                <a:lnTo>
                  <a:pt x="3212" y="1335"/>
                </a:lnTo>
                <a:lnTo>
                  <a:pt x="3213" y="1323"/>
                </a:lnTo>
                <a:lnTo>
                  <a:pt x="3214" y="1311"/>
                </a:lnTo>
                <a:lnTo>
                  <a:pt x="3215" y="1299"/>
                </a:lnTo>
                <a:lnTo>
                  <a:pt x="3216" y="1289"/>
                </a:lnTo>
                <a:lnTo>
                  <a:pt x="3218" y="1279"/>
                </a:lnTo>
                <a:lnTo>
                  <a:pt x="3222" y="1259"/>
                </a:lnTo>
                <a:lnTo>
                  <a:pt x="3225" y="1249"/>
                </a:lnTo>
                <a:lnTo>
                  <a:pt x="3228" y="1241"/>
                </a:lnTo>
                <a:lnTo>
                  <a:pt x="3234" y="1225"/>
                </a:lnTo>
                <a:lnTo>
                  <a:pt x="3241" y="1210"/>
                </a:lnTo>
                <a:lnTo>
                  <a:pt x="3245" y="1204"/>
                </a:lnTo>
                <a:lnTo>
                  <a:pt x="3250" y="1198"/>
                </a:lnTo>
                <a:lnTo>
                  <a:pt x="3259" y="1186"/>
                </a:lnTo>
                <a:lnTo>
                  <a:pt x="3269" y="1176"/>
                </a:lnTo>
                <a:lnTo>
                  <a:pt x="3279" y="1166"/>
                </a:lnTo>
                <a:lnTo>
                  <a:pt x="3290" y="1160"/>
                </a:lnTo>
                <a:lnTo>
                  <a:pt x="3302" y="1154"/>
                </a:lnTo>
                <a:lnTo>
                  <a:pt x="3314" y="1150"/>
                </a:lnTo>
                <a:lnTo>
                  <a:pt x="3327" y="1148"/>
                </a:lnTo>
                <a:lnTo>
                  <a:pt x="3340" y="1148"/>
                </a:lnTo>
                <a:lnTo>
                  <a:pt x="3355" y="1150"/>
                </a:lnTo>
                <a:lnTo>
                  <a:pt x="3370" y="1152"/>
                </a:lnTo>
                <a:lnTo>
                  <a:pt x="3383" y="1158"/>
                </a:lnTo>
                <a:lnTo>
                  <a:pt x="3389" y="1162"/>
                </a:lnTo>
                <a:lnTo>
                  <a:pt x="3395" y="1166"/>
                </a:lnTo>
                <a:lnTo>
                  <a:pt x="3407" y="1174"/>
                </a:lnTo>
                <a:lnTo>
                  <a:pt x="3417" y="1186"/>
                </a:lnTo>
                <a:lnTo>
                  <a:pt x="3426" y="1198"/>
                </a:lnTo>
                <a:lnTo>
                  <a:pt x="3434" y="1212"/>
                </a:lnTo>
                <a:lnTo>
                  <a:pt x="3438" y="1218"/>
                </a:lnTo>
                <a:lnTo>
                  <a:pt x="3441" y="1225"/>
                </a:lnTo>
                <a:lnTo>
                  <a:pt x="3444" y="1233"/>
                </a:lnTo>
                <a:lnTo>
                  <a:pt x="3447" y="1241"/>
                </a:lnTo>
                <a:lnTo>
                  <a:pt x="3452" y="1259"/>
                </a:lnTo>
                <a:lnTo>
                  <a:pt x="3457" y="1275"/>
                </a:lnTo>
                <a:lnTo>
                  <a:pt x="3460" y="1293"/>
                </a:lnTo>
                <a:lnTo>
                  <a:pt x="3462" y="1313"/>
                </a:lnTo>
                <a:lnTo>
                  <a:pt x="3464" y="1331"/>
                </a:lnTo>
                <a:lnTo>
                  <a:pt x="3464" y="1349"/>
                </a:lnTo>
                <a:lnTo>
                  <a:pt x="3402" y="1375"/>
                </a:lnTo>
                <a:lnTo>
                  <a:pt x="3402" y="1359"/>
                </a:lnTo>
                <a:lnTo>
                  <a:pt x="3400" y="1345"/>
                </a:lnTo>
                <a:lnTo>
                  <a:pt x="3399" y="1331"/>
                </a:lnTo>
                <a:lnTo>
                  <a:pt x="3397" y="1319"/>
                </a:lnTo>
                <a:lnTo>
                  <a:pt x="3394" y="1309"/>
                </a:lnTo>
                <a:lnTo>
                  <a:pt x="3391" y="1299"/>
                </a:lnTo>
                <a:lnTo>
                  <a:pt x="3388" y="1289"/>
                </a:lnTo>
                <a:lnTo>
                  <a:pt x="3384" y="1281"/>
                </a:lnTo>
                <a:lnTo>
                  <a:pt x="3380" y="1275"/>
                </a:lnTo>
                <a:lnTo>
                  <a:pt x="3375" y="1269"/>
                </a:lnTo>
                <a:lnTo>
                  <a:pt x="3370" y="1265"/>
                </a:lnTo>
                <a:lnTo>
                  <a:pt x="3364" y="1261"/>
                </a:lnTo>
                <a:lnTo>
                  <a:pt x="3358" y="1257"/>
                </a:lnTo>
                <a:lnTo>
                  <a:pt x="3352" y="1255"/>
                </a:lnTo>
                <a:lnTo>
                  <a:pt x="3345" y="1255"/>
                </a:lnTo>
                <a:lnTo>
                  <a:pt x="3337" y="1253"/>
                </a:lnTo>
                <a:lnTo>
                  <a:pt x="3325" y="1255"/>
                </a:lnTo>
                <a:lnTo>
                  <a:pt x="3313" y="1259"/>
                </a:lnTo>
                <a:lnTo>
                  <a:pt x="3308" y="1263"/>
                </a:lnTo>
                <a:lnTo>
                  <a:pt x="3303" y="1267"/>
                </a:lnTo>
                <a:lnTo>
                  <a:pt x="3298" y="1271"/>
                </a:lnTo>
                <a:lnTo>
                  <a:pt x="3294" y="1275"/>
                </a:lnTo>
                <a:lnTo>
                  <a:pt x="3290" y="1281"/>
                </a:lnTo>
                <a:lnTo>
                  <a:pt x="3287" y="1287"/>
                </a:lnTo>
                <a:lnTo>
                  <a:pt x="3284" y="1295"/>
                </a:lnTo>
                <a:lnTo>
                  <a:pt x="3281" y="1303"/>
                </a:lnTo>
                <a:lnTo>
                  <a:pt x="3279" y="1311"/>
                </a:lnTo>
                <a:lnTo>
                  <a:pt x="3278" y="1321"/>
                </a:lnTo>
                <a:lnTo>
                  <a:pt x="3277" y="1331"/>
                </a:lnTo>
                <a:lnTo>
                  <a:pt x="3276" y="1341"/>
                </a:lnTo>
                <a:lnTo>
                  <a:pt x="3277" y="1351"/>
                </a:lnTo>
                <a:lnTo>
                  <a:pt x="3277" y="1361"/>
                </a:lnTo>
                <a:lnTo>
                  <a:pt x="3278" y="1371"/>
                </a:lnTo>
                <a:lnTo>
                  <a:pt x="3279" y="1379"/>
                </a:lnTo>
                <a:lnTo>
                  <a:pt x="3281" y="1387"/>
                </a:lnTo>
                <a:lnTo>
                  <a:pt x="3283" y="1395"/>
                </a:lnTo>
                <a:lnTo>
                  <a:pt x="3286" y="1403"/>
                </a:lnTo>
                <a:lnTo>
                  <a:pt x="3288" y="1409"/>
                </a:lnTo>
                <a:lnTo>
                  <a:pt x="3292" y="1415"/>
                </a:lnTo>
                <a:lnTo>
                  <a:pt x="3295" y="1421"/>
                </a:lnTo>
                <a:lnTo>
                  <a:pt x="3304" y="1433"/>
                </a:lnTo>
                <a:lnTo>
                  <a:pt x="3314" y="1445"/>
                </a:lnTo>
                <a:lnTo>
                  <a:pt x="3326" y="1457"/>
                </a:lnTo>
                <a:lnTo>
                  <a:pt x="3388" y="1511"/>
                </a:lnTo>
                <a:lnTo>
                  <a:pt x="3398" y="1521"/>
                </a:lnTo>
                <a:lnTo>
                  <a:pt x="3408" y="1531"/>
                </a:lnTo>
                <a:lnTo>
                  <a:pt x="3418" y="1541"/>
                </a:lnTo>
                <a:lnTo>
                  <a:pt x="3426" y="1553"/>
                </a:lnTo>
                <a:lnTo>
                  <a:pt x="3434" y="1565"/>
                </a:lnTo>
                <a:lnTo>
                  <a:pt x="3441" y="1575"/>
                </a:lnTo>
                <a:lnTo>
                  <a:pt x="3447" y="1589"/>
                </a:lnTo>
                <a:lnTo>
                  <a:pt x="3453" y="1601"/>
                </a:lnTo>
                <a:lnTo>
                  <a:pt x="3458" y="1615"/>
                </a:lnTo>
                <a:lnTo>
                  <a:pt x="3462" y="1629"/>
                </a:lnTo>
                <a:lnTo>
                  <a:pt x="3466" y="1643"/>
                </a:lnTo>
                <a:lnTo>
                  <a:pt x="3469" y="1659"/>
                </a:lnTo>
                <a:lnTo>
                  <a:pt x="3471" y="1675"/>
                </a:lnTo>
                <a:lnTo>
                  <a:pt x="3472" y="1685"/>
                </a:lnTo>
                <a:lnTo>
                  <a:pt x="3472" y="1693"/>
                </a:lnTo>
                <a:lnTo>
                  <a:pt x="3473" y="1711"/>
                </a:lnTo>
                <a:lnTo>
                  <a:pt x="3474" y="1730"/>
                </a:lnTo>
                <a:lnTo>
                  <a:pt x="3473" y="1756"/>
                </a:lnTo>
                <a:lnTo>
                  <a:pt x="3471" y="1780"/>
                </a:lnTo>
                <a:lnTo>
                  <a:pt x="3470" y="1792"/>
                </a:lnTo>
                <a:lnTo>
                  <a:pt x="3468" y="1802"/>
                </a:lnTo>
                <a:lnTo>
                  <a:pt x="3466" y="1814"/>
                </a:lnTo>
                <a:lnTo>
                  <a:pt x="3464" y="1824"/>
                </a:lnTo>
                <a:lnTo>
                  <a:pt x="3461" y="1834"/>
                </a:lnTo>
                <a:lnTo>
                  <a:pt x="3459" y="1844"/>
                </a:lnTo>
                <a:lnTo>
                  <a:pt x="3452" y="1862"/>
                </a:lnTo>
                <a:lnTo>
                  <a:pt x="3449" y="1870"/>
                </a:lnTo>
                <a:lnTo>
                  <a:pt x="3445" y="1880"/>
                </a:lnTo>
                <a:lnTo>
                  <a:pt x="3437" y="1894"/>
                </a:lnTo>
                <a:lnTo>
                  <a:pt x="3432" y="1902"/>
                </a:lnTo>
                <a:lnTo>
                  <a:pt x="3427" y="1908"/>
                </a:lnTo>
                <a:lnTo>
                  <a:pt x="3422" y="1914"/>
                </a:lnTo>
                <a:lnTo>
                  <a:pt x="3417" y="1920"/>
                </a:lnTo>
                <a:lnTo>
                  <a:pt x="3406" y="1930"/>
                </a:lnTo>
                <a:lnTo>
                  <a:pt x="3394" y="1938"/>
                </a:lnTo>
                <a:lnTo>
                  <a:pt x="3381" y="1946"/>
                </a:lnTo>
                <a:lnTo>
                  <a:pt x="3367" y="1950"/>
                </a:lnTo>
                <a:lnTo>
                  <a:pt x="3360" y="1952"/>
                </a:lnTo>
                <a:lnTo>
                  <a:pt x="3353" y="1952"/>
                </a:lnTo>
                <a:lnTo>
                  <a:pt x="3337" y="1954"/>
                </a:lnTo>
                <a:close/>
                <a:moveTo>
                  <a:pt x="3582" y="1882"/>
                </a:moveTo>
                <a:lnTo>
                  <a:pt x="3574" y="1866"/>
                </a:lnTo>
                <a:lnTo>
                  <a:pt x="3567" y="1848"/>
                </a:lnTo>
                <a:lnTo>
                  <a:pt x="3562" y="1828"/>
                </a:lnTo>
                <a:lnTo>
                  <a:pt x="3559" y="1816"/>
                </a:lnTo>
                <a:lnTo>
                  <a:pt x="3557" y="1806"/>
                </a:lnTo>
                <a:lnTo>
                  <a:pt x="3554" y="1782"/>
                </a:lnTo>
                <a:lnTo>
                  <a:pt x="3551" y="1756"/>
                </a:lnTo>
                <a:lnTo>
                  <a:pt x="3550" y="1742"/>
                </a:lnTo>
                <a:lnTo>
                  <a:pt x="3550" y="1726"/>
                </a:lnTo>
                <a:lnTo>
                  <a:pt x="3549" y="1697"/>
                </a:lnTo>
                <a:lnTo>
                  <a:pt x="3549" y="1166"/>
                </a:lnTo>
                <a:lnTo>
                  <a:pt x="3615" y="1166"/>
                </a:lnTo>
                <a:lnTo>
                  <a:pt x="3615" y="1691"/>
                </a:lnTo>
                <a:lnTo>
                  <a:pt x="3615" y="1711"/>
                </a:lnTo>
                <a:lnTo>
                  <a:pt x="3616" y="1728"/>
                </a:lnTo>
                <a:lnTo>
                  <a:pt x="3617" y="1744"/>
                </a:lnTo>
                <a:lnTo>
                  <a:pt x="3618" y="1758"/>
                </a:lnTo>
                <a:lnTo>
                  <a:pt x="3620" y="1772"/>
                </a:lnTo>
                <a:lnTo>
                  <a:pt x="3623" y="1784"/>
                </a:lnTo>
                <a:lnTo>
                  <a:pt x="3625" y="1796"/>
                </a:lnTo>
                <a:lnTo>
                  <a:pt x="3629" y="1804"/>
                </a:lnTo>
                <a:lnTo>
                  <a:pt x="3633" y="1814"/>
                </a:lnTo>
                <a:lnTo>
                  <a:pt x="3637" y="1822"/>
                </a:lnTo>
                <a:lnTo>
                  <a:pt x="3643" y="1830"/>
                </a:lnTo>
                <a:lnTo>
                  <a:pt x="3649" y="1836"/>
                </a:lnTo>
                <a:lnTo>
                  <a:pt x="3652" y="1838"/>
                </a:lnTo>
                <a:lnTo>
                  <a:pt x="3655" y="1840"/>
                </a:lnTo>
                <a:lnTo>
                  <a:pt x="3662" y="1844"/>
                </a:lnTo>
                <a:lnTo>
                  <a:pt x="3670" y="1846"/>
                </a:lnTo>
                <a:lnTo>
                  <a:pt x="3678" y="1846"/>
                </a:lnTo>
                <a:lnTo>
                  <a:pt x="3686" y="1846"/>
                </a:lnTo>
                <a:lnTo>
                  <a:pt x="3694" y="1844"/>
                </a:lnTo>
                <a:lnTo>
                  <a:pt x="3701" y="1840"/>
                </a:lnTo>
                <a:lnTo>
                  <a:pt x="3708" y="1836"/>
                </a:lnTo>
                <a:lnTo>
                  <a:pt x="3713" y="1830"/>
                </a:lnTo>
                <a:lnTo>
                  <a:pt x="3719" y="1822"/>
                </a:lnTo>
                <a:lnTo>
                  <a:pt x="3723" y="1814"/>
                </a:lnTo>
                <a:lnTo>
                  <a:pt x="3728" y="1804"/>
                </a:lnTo>
                <a:lnTo>
                  <a:pt x="3731" y="1796"/>
                </a:lnTo>
                <a:lnTo>
                  <a:pt x="3734" y="1784"/>
                </a:lnTo>
                <a:lnTo>
                  <a:pt x="3736" y="1772"/>
                </a:lnTo>
                <a:lnTo>
                  <a:pt x="3738" y="1758"/>
                </a:lnTo>
                <a:lnTo>
                  <a:pt x="3740" y="1744"/>
                </a:lnTo>
                <a:lnTo>
                  <a:pt x="3741" y="1728"/>
                </a:lnTo>
                <a:lnTo>
                  <a:pt x="3741" y="1711"/>
                </a:lnTo>
                <a:lnTo>
                  <a:pt x="3741" y="1691"/>
                </a:lnTo>
                <a:lnTo>
                  <a:pt x="3741" y="1166"/>
                </a:lnTo>
                <a:lnTo>
                  <a:pt x="3807" y="1166"/>
                </a:lnTo>
                <a:lnTo>
                  <a:pt x="3807" y="1697"/>
                </a:lnTo>
                <a:lnTo>
                  <a:pt x="3806" y="1726"/>
                </a:lnTo>
                <a:lnTo>
                  <a:pt x="3805" y="1742"/>
                </a:lnTo>
                <a:lnTo>
                  <a:pt x="3805" y="1756"/>
                </a:lnTo>
                <a:lnTo>
                  <a:pt x="3802" y="1782"/>
                </a:lnTo>
                <a:lnTo>
                  <a:pt x="3798" y="1806"/>
                </a:lnTo>
                <a:lnTo>
                  <a:pt x="3796" y="1816"/>
                </a:lnTo>
                <a:lnTo>
                  <a:pt x="3794" y="1828"/>
                </a:lnTo>
                <a:lnTo>
                  <a:pt x="3788" y="1848"/>
                </a:lnTo>
                <a:lnTo>
                  <a:pt x="3785" y="1856"/>
                </a:lnTo>
                <a:lnTo>
                  <a:pt x="3782" y="1866"/>
                </a:lnTo>
                <a:lnTo>
                  <a:pt x="3779" y="1874"/>
                </a:lnTo>
                <a:lnTo>
                  <a:pt x="3775" y="1882"/>
                </a:lnTo>
                <a:lnTo>
                  <a:pt x="3771" y="1890"/>
                </a:lnTo>
                <a:lnTo>
                  <a:pt x="3766" y="1898"/>
                </a:lnTo>
                <a:lnTo>
                  <a:pt x="3756" y="1914"/>
                </a:lnTo>
                <a:lnTo>
                  <a:pt x="3745" y="1926"/>
                </a:lnTo>
                <a:lnTo>
                  <a:pt x="3739" y="1930"/>
                </a:lnTo>
                <a:lnTo>
                  <a:pt x="3733" y="1936"/>
                </a:lnTo>
                <a:lnTo>
                  <a:pt x="3720" y="1944"/>
                </a:lnTo>
                <a:lnTo>
                  <a:pt x="3714" y="1946"/>
                </a:lnTo>
                <a:lnTo>
                  <a:pt x="3707" y="1950"/>
                </a:lnTo>
                <a:lnTo>
                  <a:pt x="3693" y="1952"/>
                </a:lnTo>
                <a:lnTo>
                  <a:pt x="3685" y="1954"/>
                </a:lnTo>
                <a:lnTo>
                  <a:pt x="3678" y="1954"/>
                </a:lnTo>
                <a:lnTo>
                  <a:pt x="3663" y="1952"/>
                </a:lnTo>
                <a:lnTo>
                  <a:pt x="3649" y="1950"/>
                </a:lnTo>
                <a:lnTo>
                  <a:pt x="3643" y="1946"/>
                </a:lnTo>
                <a:lnTo>
                  <a:pt x="3636" y="1944"/>
                </a:lnTo>
                <a:lnTo>
                  <a:pt x="3624" y="1936"/>
                </a:lnTo>
                <a:lnTo>
                  <a:pt x="3612" y="1926"/>
                </a:lnTo>
                <a:lnTo>
                  <a:pt x="3601" y="1914"/>
                </a:lnTo>
                <a:lnTo>
                  <a:pt x="3591" y="1898"/>
                </a:lnTo>
                <a:lnTo>
                  <a:pt x="3586" y="1890"/>
                </a:lnTo>
                <a:lnTo>
                  <a:pt x="3582" y="1882"/>
                </a:lnTo>
                <a:close/>
                <a:moveTo>
                  <a:pt x="3934" y="1882"/>
                </a:moveTo>
                <a:lnTo>
                  <a:pt x="3927" y="1866"/>
                </a:lnTo>
                <a:lnTo>
                  <a:pt x="3920" y="1848"/>
                </a:lnTo>
                <a:lnTo>
                  <a:pt x="3915" y="1828"/>
                </a:lnTo>
                <a:lnTo>
                  <a:pt x="3912" y="1816"/>
                </a:lnTo>
                <a:lnTo>
                  <a:pt x="3910" y="1806"/>
                </a:lnTo>
                <a:lnTo>
                  <a:pt x="3907" y="1782"/>
                </a:lnTo>
                <a:lnTo>
                  <a:pt x="3904" y="1756"/>
                </a:lnTo>
                <a:lnTo>
                  <a:pt x="3903" y="1742"/>
                </a:lnTo>
                <a:lnTo>
                  <a:pt x="3903" y="1726"/>
                </a:lnTo>
                <a:lnTo>
                  <a:pt x="3902" y="1697"/>
                </a:lnTo>
                <a:lnTo>
                  <a:pt x="3902" y="1166"/>
                </a:lnTo>
                <a:lnTo>
                  <a:pt x="3968" y="1166"/>
                </a:lnTo>
                <a:lnTo>
                  <a:pt x="3968" y="1691"/>
                </a:lnTo>
                <a:lnTo>
                  <a:pt x="3968" y="1711"/>
                </a:lnTo>
                <a:lnTo>
                  <a:pt x="3969" y="1728"/>
                </a:lnTo>
                <a:lnTo>
                  <a:pt x="3970" y="1744"/>
                </a:lnTo>
                <a:lnTo>
                  <a:pt x="3972" y="1758"/>
                </a:lnTo>
                <a:lnTo>
                  <a:pt x="3973" y="1772"/>
                </a:lnTo>
                <a:lnTo>
                  <a:pt x="3976" y="1784"/>
                </a:lnTo>
                <a:lnTo>
                  <a:pt x="3979" y="1796"/>
                </a:lnTo>
                <a:lnTo>
                  <a:pt x="3982" y="1804"/>
                </a:lnTo>
                <a:lnTo>
                  <a:pt x="3986" y="1814"/>
                </a:lnTo>
                <a:lnTo>
                  <a:pt x="3991" y="1822"/>
                </a:lnTo>
                <a:lnTo>
                  <a:pt x="3996" y="1830"/>
                </a:lnTo>
                <a:lnTo>
                  <a:pt x="4002" y="1836"/>
                </a:lnTo>
                <a:lnTo>
                  <a:pt x="4005" y="1838"/>
                </a:lnTo>
                <a:lnTo>
                  <a:pt x="4008" y="1840"/>
                </a:lnTo>
                <a:lnTo>
                  <a:pt x="4015" y="1844"/>
                </a:lnTo>
                <a:lnTo>
                  <a:pt x="4023" y="1846"/>
                </a:lnTo>
                <a:lnTo>
                  <a:pt x="4031" y="1846"/>
                </a:lnTo>
                <a:lnTo>
                  <a:pt x="4040" y="1846"/>
                </a:lnTo>
                <a:lnTo>
                  <a:pt x="4047" y="1844"/>
                </a:lnTo>
                <a:lnTo>
                  <a:pt x="4054" y="1840"/>
                </a:lnTo>
                <a:lnTo>
                  <a:pt x="4061" y="1836"/>
                </a:lnTo>
                <a:lnTo>
                  <a:pt x="4067" y="1830"/>
                </a:lnTo>
                <a:lnTo>
                  <a:pt x="4072" y="1822"/>
                </a:lnTo>
                <a:lnTo>
                  <a:pt x="4077" y="1814"/>
                </a:lnTo>
                <a:lnTo>
                  <a:pt x="4081" y="1804"/>
                </a:lnTo>
                <a:lnTo>
                  <a:pt x="4084" y="1796"/>
                </a:lnTo>
                <a:lnTo>
                  <a:pt x="4087" y="1784"/>
                </a:lnTo>
                <a:lnTo>
                  <a:pt x="4090" y="1772"/>
                </a:lnTo>
                <a:lnTo>
                  <a:pt x="4091" y="1758"/>
                </a:lnTo>
                <a:lnTo>
                  <a:pt x="4093" y="1744"/>
                </a:lnTo>
                <a:lnTo>
                  <a:pt x="4094" y="1728"/>
                </a:lnTo>
                <a:lnTo>
                  <a:pt x="4094" y="1711"/>
                </a:lnTo>
                <a:lnTo>
                  <a:pt x="4094" y="1691"/>
                </a:lnTo>
                <a:lnTo>
                  <a:pt x="4094" y="1166"/>
                </a:lnTo>
                <a:lnTo>
                  <a:pt x="4160" y="1166"/>
                </a:lnTo>
                <a:lnTo>
                  <a:pt x="4160" y="1697"/>
                </a:lnTo>
                <a:lnTo>
                  <a:pt x="4159" y="1726"/>
                </a:lnTo>
                <a:lnTo>
                  <a:pt x="4159" y="1742"/>
                </a:lnTo>
                <a:lnTo>
                  <a:pt x="4158" y="1756"/>
                </a:lnTo>
                <a:lnTo>
                  <a:pt x="4155" y="1782"/>
                </a:lnTo>
                <a:lnTo>
                  <a:pt x="4152" y="1806"/>
                </a:lnTo>
                <a:lnTo>
                  <a:pt x="4149" y="1816"/>
                </a:lnTo>
                <a:lnTo>
                  <a:pt x="4147" y="1828"/>
                </a:lnTo>
                <a:lnTo>
                  <a:pt x="4142" y="1848"/>
                </a:lnTo>
                <a:lnTo>
                  <a:pt x="4139" y="1856"/>
                </a:lnTo>
                <a:lnTo>
                  <a:pt x="4135" y="1866"/>
                </a:lnTo>
                <a:lnTo>
                  <a:pt x="4132" y="1874"/>
                </a:lnTo>
                <a:lnTo>
                  <a:pt x="4128" y="1882"/>
                </a:lnTo>
                <a:lnTo>
                  <a:pt x="4124" y="1890"/>
                </a:lnTo>
                <a:lnTo>
                  <a:pt x="4119" y="1898"/>
                </a:lnTo>
                <a:lnTo>
                  <a:pt x="4109" y="1914"/>
                </a:lnTo>
                <a:lnTo>
                  <a:pt x="4098" y="1926"/>
                </a:lnTo>
                <a:lnTo>
                  <a:pt x="4092" y="1930"/>
                </a:lnTo>
                <a:lnTo>
                  <a:pt x="4086" y="1936"/>
                </a:lnTo>
                <a:lnTo>
                  <a:pt x="4073" y="1944"/>
                </a:lnTo>
                <a:lnTo>
                  <a:pt x="4067" y="1946"/>
                </a:lnTo>
                <a:lnTo>
                  <a:pt x="4060" y="1950"/>
                </a:lnTo>
                <a:lnTo>
                  <a:pt x="4046" y="1952"/>
                </a:lnTo>
                <a:lnTo>
                  <a:pt x="4039" y="1954"/>
                </a:lnTo>
                <a:lnTo>
                  <a:pt x="4031" y="1954"/>
                </a:lnTo>
                <a:lnTo>
                  <a:pt x="4017" y="1952"/>
                </a:lnTo>
                <a:lnTo>
                  <a:pt x="4003" y="1950"/>
                </a:lnTo>
                <a:lnTo>
                  <a:pt x="3996" y="1946"/>
                </a:lnTo>
                <a:lnTo>
                  <a:pt x="3989" y="1944"/>
                </a:lnTo>
                <a:lnTo>
                  <a:pt x="3977" y="1936"/>
                </a:lnTo>
                <a:lnTo>
                  <a:pt x="3965" y="1926"/>
                </a:lnTo>
                <a:lnTo>
                  <a:pt x="3954" y="1914"/>
                </a:lnTo>
                <a:lnTo>
                  <a:pt x="3943" y="1898"/>
                </a:lnTo>
                <a:lnTo>
                  <a:pt x="3938" y="1890"/>
                </a:lnTo>
                <a:lnTo>
                  <a:pt x="3934" y="1882"/>
                </a:lnTo>
                <a:close/>
                <a:moveTo>
                  <a:pt x="4370" y="1954"/>
                </a:moveTo>
                <a:lnTo>
                  <a:pt x="4354" y="1954"/>
                </a:lnTo>
                <a:lnTo>
                  <a:pt x="4339" y="1950"/>
                </a:lnTo>
                <a:lnTo>
                  <a:pt x="4324" y="1944"/>
                </a:lnTo>
                <a:lnTo>
                  <a:pt x="4317" y="1940"/>
                </a:lnTo>
                <a:lnTo>
                  <a:pt x="4310" y="1936"/>
                </a:lnTo>
                <a:lnTo>
                  <a:pt x="4298" y="1928"/>
                </a:lnTo>
                <a:lnTo>
                  <a:pt x="4292" y="1922"/>
                </a:lnTo>
                <a:lnTo>
                  <a:pt x="4287" y="1916"/>
                </a:lnTo>
                <a:lnTo>
                  <a:pt x="4277" y="1902"/>
                </a:lnTo>
                <a:lnTo>
                  <a:pt x="4273" y="1896"/>
                </a:lnTo>
                <a:lnTo>
                  <a:pt x="4268" y="1888"/>
                </a:lnTo>
                <a:lnTo>
                  <a:pt x="4264" y="1880"/>
                </a:lnTo>
                <a:lnTo>
                  <a:pt x="4261" y="1872"/>
                </a:lnTo>
                <a:lnTo>
                  <a:pt x="4257" y="1864"/>
                </a:lnTo>
                <a:lnTo>
                  <a:pt x="4254" y="1854"/>
                </a:lnTo>
                <a:lnTo>
                  <a:pt x="4248" y="1834"/>
                </a:lnTo>
                <a:lnTo>
                  <a:pt x="4244" y="1814"/>
                </a:lnTo>
                <a:lnTo>
                  <a:pt x="4242" y="1804"/>
                </a:lnTo>
                <a:lnTo>
                  <a:pt x="4240" y="1792"/>
                </a:lnTo>
                <a:lnTo>
                  <a:pt x="4237" y="1770"/>
                </a:lnTo>
                <a:lnTo>
                  <a:pt x="4236" y="1746"/>
                </a:lnTo>
                <a:lnTo>
                  <a:pt x="4235" y="1732"/>
                </a:lnTo>
                <a:lnTo>
                  <a:pt x="4235" y="1720"/>
                </a:lnTo>
                <a:lnTo>
                  <a:pt x="4298" y="1693"/>
                </a:lnTo>
                <a:lnTo>
                  <a:pt x="4298" y="1714"/>
                </a:lnTo>
                <a:lnTo>
                  <a:pt x="4299" y="1734"/>
                </a:lnTo>
                <a:lnTo>
                  <a:pt x="4301" y="1750"/>
                </a:lnTo>
                <a:lnTo>
                  <a:pt x="4303" y="1766"/>
                </a:lnTo>
                <a:lnTo>
                  <a:pt x="4305" y="1774"/>
                </a:lnTo>
                <a:lnTo>
                  <a:pt x="4306" y="1782"/>
                </a:lnTo>
                <a:lnTo>
                  <a:pt x="4310" y="1794"/>
                </a:lnTo>
                <a:lnTo>
                  <a:pt x="4314" y="1804"/>
                </a:lnTo>
                <a:lnTo>
                  <a:pt x="4318" y="1814"/>
                </a:lnTo>
                <a:lnTo>
                  <a:pt x="4324" y="1824"/>
                </a:lnTo>
                <a:lnTo>
                  <a:pt x="4330" y="1830"/>
                </a:lnTo>
                <a:lnTo>
                  <a:pt x="4336" y="1836"/>
                </a:lnTo>
                <a:lnTo>
                  <a:pt x="4343" y="1840"/>
                </a:lnTo>
                <a:lnTo>
                  <a:pt x="4350" y="1844"/>
                </a:lnTo>
                <a:lnTo>
                  <a:pt x="4357" y="1846"/>
                </a:lnTo>
                <a:lnTo>
                  <a:pt x="4365" y="1848"/>
                </a:lnTo>
                <a:lnTo>
                  <a:pt x="4374" y="1848"/>
                </a:lnTo>
                <a:lnTo>
                  <a:pt x="4381" y="1848"/>
                </a:lnTo>
                <a:lnTo>
                  <a:pt x="4388" y="1846"/>
                </a:lnTo>
                <a:lnTo>
                  <a:pt x="4395" y="1844"/>
                </a:lnTo>
                <a:lnTo>
                  <a:pt x="4401" y="1842"/>
                </a:lnTo>
                <a:lnTo>
                  <a:pt x="4407" y="1838"/>
                </a:lnTo>
                <a:lnTo>
                  <a:pt x="4413" y="1832"/>
                </a:lnTo>
                <a:lnTo>
                  <a:pt x="4418" y="1826"/>
                </a:lnTo>
                <a:lnTo>
                  <a:pt x="4423" y="1820"/>
                </a:lnTo>
                <a:lnTo>
                  <a:pt x="4427" y="1812"/>
                </a:lnTo>
                <a:lnTo>
                  <a:pt x="4431" y="1804"/>
                </a:lnTo>
                <a:lnTo>
                  <a:pt x="4434" y="1796"/>
                </a:lnTo>
                <a:lnTo>
                  <a:pt x="4437" y="1786"/>
                </a:lnTo>
                <a:lnTo>
                  <a:pt x="4439" y="1774"/>
                </a:lnTo>
                <a:lnTo>
                  <a:pt x="4440" y="1770"/>
                </a:lnTo>
                <a:lnTo>
                  <a:pt x="4441" y="1764"/>
                </a:lnTo>
                <a:lnTo>
                  <a:pt x="4442" y="1752"/>
                </a:lnTo>
                <a:lnTo>
                  <a:pt x="4442" y="1738"/>
                </a:lnTo>
                <a:lnTo>
                  <a:pt x="4442" y="1728"/>
                </a:lnTo>
                <a:lnTo>
                  <a:pt x="4442" y="1718"/>
                </a:lnTo>
                <a:lnTo>
                  <a:pt x="4441" y="1711"/>
                </a:lnTo>
                <a:lnTo>
                  <a:pt x="4439" y="1701"/>
                </a:lnTo>
                <a:lnTo>
                  <a:pt x="4437" y="1693"/>
                </a:lnTo>
                <a:lnTo>
                  <a:pt x="4435" y="1685"/>
                </a:lnTo>
                <a:lnTo>
                  <a:pt x="4433" y="1677"/>
                </a:lnTo>
                <a:lnTo>
                  <a:pt x="4430" y="1669"/>
                </a:lnTo>
                <a:lnTo>
                  <a:pt x="4422" y="1653"/>
                </a:lnTo>
                <a:lnTo>
                  <a:pt x="4418" y="1645"/>
                </a:lnTo>
                <a:lnTo>
                  <a:pt x="4413" y="1639"/>
                </a:lnTo>
                <a:lnTo>
                  <a:pt x="4402" y="1625"/>
                </a:lnTo>
                <a:lnTo>
                  <a:pt x="4389" y="1613"/>
                </a:lnTo>
                <a:lnTo>
                  <a:pt x="4325" y="1555"/>
                </a:lnTo>
                <a:lnTo>
                  <a:pt x="4315" y="1547"/>
                </a:lnTo>
                <a:lnTo>
                  <a:pt x="4305" y="1537"/>
                </a:lnTo>
                <a:lnTo>
                  <a:pt x="4289" y="1517"/>
                </a:lnTo>
                <a:lnTo>
                  <a:pt x="4275" y="1497"/>
                </a:lnTo>
                <a:lnTo>
                  <a:pt x="4270" y="1485"/>
                </a:lnTo>
                <a:lnTo>
                  <a:pt x="4264" y="1473"/>
                </a:lnTo>
                <a:lnTo>
                  <a:pt x="4260" y="1461"/>
                </a:lnTo>
                <a:lnTo>
                  <a:pt x="4255" y="1447"/>
                </a:lnTo>
                <a:lnTo>
                  <a:pt x="4252" y="1433"/>
                </a:lnTo>
                <a:lnTo>
                  <a:pt x="4249" y="1417"/>
                </a:lnTo>
                <a:lnTo>
                  <a:pt x="4247" y="1401"/>
                </a:lnTo>
                <a:lnTo>
                  <a:pt x="4246" y="1393"/>
                </a:lnTo>
                <a:lnTo>
                  <a:pt x="4245" y="1385"/>
                </a:lnTo>
                <a:lnTo>
                  <a:pt x="4244" y="1367"/>
                </a:lnTo>
                <a:lnTo>
                  <a:pt x="4244" y="1347"/>
                </a:lnTo>
                <a:lnTo>
                  <a:pt x="4244" y="1335"/>
                </a:lnTo>
                <a:lnTo>
                  <a:pt x="4245" y="1323"/>
                </a:lnTo>
                <a:lnTo>
                  <a:pt x="4246" y="1311"/>
                </a:lnTo>
                <a:lnTo>
                  <a:pt x="4247" y="1299"/>
                </a:lnTo>
                <a:lnTo>
                  <a:pt x="4248" y="1289"/>
                </a:lnTo>
                <a:lnTo>
                  <a:pt x="4250" y="1279"/>
                </a:lnTo>
                <a:lnTo>
                  <a:pt x="4254" y="1259"/>
                </a:lnTo>
                <a:lnTo>
                  <a:pt x="4257" y="1249"/>
                </a:lnTo>
                <a:lnTo>
                  <a:pt x="4260" y="1241"/>
                </a:lnTo>
                <a:lnTo>
                  <a:pt x="4266" y="1225"/>
                </a:lnTo>
                <a:lnTo>
                  <a:pt x="4273" y="1210"/>
                </a:lnTo>
                <a:lnTo>
                  <a:pt x="4277" y="1204"/>
                </a:lnTo>
                <a:lnTo>
                  <a:pt x="4282" y="1198"/>
                </a:lnTo>
                <a:lnTo>
                  <a:pt x="4291" y="1186"/>
                </a:lnTo>
                <a:lnTo>
                  <a:pt x="4301" y="1176"/>
                </a:lnTo>
                <a:lnTo>
                  <a:pt x="4311" y="1166"/>
                </a:lnTo>
                <a:lnTo>
                  <a:pt x="4323" y="1160"/>
                </a:lnTo>
                <a:lnTo>
                  <a:pt x="4335" y="1154"/>
                </a:lnTo>
                <a:lnTo>
                  <a:pt x="4347" y="1150"/>
                </a:lnTo>
                <a:lnTo>
                  <a:pt x="4360" y="1148"/>
                </a:lnTo>
                <a:lnTo>
                  <a:pt x="4373" y="1148"/>
                </a:lnTo>
                <a:lnTo>
                  <a:pt x="4388" y="1150"/>
                </a:lnTo>
                <a:lnTo>
                  <a:pt x="4403" y="1152"/>
                </a:lnTo>
                <a:lnTo>
                  <a:pt x="4416" y="1158"/>
                </a:lnTo>
                <a:lnTo>
                  <a:pt x="4422" y="1162"/>
                </a:lnTo>
                <a:lnTo>
                  <a:pt x="4428" y="1166"/>
                </a:lnTo>
                <a:lnTo>
                  <a:pt x="4440" y="1174"/>
                </a:lnTo>
                <a:lnTo>
                  <a:pt x="4450" y="1186"/>
                </a:lnTo>
                <a:lnTo>
                  <a:pt x="4459" y="1198"/>
                </a:lnTo>
                <a:lnTo>
                  <a:pt x="4467" y="1212"/>
                </a:lnTo>
                <a:lnTo>
                  <a:pt x="4471" y="1218"/>
                </a:lnTo>
                <a:lnTo>
                  <a:pt x="4474" y="1225"/>
                </a:lnTo>
                <a:lnTo>
                  <a:pt x="4477" y="1233"/>
                </a:lnTo>
                <a:lnTo>
                  <a:pt x="4480" y="1241"/>
                </a:lnTo>
                <a:lnTo>
                  <a:pt x="4485" y="1259"/>
                </a:lnTo>
                <a:lnTo>
                  <a:pt x="4490" y="1275"/>
                </a:lnTo>
                <a:lnTo>
                  <a:pt x="4493" y="1293"/>
                </a:lnTo>
                <a:lnTo>
                  <a:pt x="4495" y="1313"/>
                </a:lnTo>
                <a:lnTo>
                  <a:pt x="4497" y="1331"/>
                </a:lnTo>
                <a:lnTo>
                  <a:pt x="4497" y="1349"/>
                </a:lnTo>
                <a:lnTo>
                  <a:pt x="4435" y="1375"/>
                </a:lnTo>
                <a:lnTo>
                  <a:pt x="4435" y="1359"/>
                </a:lnTo>
                <a:lnTo>
                  <a:pt x="4433" y="1345"/>
                </a:lnTo>
                <a:lnTo>
                  <a:pt x="4432" y="1331"/>
                </a:lnTo>
                <a:lnTo>
                  <a:pt x="4430" y="1319"/>
                </a:lnTo>
                <a:lnTo>
                  <a:pt x="4427" y="1309"/>
                </a:lnTo>
                <a:lnTo>
                  <a:pt x="4426" y="1303"/>
                </a:lnTo>
                <a:lnTo>
                  <a:pt x="4424" y="1299"/>
                </a:lnTo>
                <a:lnTo>
                  <a:pt x="4421" y="1289"/>
                </a:lnTo>
                <a:lnTo>
                  <a:pt x="4417" y="1281"/>
                </a:lnTo>
                <a:lnTo>
                  <a:pt x="4413" y="1275"/>
                </a:lnTo>
                <a:lnTo>
                  <a:pt x="4408" y="1269"/>
                </a:lnTo>
                <a:lnTo>
                  <a:pt x="4403" y="1265"/>
                </a:lnTo>
                <a:lnTo>
                  <a:pt x="4397" y="1261"/>
                </a:lnTo>
                <a:lnTo>
                  <a:pt x="4391" y="1257"/>
                </a:lnTo>
                <a:lnTo>
                  <a:pt x="4385" y="1255"/>
                </a:lnTo>
                <a:lnTo>
                  <a:pt x="4378" y="1255"/>
                </a:lnTo>
                <a:lnTo>
                  <a:pt x="4370" y="1253"/>
                </a:lnTo>
                <a:lnTo>
                  <a:pt x="4358" y="1255"/>
                </a:lnTo>
                <a:lnTo>
                  <a:pt x="4346" y="1259"/>
                </a:lnTo>
                <a:lnTo>
                  <a:pt x="4341" y="1263"/>
                </a:lnTo>
                <a:lnTo>
                  <a:pt x="4336" y="1267"/>
                </a:lnTo>
                <a:lnTo>
                  <a:pt x="4331" y="1271"/>
                </a:lnTo>
                <a:lnTo>
                  <a:pt x="4327" y="1275"/>
                </a:lnTo>
                <a:lnTo>
                  <a:pt x="4323" y="1281"/>
                </a:lnTo>
                <a:lnTo>
                  <a:pt x="4319" y="1287"/>
                </a:lnTo>
                <a:lnTo>
                  <a:pt x="4316" y="1295"/>
                </a:lnTo>
                <a:lnTo>
                  <a:pt x="4313" y="1303"/>
                </a:lnTo>
                <a:lnTo>
                  <a:pt x="4311" y="1311"/>
                </a:lnTo>
                <a:lnTo>
                  <a:pt x="4310" y="1321"/>
                </a:lnTo>
                <a:lnTo>
                  <a:pt x="4309" y="1331"/>
                </a:lnTo>
                <a:lnTo>
                  <a:pt x="4308" y="1341"/>
                </a:lnTo>
                <a:lnTo>
                  <a:pt x="4309" y="1351"/>
                </a:lnTo>
                <a:lnTo>
                  <a:pt x="4309" y="1361"/>
                </a:lnTo>
                <a:lnTo>
                  <a:pt x="4310" y="1371"/>
                </a:lnTo>
                <a:lnTo>
                  <a:pt x="4311" y="1379"/>
                </a:lnTo>
                <a:lnTo>
                  <a:pt x="4313" y="1387"/>
                </a:lnTo>
                <a:lnTo>
                  <a:pt x="4315" y="1395"/>
                </a:lnTo>
                <a:lnTo>
                  <a:pt x="4318" y="1403"/>
                </a:lnTo>
                <a:lnTo>
                  <a:pt x="4321" y="1409"/>
                </a:lnTo>
                <a:lnTo>
                  <a:pt x="4325" y="1415"/>
                </a:lnTo>
                <a:lnTo>
                  <a:pt x="4328" y="1421"/>
                </a:lnTo>
                <a:lnTo>
                  <a:pt x="4337" y="1433"/>
                </a:lnTo>
                <a:lnTo>
                  <a:pt x="4347" y="1445"/>
                </a:lnTo>
                <a:lnTo>
                  <a:pt x="4359" y="1457"/>
                </a:lnTo>
                <a:lnTo>
                  <a:pt x="4421" y="1511"/>
                </a:lnTo>
                <a:lnTo>
                  <a:pt x="4431" y="1521"/>
                </a:lnTo>
                <a:lnTo>
                  <a:pt x="4442" y="1531"/>
                </a:lnTo>
                <a:lnTo>
                  <a:pt x="4451" y="1541"/>
                </a:lnTo>
                <a:lnTo>
                  <a:pt x="4459" y="1553"/>
                </a:lnTo>
                <a:lnTo>
                  <a:pt x="4467" y="1565"/>
                </a:lnTo>
                <a:lnTo>
                  <a:pt x="4474" y="1575"/>
                </a:lnTo>
                <a:lnTo>
                  <a:pt x="4480" y="1589"/>
                </a:lnTo>
                <a:lnTo>
                  <a:pt x="4486" y="1601"/>
                </a:lnTo>
                <a:lnTo>
                  <a:pt x="4491" y="1615"/>
                </a:lnTo>
                <a:lnTo>
                  <a:pt x="4495" y="1629"/>
                </a:lnTo>
                <a:lnTo>
                  <a:pt x="4499" y="1643"/>
                </a:lnTo>
                <a:lnTo>
                  <a:pt x="4502" y="1659"/>
                </a:lnTo>
                <a:lnTo>
                  <a:pt x="4504" y="1675"/>
                </a:lnTo>
                <a:lnTo>
                  <a:pt x="4505" y="1685"/>
                </a:lnTo>
                <a:lnTo>
                  <a:pt x="4505" y="1693"/>
                </a:lnTo>
                <a:lnTo>
                  <a:pt x="4506" y="1711"/>
                </a:lnTo>
                <a:lnTo>
                  <a:pt x="4507" y="1730"/>
                </a:lnTo>
                <a:lnTo>
                  <a:pt x="4506" y="1756"/>
                </a:lnTo>
                <a:lnTo>
                  <a:pt x="4504" y="1780"/>
                </a:lnTo>
                <a:lnTo>
                  <a:pt x="4503" y="1792"/>
                </a:lnTo>
                <a:lnTo>
                  <a:pt x="4501" y="1802"/>
                </a:lnTo>
                <a:lnTo>
                  <a:pt x="4499" y="1814"/>
                </a:lnTo>
                <a:lnTo>
                  <a:pt x="4497" y="1824"/>
                </a:lnTo>
                <a:lnTo>
                  <a:pt x="4494" y="1834"/>
                </a:lnTo>
                <a:lnTo>
                  <a:pt x="4492" y="1844"/>
                </a:lnTo>
                <a:lnTo>
                  <a:pt x="4485" y="1862"/>
                </a:lnTo>
                <a:lnTo>
                  <a:pt x="4482" y="1870"/>
                </a:lnTo>
                <a:lnTo>
                  <a:pt x="4478" y="1880"/>
                </a:lnTo>
                <a:lnTo>
                  <a:pt x="4470" y="1894"/>
                </a:lnTo>
                <a:lnTo>
                  <a:pt x="4465" y="1902"/>
                </a:lnTo>
                <a:lnTo>
                  <a:pt x="4460" y="1908"/>
                </a:lnTo>
                <a:lnTo>
                  <a:pt x="4455" y="1914"/>
                </a:lnTo>
                <a:lnTo>
                  <a:pt x="4450" y="1920"/>
                </a:lnTo>
                <a:lnTo>
                  <a:pt x="4439" y="1930"/>
                </a:lnTo>
                <a:lnTo>
                  <a:pt x="4427" y="1938"/>
                </a:lnTo>
                <a:lnTo>
                  <a:pt x="4414" y="1946"/>
                </a:lnTo>
                <a:lnTo>
                  <a:pt x="4400" y="1950"/>
                </a:lnTo>
                <a:lnTo>
                  <a:pt x="4393" y="1952"/>
                </a:lnTo>
                <a:lnTo>
                  <a:pt x="4386" y="1952"/>
                </a:lnTo>
                <a:lnTo>
                  <a:pt x="4370" y="19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7DE48D-705B-612C-7DFA-B303012D79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98587" y="5517232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F5A17A4-EA2D-AFFF-38DF-9699B925DC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98587" y="5805264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1421969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6924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oitusdia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89437-0A9F-6907-E834-ECE3DB6251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1700" cy="2304529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BA9B7E5-3139-76AA-C2C3-60620F1D9B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4509120"/>
            <a:ext cx="9791700" cy="864096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98F4D-E89B-8263-EB37-8F8B305D4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46CFEC8D-D4B6-4EFF-93DA-18D3CC4E5D3B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B5C31-D7B7-0A4A-9FF1-A8910751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9B765-A518-625F-2D82-59131FF13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CD5646D-347F-0693-85B7-82EEFAEE1F7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07368" y="333375"/>
            <a:ext cx="2325003" cy="504000"/>
          </a:xfrm>
          <a:custGeom>
            <a:avLst/>
            <a:gdLst>
              <a:gd name="T0" fmla="*/ 11 w 4507"/>
              <a:gd name="T1" fmla="*/ 18 h 1954"/>
              <a:gd name="T2" fmla="*/ 659 w 4507"/>
              <a:gd name="T3" fmla="*/ 297 h 1954"/>
              <a:gd name="T4" fmla="*/ 666 w 4507"/>
              <a:gd name="T5" fmla="*/ 916 h 1954"/>
              <a:gd name="T6" fmla="*/ 347 w 4507"/>
              <a:gd name="T7" fmla="*/ 880 h 1954"/>
              <a:gd name="T8" fmla="*/ 471 w 4507"/>
              <a:gd name="T9" fmla="*/ 675 h 1954"/>
              <a:gd name="T10" fmla="*/ 375 w 4507"/>
              <a:gd name="T11" fmla="*/ 401 h 1954"/>
              <a:gd name="T12" fmla="*/ 1722 w 4507"/>
              <a:gd name="T13" fmla="*/ 26 h 1954"/>
              <a:gd name="T14" fmla="*/ 1804 w 4507"/>
              <a:gd name="T15" fmla="*/ 309 h 1954"/>
              <a:gd name="T16" fmla="*/ 1741 w 4507"/>
              <a:gd name="T17" fmla="*/ 269 h 1954"/>
              <a:gd name="T18" fmla="*/ 1854 w 4507"/>
              <a:gd name="T19" fmla="*/ 788 h 1954"/>
              <a:gd name="T20" fmla="*/ 2410 w 4507"/>
              <a:gd name="T21" fmla="*/ 18 h 1954"/>
              <a:gd name="T22" fmla="*/ 3053 w 4507"/>
              <a:gd name="T23" fmla="*/ 553 h 1954"/>
              <a:gd name="T24" fmla="*/ 3419 w 4507"/>
              <a:gd name="T25" fmla="*/ 539 h 1954"/>
              <a:gd name="T26" fmla="*/ 3595 w 4507"/>
              <a:gd name="T27" fmla="*/ 659 h 1954"/>
              <a:gd name="T28" fmla="*/ 3699 w 4507"/>
              <a:gd name="T29" fmla="*/ 697 h 1954"/>
              <a:gd name="T30" fmla="*/ 3842 w 4507"/>
              <a:gd name="T31" fmla="*/ 595 h 1954"/>
              <a:gd name="T32" fmla="*/ 3700 w 4507"/>
              <a:gd name="T33" fmla="*/ 806 h 1954"/>
              <a:gd name="T34" fmla="*/ 3943 w 4507"/>
              <a:gd name="T35" fmla="*/ 725 h 1954"/>
              <a:gd name="T36" fmla="*/ 4018 w 4507"/>
              <a:gd name="T37" fmla="*/ 689 h 1954"/>
              <a:gd name="T38" fmla="*/ 4124 w 4507"/>
              <a:gd name="T39" fmla="*/ 581 h 1954"/>
              <a:gd name="T40" fmla="*/ 3931 w 4507"/>
              <a:gd name="T41" fmla="*/ 269 h 1954"/>
              <a:gd name="T42" fmla="*/ 4017 w 4507"/>
              <a:gd name="T43" fmla="*/ 6 h 1954"/>
              <a:gd name="T44" fmla="*/ 4117 w 4507"/>
              <a:gd name="T45" fmla="*/ 228 h 1954"/>
              <a:gd name="T46" fmla="*/ 4005 w 4507"/>
              <a:gd name="T47" fmla="*/ 134 h 1954"/>
              <a:gd name="T48" fmla="*/ 4123 w 4507"/>
              <a:gd name="T49" fmla="*/ 383 h 1954"/>
              <a:gd name="T50" fmla="*/ 4174 w 4507"/>
              <a:gd name="T51" fmla="*/ 697 h 1954"/>
              <a:gd name="T52" fmla="*/ 1767 w 4507"/>
              <a:gd name="T53" fmla="*/ 1273 h 1954"/>
              <a:gd name="T54" fmla="*/ 2197 w 4507"/>
              <a:gd name="T55" fmla="*/ 1926 h 1954"/>
              <a:gd name="T56" fmla="*/ 2114 w 4507"/>
              <a:gd name="T57" fmla="*/ 1551 h 1954"/>
              <a:gd name="T58" fmla="*/ 2226 w 4507"/>
              <a:gd name="T59" fmla="*/ 1156 h 1954"/>
              <a:gd name="T60" fmla="*/ 2385 w 4507"/>
              <a:gd name="T61" fmla="*/ 1313 h 1954"/>
              <a:gd name="T62" fmla="*/ 2373 w 4507"/>
              <a:gd name="T63" fmla="*/ 1834 h 1954"/>
              <a:gd name="T64" fmla="*/ 2227 w 4507"/>
              <a:gd name="T65" fmla="*/ 1271 h 1954"/>
              <a:gd name="T66" fmla="*/ 2192 w 4507"/>
              <a:gd name="T67" fmla="*/ 1738 h 1954"/>
              <a:gd name="T68" fmla="*/ 2323 w 4507"/>
              <a:gd name="T69" fmla="*/ 1760 h 1954"/>
              <a:gd name="T70" fmla="*/ 2273 w 4507"/>
              <a:gd name="T71" fmla="*/ 1259 h 1954"/>
              <a:gd name="T72" fmla="*/ 3321 w 4507"/>
              <a:gd name="T73" fmla="*/ 1954 h 1954"/>
              <a:gd name="T74" fmla="*/ 3265 w 4507"/>
              <a:gd name="T75" fmla="*/ 1693 h 1954"/>
              <a:gd name="T76" fmla="*/ 3380 w 4507"/>
              <a:gd name="T77" fmla="*/ 1832 h 1954"/>
              <a:gd name="T78" fmla="*/ 3369 w 4507"/>
              <a:gd name="T79" fmla="*/ 1625 h 1954"/>
              <a:gd name="T80" fmla="*/ 3218 w 4507"/>
              <a:gd name="T81" fmla="*/ 1279 h 1954"/>
              <a:gd name="T82" fmla="*/ 3426 w 4507"/>
              <a:gd name="T83" fmla="*/ 1198 h 1954"/>
              <a:gd name="T84" fmla="*/ 3370 w 4507"/>
              <a:gd name="T85" fmla="*/ 1265 h 1954"/>
              <a:gd name="T86" fmla="*/ 3279 w 4507"/>
              <a:gd name="T87" fmla="*/ 1379 h 1954"/>
              <a:gd name="T88" fmla="*/ 3471 w 4507"/>
              <a:gd name="T89" fmla="*/ 1675 h 1954"/>
              <a:gd name="T90" fmla="*/ 3381 w 4507"/>
              <a:gd name="T91" fmla="*/ 1946 h 1954"/>
              <a:gd name="T92" fmla="*/ 3620 w 4507"/>
              <a:gd name="T93" fmla="*/ 1772 h 1954"/>
              <a:gd name="T94" fmla="*/ 3736 w 4507"/>
              <a:gd name="T95" fmla="*/ 1772 h 1954"/>
              <a:gd name="T96" fmla="*/ 3756 w 4507"/>
              <a:gd name="T97" fmla="*/ 1914 h 1954"/>
              <a:gd name="T98" fmla="*/ 3915 w 4507"/>
              <a:gd name="T99" fmla="*/ 1828 h 1954"/>
              <a:gd name="T100" fmla="*/ 4005 w 4507"/>
              <a:gd name="T101" fmla="*/ 1838 h 1954"/>
              <a:gd name="T102" fmla="*/ 4160 w 4507"/>
              <a:gd name="T103" fmla="*/ 1697 h 1954"/>
              <a:gd name="T104" fmla="*/ 4039 w 4507"/>
              <a:gd name="T105" fmla="*/ 1954 h 1954"/>
              <a:gd name="T106" fmla="*/ 4268 w 4507"/>
              <a:gd name="T107" fmla="*/ 1888 h 1954"/>
              <a:gd name="T108" fmla="*/ 4324 w 4507"/>
              <a:gd name="T109" fmla="*/ 1824 h 1954"/>
              <a:gd name="T110" fmla="*/ 4442 w 4507"/>
              <a:gd name="T111" fmla="*/ 1752 h 1954"/>
              <a:gd name="T112" fmla="*/ 4255 w 4507"/>
              <a:gd name="T113" fmla="*/ 1447 h 1954"/>
              <a:gd name="T114" fmla="*/ 4311 w 4507"/>
              <a:gd name="T115" fmla="*/ 1166 h 1954"/>
              <a:gd name="T116" fmla="*/ 4497 w 4507"/>
              <a:gd name="T117" fmla="*/ 1331 h 1954"/>
              <a:gd name="T118" fmla="*/ 4336 w 4507"/>
              <a:gd name="T119" fmla="*/ 1267 h 1954"/>
              <a:gd name="T120" fmla="*/ 4359 w 4507"/>
              <a:gd name="T121" fmla="*/ 1457 h 1954"/>
              <a:gd name="T122" fmla="*/ 4499 w 4507"/>
              <a:gd name="T123" fmla="*/ 1814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507" h="1954">
                <a:moveTo>
                  <a:pt x="4307" y="327"/>
                </a:moveTo>
                <a:lnTo>
                  <a:pt x="4377" y="327"/>
                </a:lnTo>
                <a:lnTo>
                  <a:pt x="4377" y="463"/>
                </a:lnTo>
                <a:lnTo>
                  <a:pt x="4307" y="463"/>
                </a:lnTo>
                <a:lnTo>
                  <a:pt x="4307" y="327"/>
                </a:lnTo>
                <a:close/>
                <a:moveTo>
                  <a:pt x="1248" y="18"/>
                </a:moveTo>
                <a:lnTo>
                  <a:pt x="1248" y="473"/>
                </a:lnTo>
                <a:lnTo>
                  <a:pt x="1051" y="473"/>
                </a:lnTo>
                <a:lnTo>
                  <a:pt x="1051" y="1936"/>
                </a:lnTo>
                <a:lnTo>
                  <a:pt x="821" y="1936"/>
                </a:lnTo>
                <a:lnTo>
                  <a:pt x="821" y="473"/>
                </a:lnTo>
                <a:lnTo>
                  <a:pt x="655" y="18"/>
                </a:lnTo>
                <a:lnTo>
                  <a:pt x="1248" y="18"/>
                </a:lnTo>
                <a:close/>
                <a:moveTo>
                  <a:pt x="0" y="1481"/>
                </a:moveTo>
                <a:lnTo>
                  <a:pt x="230" y="1481"/>
                </a:lnTo>
                <a:lnTo>
                  <a:pt x="230" y="1936"/>
                </a:lnTo>
                <a:lnTo>
                  <a:pt x="0" y="1936"/>
                </a:lnTo>
                <a:lnTo>
                  <a:pt x="0" y="1481"/>
                </a:lnTo>
                <a:close/>
                <a:moveTo>
                  <a:pt x="487" y="1186"/>
                </a:moveTo>
                <a:lnTo>
                  <a:pt x="752" y="1936"/>
                </a:lnTo>
                <a:lnTo>
                  <a:pt x="495" y="1936"/>
                </a:lnTo>
                <a:lnTo>
                  <a:pt x="11" y="559"/>
                </a:lnTo>
                <a:lnTo>
                  <a:pt x="11" y="18"/>
                </a:lnTo>
                <a:lnTo>
                  <a:pt x="309" y="18"/>
                </a:lnTo>
                <a:lnTo>
                  <a:pt x="335" y="18"/>
                </a:lnTo>
                <a:lnTo>
                  <a:pt x="359" y="20"/>
                </a:lnTo>
                <a:lnTo>
                  <a:pt x="382" y="24"/>
                </a:lnTo>
                <a:lnTo>
                  <a:pt x="404" y="30"/>
                </a:lnTo>
                <a:lnTo>
                  <a:pt x="426" y="36"/>
                </a:lnTo>
                <a:lnTo>
                  <a:pt x="447" y="44"/>
                </a:lnTo>
                <a:lnTo>
                  <a:pt x="467" y="52"/>
                </a:lnTo>
                <a:lnTo>
                  <a:pt x="476" y="58"/>
                </a:lnTo>
                <a:lnTo>
                  <a:pt x="486" y="62"/>
                </a:lnTo>
                <a:lnTo>
                  <a:pt x="504" y="74"/>
                </a:lnTo>
                <a:lnTo>
                  <a:pt x="521" y="88"/>
                </a:lnTo>
                <a:lnTo>
                  <a:pt x="538" y="102"/>
                </a:lnTo>
                <a:lnTo>
                  <a:pt x="553" y="116"/>
                </a:lnTo>
                <a:lnTo>
                  <a:pt x="569" y="132"/>
                </a:lnTo>
                <a:lnTo>
                  <a:pt x="583" y="150"/>
                </a:lnTo>
                <a:lnTo>
                  <a:pt x="596" y="168"/>
                </a:lnTo>
                <a:lnTo>
                  <a:pt x="609" y="188"/>
                </a:lnTo>
                <a:lnTo>
                  <a:pt x="620" y="208"/>
                </a:lnTo>
                <a:lnTo>
                  <a:pt x="631" y="230"/>
                </a:lnTo>
                <a:lnTo>
                  <a:pt x="641" y="251"/>
                </a:lnTo>
                <a:lnTo>
                  <a:pt x="650" y="273"/>
                </a:lnTo>
                <a:lnTo>
                  <a:pt x="659" y="297"/>
                </a:lnTo>
                <a:lnTo>
                  <a:pt x="666" y="323"/>
                </a:lnTo>
                <a:lnTo>
                  <a:pt x="673" y="349"/>
                </a:lnTo>
                <a:lnTo>
                  <a:pt x="680" y="375"/>
                </a:lnTo>
                <a:lnTo>
                  <a:pt x="685" y="401"/>
                </a:lnTo>
                <a:lnTo>
                  <a:pt x="690" y="429"/>
                </a:lnTo>
                <a:lnTo>
                  <a:pt x="694" y="459"/>
                </a:lnTo>
                <a:lnTo>
                  <a:pt x="697" y="487"/>
                </a:lnTo>
                <a:lnTo>
                  <a:pt x="699" y="517"/>
                </a:lnTo>
                <a:lnTo>
                  <a:pt x="701" y="547"/>
                </a:lnTo>
                <a:lnTo>
                  <a:pt x="702" y="579"/>
                </a:lnTo>
                <a:lnTo>
                  <a:pt x="703" y="611"/>
                </a:lnTo>
                <a:lnTo>
                  <a:pt x="702" y="661"/>
                </a:lnTo>
                <a:lnTo>
                  <a:pt x="701" y="687"/>
                </a:lnTo>
                <a:lnTo>
                  <a:pt x="699" y="711"/>
                </a:lnTo>
                <a:lnTo>
                  <a:pt x="697" y="735"/>
                </a:lnTo>
                <a:lnTo>
                  <a:pt x="695" y="758"/>
                </a:lnTo>
                <a:lnTo>
                  <a:pt x="692" y="782"/>
                </a:lnTo>
                <a:lnTo>
                  <a:pt x="689" y="806"/>
                </a:lnTo>
                <a:lnTo>
                  <a:pt x="685" y="830"/>
                </a:lnTo>
                <a:lnTo>
                  <a:pt x="681" y="852"/>
                </a:lnTo>
                <a:lnTo>
                  <a:pt x="677" y="874"/>
                </a:lnTo>
                <a:lnTo>
                  <a:pt x="672" y="896"/>
                </a:lnTo>
                <a:lnTo>
                  <a:pt x="666" y="916"/>
                </a:lnTo>
                <a:lnTo>
                  <a:pt x="661" y="938"/>
                </a:lnTo>
                <a:lnTo>
                  <a:pt x="655" y="958"/>
                </a:lnTo>
                <a:lnTo>
                  <a:pt x="648" y="976"/>
                </a:lnTo>
                <a:lnTo>
                  <a:pt x="641" y="996"/>
                </a:lnTo>
                <a:lnTo>
                  <a:pt x="634" y="1014"/>
                </a:lnTo>
                <a:lnTo>
                  <a:pt x="626" y="1030"/>
                </a:lnTo>
                <a:lnTo>
                  <a:pt x="618" y="1048"/>
                </a:lnTo>
                <a:lnTo>
                  <a:pt x="609" y="1064"/>
                </a:lnTo>
                <a:lnTo>
                  <a:pt x="600" y="1080"/>
                </a:lnTo>
                <a:lnTo>
                  <a:pt x="591" y="1094"/>
                </a:lnTo>
                <a:lnTo>
                  <a:pt x="581" y="1108"/>
                </a:lnTo>
                <a:lnTo>
                  <a:pt x="571" y="1120"/>
                </a:lnTo>
                <a:lnTo>
                  <a:pt x="559" y="1132"/>
                </a:lnTo>
                <a:lnTo>
                  <a:pt x="548" y="1144"/>
                </a:lnTo>
                <a:lnTo>
                  <a:pt x="537" y="1154"/>
                </a:lnTo>
                <a:lnTo>
                  <a:pt x="525" y="1164"/>
                </a:lnTo>
                <a:lnTo>
                  <a:pt x="513" y="1172"/>
                </a:lnTo>
                <a:lnTo>
                  <a:pt x="500" y="1180"/>
                </a:lnTo>
                <a:lnTo>
                  <a:pt x="487" y="1186"/>
                </a:lnTo>
                <a:close/>
                <a:moveTo>
                  <a:pt x="239" y="391"/>
                </a:moveTo>
                <a:lnTo>
                  <a:pt x="239" y="880"/>
                </a:lnTo>
                <a:lnTo>
                  <a:pt x="337" y="880"/>
                </a:lnTo>
                <a:lnTo>
                  <a:pt x="347" y="880"/>
                </a:lnTo>
                <a:lnTo>
                  <a:pt x="357" y="880"/>
                </a:lnTo>
                <a:lnTo>
                  <a:pt x="367" y="878"/>
                </a:lnTo>
                <a:lnTo>
                  <a:pt x="376" y="874"/>
                </a:lnTo>
                <a:lnTo>
                  <a:pt x="384" y="872"/>
                </a:lnTo>
                <a:lnTo>
                  <a:pt x="392" y="868"/>
                </a:lnTo>
                <a:lnTo>
                  <a:pt x="400" y="862"/>
                </a:lnTo>
                <a:lnTo>
                  <a:pt x="407" y="858"/>
                </a:lnTo>
                <a:lnTo>
                  <a:pt x="413" y="852"/>
                </a:lnTo>
                <a:lnTo>
                  <a:pt x="419" y="844"/>
                </a:lnTo>
                <a:lnTo>
                  <a:pt x="425" y="838"/>
                </a:lnTo>
                <a:lnTo>
                  <a:pt x="430" y="830"/>
                </a:lnTo>
                <a:lnTo>
                  <a:pt x="435" y="822"/>
                </a:lnTo>
                <a:lnTo>
                  <a:pt x="440" y="814"/>
                </a:lnTo>
                <a:lnTo>
                  <a:pt x="444" y="806"/>
                </a:lnTo>
                <a:lnTo>
                  <a:pt x="448" y="796"/>
                </a:lnTo>
                <a:lnTo>
                  <a:pt x="451" y="788"/>
                </a:lnTo>
                <a:lnTo>
                  <a:pt x="454" y="778"/>
                </a:lnTo>
                <a:lnTo>
                  <a:pt x="457" y="768"/>
                </a:lnTo>
                <a:lnTo>
                  <a:pt x="460" y="758"/>
                </a:lnTo>
                <a:lnTo>
                  <a:pt x="464" y="738"/>
                </a:lnTo>
                <a:lnTo>
                  <a:pt x="467" y="717"/>
                </a:lnTo>
                <a:lnTo>
                  <a:pt x="470" y="697"/>
                </a:lnTo>
                <a:lnTo>
                  <a:pt x="471" y="675"/>
                </a:lnTo>
                <a:lnTo>
                  <a:pt x="472" y="655"/>
                </a:lnTo>
                <a:lnTo>
                  <a:pt x="472" y="635"/>
                </a:lnTo>
                <a:lnTo>
                  <a:pt x="472" y="615"/>
                </a:lnTo>
                <a:lnTo>
                  <a:pt x="470" y="593"/>
                </a:lnTo>
                <a:lnTo>
                  <a:pt x="468" y="573"/>
                </a:lnTo>
                <a:lnTo>
                  <a:pt x="464" y="551"/>
                </a:lnTo>
                <a:lnTo>
                  <a:pt x="462" y="541"/>
                </a:lnTo>
                <a:lnTo>
                  <a:pt x="459" y="531"/>
                </a:lnTo>
                <a:lnTo>
                  <a:pt x="457" y="521"/>
                </a:lnTo>
                <a:lnTo>
                  <a:pt x="454" y="511"/>
                </a:lnTo>
                <a:lnTo>
                  <a:pt x="447" y="491"/>
                </a:lnTo>
                <a:lnTo>
                  <a:pt x="443" y="483"/>
                </a:lnTo>
                <a:lnTo>
                  <a:pt x="439" y="473"/>
                </a:lnTo>
                <a:lnTo>
                  <a:pt x="435" y="465"/>
                </a:lnTo>
                <a:lnTo>
                  <a:pt x="430" y="457"/>
                </a:lnTo>
                <a:lnTo>
                  <a:pt x="420" y="441"/>
                </a:lnTo>
                <a:lnTo>
                  <a:pt x="414" y="433"/>
                </a:lnTo>
                <a:lnTo>
                  <a:pt x="408" y="427"/>
                </a:lnTo>
                <a:lnTo>
                  <a:pt x="402" y="421"/>
                </a:lnTo>
                <a:lnTo>
                  <a:pt x="396" y="415"/>
                </a:lnTo>
                <a:lnTo>
                  <a:pt x="389" y="409"/>
                </a:lnTo>
                <a:lnTo>
                  <a:pt x="382" y="405"/>
                </a:lnTo>
                <a:lnTo>
                  <a:pt x="375" y="401"/>
                </a:lnTo>
                <a:lnTo>
                  <a:pt x="367" y="397"/>
                </a:lnTo>
                <a:lnTo>
                  <a:pt x="359" y="395"/>
                </a:lnTo>
                <a:lnTo>
                  <a:pt x="351" y="393"/>
                </a:lnTo>
                <a:lnTo>
                  <a:pt x="333" y="391"/>
                </a:lnTo>
                <a:lnTo>
                  <a:pt x="239" y="391"/>
                </a:lnTo>
                <a:close/>
                <a:moveTo>
                  <a:pt x="1780" y="395"/>
                </a:moveTo>
                <a:lnTo>
                  <a:pt x="1776" y="403"/>
                </a:lnTo>
                <a:lnTo>
                  <a:pt x="1772" y="411"/>
                </a:lnTo>
                <a:lnTo>
                  <a:pt x="1763" y="423"/>
                </a:lnTo>
                <a:lnTo>
                  <a:pt x="1754" y="433"/>
                </a:lnTo>
                <a:lnTo>
                  <a:pt x="1743" y="443"/>
                </a:lnTo>
                <a:lnTo>
                  <a:pt x="1814" y="788"/>
                </a:lnTo>
                <a:lnTo>
                  <a:pt x="1742" y="788"/>
                </a:lnTo>
                <a:lnTo>
                  <a:pt x="1683" y="465"/>
                </a:lnTo>
                <a:lnTo>
                  <a:pt x="1607" y="465"/>
                </a:lnTo>
                <a:lnTo>
                  <a:pt x="1607" y="788"/>
                </a:lnTo>
                <a:lnTo>
                  <a:pt x="1543" y="788"/>
                </a:lnTo>
                <a:lnTo>
                  <a:pt x="1543" y="18"/>
                </a:lnTo>
                <a:lnTo>
                  <a:pt x="1681" y="18"/>
                </a:lnTo>
                <a:lnTo>
                  <a:pt x="1696" y="18"/>
                </a:lnTo>
                <a:lnTo>
                  <a:pt x="1703" y="20"/>
                </a:lnTo>
                <a:lnTo>
                  <a:pt x="1710" y="22"/>
                </a:lnTo>
                <a:lnTo>
                  <a:pt x="1722" y="26"/>
                </a:lnTo>
                <a:lnTo>
                  <a:pt x="1734" y="32"/>
                </a:lnTo>
                <a:lnTo>
                  <a:pt x="1745" y="40"/>
                </a:lnTo>
                <a:lnTo>
                  <a:pt x="1755" y="50"/>
                </a:lnTo>
                <a:lnTo>
                  <a:pt x="1765" y="62"/>
                </a:lnTo>
                <a:lnTo>
                  <a:pt x="1769" y="68"/>
                </a:lnTo>
                <a:lnTo>
                  <a:pt x="1773" y="76"/>
                </a:lnTo>
                <a:lnTo>
                  <a:pt x="1781" y="92"/>
                </a:lnTo>
                <a:lnTo>
                  <a:pt x="1788" y="108"/>
                </a:lnTo>
                <a:lnTo>
                  <a:pt x="1791" y="118"/>
                </a:lnTo>
                <a:lnTo>
                  <a:pt x="1794" y="126"/>
                </a:lnTo>
                <a:lnTo>
                  <a:pt x="1799" y="146"/>
                </a:lnTo>
                <a:lnTo>
                  <a:pt x="1803" y="168"/>
                </a:lnTo>
                <a:lnTo>
                  <a:pt x="1805" y="178"/>
                </a:lnTo>
                <a:lnTo>
                  <a:pt x="1806" y="190"/>
                </a:lnTo>
                <a:lnTo>
                  <a:pt x="1807" y="200"/>
                </a:lnTo>
                <a:lnTo>
                  <a:pt x="1808" y="212"/>
                </a:lnTo>
                <a:lnTo>
                  <a:pt x="1808" y="224"/>
                </a:lnTo>
                <a:lnTo>
                  <a:pt x="1808" y="236"/>
                </a:lnTo>
                <a:lnTo>
                  <a:pt x="1808" y="263"/>
                </a:lnTo>
                <a:lnTo>
                  <a:pt x="1807" y="275"/>
                </a:lnTo>
                <a:lnTo>
                  <a:pt x="1806" y="287"/>
                </a:lnTo>
                <a:lnTo>
                  <a:pt x="1805" y="299"/>
                </a:lnTo>
                <a:lnTo>
                  <a:pt x="1804" y="309"/>
                </a:lnTo>
                <a:lnTo>
                  <a:pt x="1801" y="331"/>
                </a:lnTo>
                <a:lnTo>
                  <a:pt x="1797" y="349"/>
                </a:lnTo>
                <a:lnTo>
                  <a:pt x="1792" y="367"/>
                </a:lnTo>
                <a:lnTo>
                  <a:pt x="1786" y="381"/>
                </a:lnTo>
                <a:lnTo>
                  <a:pt x="1780" y="395"/>
                </a:lnTo>
                <a:close/>
                <a:moveTo>
                  <a:pt x="1678" y="122"/>
                </a:moveTo>
                <a:lnTo>
                  <a:pt x="1607" y="122"/>
                </a:lnTo>
                <a:lnTo>
                  <a:pt x="1607" y="365"/>
                </a:lnTo>
                <a:lnTo>
                  <a:pt x="1678" y="365"/>
                </a:lnTo>
                <a:lnTo>
                  <a:pt x="1686" y="363"/>
                </a:lnTo>
                <a:lnTo>
                  <a:pt x="1694" y="361"/>
                </a:lnTo>
                <a:lnTo>
                  <a:pt x="1700" y="359"/>
                </a:lnTo>
                <a:lnTo>
                  <a:pt x="1707" y="355"/>
                </a:lnTo>
                <a:lnTo>
                  <a:pt x="1712" y="351"/>
                </a:lnTo>
                <a:lnTo>
                  <a:pt x="1717" y="345"/>
                </a:lnTo>
                <a:lnTo>
                  <a:pt x="1722" y="339"/>
                </a:lnTo>
                <a:lnTo>
                  <a:pt x="1726" y="331"/>
                </a:lnTo>
                <a:lnTo>
                  <a:pt x="1730" y="323"/>
                </a:lnTo>
                <a:lnTo>
                  <a:pt x="1733" y="313"/>
                </a:lnTo>
                <a:lnTo>
                  <a:pt x="1736" y="303"/>
                </a:lnTo>
                <a:lnTo>
                  <a:pt x="1738" y="293"/>
                </a:lnTo>
                <a:lnTo>
                  <a:pt x="1740" y="281"/>
                </a:lnTo>
                <a:lnTo>
                  <a:pt x="1741" y="269"/>
                </a:lnTo>
                <a:lnTo>
                  <a:pt x="1742" y="257"/>
                </a:lnTo>
                <a:lnTo>
                  <a:pt x="1742" y="244"/>
                </a:lnTo>
                <a:lnTo>
                  <a:pt x="1742" y="230"/>
                </a:lnTo>
                <a:lnTo>
                  <a:pt x="1742" y="218"/>
                </a:lnTo>
                <a:lnTo>
                  <a:pt x="1740" y="206"/>
                </a:lnTo>
                <a:lnTo>
                  <a:pt x="1739" y="194"/>
                </a:lnTo>
                <a:lnTo>
                  <a:pt x="1737" y="184"/>
                </a:lnTo>
                <a:lnTo>
                  <a:pt x="1734" y="174"/>
                </a:lnTo>
                <a:lnTo>
                  <a:pt x="1731" y="164"/>
                </a:lnTo>
                <a:lnTo>
                  <a:pt x="1728" y="156"/>
                </a:lnTo>
                <a:lnTo>
                  <a:pt x="1723" y="148"/>
                </a:lnTo>
                <a:lnTo>
                  <a:pt x="1719" y="142"/>
                </a:lnTo>
                <a:lnTo>
                  <a:pt x="1713" y="136"/>
                </a:lnTo>
                <a:lnTo>
                  <a:pt x="1708" y="132"/>
                </a:lnTo>
                <a:lnTo>
                  <a:pt x="1701" y="128"/>
                </a:lnTo>
                <a:lnTo>
                  <a:pt x="1694" y="124"/>
                </a:lnTo>
                <a:lnTo>
                  <a:pt x="1686" y="122"/>
                </a:lnTo>
                <a:lnTo>
                  <a:pt x="1678" y="122"/>
                </a:lnTo>
                <a:close/>
                <a:moveTo>
                  <a:pt x="2090" y="788"/>
                </a:moveTo>
                <a:lnTo>
                  <a:pt x="2069" y="635"/>
                </a:lnTo>
                <a:lnTo>
                  <a:pt x="1942" y="635"/>
                </a:lnTo>
                <a:lnTo>
                  <a:pt x="1921" y="788"/>
                </a:lnTo>
                <a:lnTo>
                  <a:pt x="1854" y="788"/>
                </a:lnTo>
                <a:lnTo>
                  <a:pt x="1975" y="18"/>
                </a:lnTo>
                <a:lnTo>
                  <a:pt x="2037" y="18"/>
                </a:lnTo>
                <a:lnTo>
                  <a:pt x="2160" y="788"/>
                </a:lnTo>
                <a:lnTo>
                  <a:pt x="2090" y="788"/>
                </a:lnTo>
                <a:close/>
                <a:moveTo>
                  <a:pt x="2026" y="323"/>
                </a:moveTo>
                <a:lnTo>
                  <a:pt x="2015" y="250"/>
                </a:lnTo>
                <a:lnTo>
                  <a:pt x="2010" y="210"/>
                </a:lnTo>
                <a:lnTo>
                  <a:pt x="2006" y="170"/>
                </a:lnTo>
                <a:lnTo>
                  <a:pt x="2001" y="210"/>
                </a:lnTo>
                <a:lnTo>
                  <a:pt x="1996" y="250"/>
                </a:lnTo>
                <a:lnTo>
                  <a:pt x="1986" y="325"/>
                </a:lnTo>
                <a:lnTo>
                  <a:pt x="1957" y="529"/>
                </a:lnTo>
                <a:lnTo>
                  <a:pt x="2053" y="529"/>
                </a:lnTo>
                <a:lnTo>
                  <a:pt x="2026" y="323"/>
                </a:lnTo>
                <a:close/>
                <a:moveTo>
                  <a:pt x="2419" y="788"/>
                </a:moveTo>
                <a:lnTo>
                  <a:pt x="2323" y="431"/>
                </a:lnTo>
                <a:lnTo>
                  <a:pt x="2285" y="527"/>
                </a:lnTo>
                <a:lnTo>
                  <a:pt x="2285" y="788"/>
                </a:lnTo>
                <a:lnTo>
                  <a:pt x="2220" y="788"/>
                </a:lnTo>
                <a:lnTo>
                  <a:pt x="2220" y="18"/>
                </a:lnTo>
                <a:lnTo>
                  <a:pt x="2285" y="18"/>
                </a:lnTo>
                <a:lnTo>
                  <a:pt x="2285" y="347"/>
                </a:lnTo>
                <a:lnTo>
                  <a:pt x="2410" y="18"/>
                </a:lnTo>
                <a:lnTo>
                  <a:pt x="2492" y="18"/>
                </a:lnTo>
                <a:lnTo>
                  <a:pt x="2363" y="333"/>
                </a:lnTo>
                <a:lnTo>
                  <a:pt x="2498" y="788"/>
                </a:lnTo>
                <a:lnTo>
                  <a:pt x="2419" y="788"/>
                </a:lnTo>
                <a:close/>
                <a:moveTo>
                  <a:pt x="2558" y="788"/>
                </a:moveTo>
                <a:lnTo>
                  <a:pt x="2558" y="18"/>
                </a:lnTo>
                <a:lnTo>
                  <a:pt x="2786" y="18"/>
                </a:lnTo>
                <a:lnTo>
                  <a:pt x="2786" y="126"/>
                </a:lnTo>
                <a:lnTo>
                  <a:pt x="2623" y="126"/>
                </a:lnTo>
                <a:lnTo>
                  <a:pt x="2623" y="341"/>
                </a:lnTo>
                <a:lnTo>
                  <a:pt x="2756" y="341"/>
                </a:lnTo>
                <a:lnTo>
                  <a:pt x="2756" y="445"/>
                </a:lnTo>
                <a:lnTo>
                  <a:pt x="2623" y="445"/>
                </a:lnTo>
                <a:lnTo>
                  <a:pt x="2623" y="683"/>
                </a:lnTo>
                <a:lnTo>
                  <a:pt x="2786" y="683"/>
                </a:lnTo>
                <a:lnTo>
                  <a:pt x="2786" y="788"/>
                </a:lnTo>
                <a:lnTo>
                  <a:pt x="2558" y="788"/>
                </a:lnTo>
                <a:close/>
                <a:moveTo>
                  <a:pt x="2939" y="18"/>
                </a:moveTo>
                <a:lnTo>
                  <a:pt x="3030" y="439"/>
                </a:lnTo>
                <a:lnTo>
                  <a:pt x="3038" y="477"/>
                </a:lnTo>
                <a:lnTo>
                  <a:pt x="3042" y="495"/>
                </a:lnTo>
                <a:lnTo>
                  <a:pt x="3046" y="515"/>
                </a:lnTo>
                <a:lnTo>
                  <a:pt x="3053" y="553"/>
                </a:lnTo>
                <a:lnTo>
                  <a:pt x="3060" y="595"/>
                </a:lnTo>
                <a:lnTo>
                  <a:pt x="3060" y="509"/>
                </a:lnTo>
                <a:lnTo>
                  <a:pt x="3059" y="421"/>
                </a:lnTo>
                <a:lnTo>
                  <a:pt x="3059" y="18"/>
                </a:lnTo>
                <a:lnTo>
                  <a:pt x="3124" y="18"/>
                </a:lnTo>
                <a:lnTo>
                  <a:pt x="3124" y="788"/>
                </a:lnTo>
                <a:lnTo>
                  <a:pt x="3046" y="788"/>
                </a:lnTo>
                <a:lnTo>
                  <a:pt x="2954" y="369"/>
                </a:lnTo>
                <a:lnTo>
                  <a:pt x="2946" y="331"/>
                </a:lnTo>
                <a:lnTo>
                  <a:pt x="2938" y="293"/>
                </a:lnTo>
                <a:lnTo>
                  <a:pt x="2931" y="255"/>
                </a:lnTo>
                <a:lnTo>
                  <a:pt x="2923" y="214"/>
                </a:lnTo>
                <a:lnTo>
                  <a:pt x="2924" y="389"/>
                </a:lnTo>
                <a:lnTo>
                  <a:pt x="2924" y="790"/>
                </a:lnTo>
                <a:lnTo>
                  <a:pt x="2859" y="790"/>
                </a:lnTo>
                <a:lnTo>
                  <a:pt x="2859" y="18"/>
                </a:lnTo>
                <a:lnTo>
                  <a:pt x="2939" y="18"/>
                </a:lnTo>
                <a:close/>
                <a:moveTo>
                  <a:pt x="3306" y="18"/>
                </a:moveTo>
                <a:lnTo>
                  <a:pt x="3396" y="425"/>
                </a:lnTo>
                <a:lnTo>
                  <a:pt x="3404" y="463"/>
                </a:lnTo>
                <a:lnTo>
                  <a:pt x="3408" y="481"/>
                </a:lnTo>
                <a:lnTo>
                  <a:pt x="3412" y="501"/>
                </a:lnTo>
                <a:lnTo>
                  <a:pt x="3419" y="539"/>
                </a:lnTo>
                <a:lnTo>
                  <a:pt x="3426" y="581"/>
                </a:lnTo>
                <a:lnTo>
                  <a:pt x="3426" y="495"/>
                </a:lnTo>
                <a:lnTo>
                  <a:pt x="3426" y="407"/>
                </a:lnTo>
                <a:lnTo>
                  <a:pt x="3426" y="18"/>
                </a:lnTo>
                <a:lnTo>
                  <a:pt x="3491" y="18"/>
                </a:lnTo>
                <a:lnTo>
                  <a:pt x="3491" y="788"/>
                </a:lnTo>
                <a:lnTo>
                  <a:pt x="3412" y="788"/>
                </a:lnTo>
                <a:lnTo>
                  <a:pt x="3320" y="383"/>
                </a:lnTo>
                <a:lnTo>
                  <a:pt x="3312" y="345"/>
                </a:lnTo>
                <a:lnTo>
                  <a:pt x="3305" y="307"/>
                </a:lnTo>
                <a:lnTo>
                  <a:pt x="3297" y="269"/>
                </a:lnTo>
                <a:lnTo>
                  <a:pt x="3290" y="228"/>
                </a:lnTo>
                <a:lnTo>
                  <a:pt x="3290" y="403"/>
                </a:lnTo>
                <a:lnTo>
                  <a:pt x="3290" y="788"/>
                </a:lnTo>
                <a:lnTo>
                  <a:pt x="3226" y="788"/>
                </a:lnTo>
                <a:lnTo>
                  <a:pt x="3226" y="18"/>
                </a:lnTo>
                <a:lnTo>
                  <a:pt x="3306" y="18"/>
                </a:lnTo>
                <a:close/>
                <a:moveTo>
                  <a:pt x="3618" y="735"/>
                </a:moveTo>
                <a:lnTo>
                  <a:pt x="3611" y="719"/>
                </a:lnTo>
                <a:lnTo>
                  <a:pt x="3605" y="701"/>
                </a:lnTo>
                <a:lnTo>
                  <a:pt x="3599" y="681"/>
                </a:lnTo>
                <a:lnTo>
                  <a:pt x="3597" y="669"/>
                </a:lnTo>
                <a:lnTo>
                  <a:pt x="3595" y="659"/>
                </a:lnTo>
                <a:lnTo>
                  <a:pt x="3591" y="635"/>
                </a:lnTo>
                <a:lnTo>
                  <a:pt x="3589" y="609"/>
                </a:lnTo>
                <a:lnTo>
                  <a:pt x="3588" y="595"/>
                </a:lnTo>
                <a:lnTo>
                  <a:pt x="3587" y="581"/>
                </a:lnTo>
                <a:lnTo>
                  <a:pt x="3587" y="549"/>
                </a:lnTo>
                <a:lnTo>
                  <a:pt x="3587" y="18"/>
                </a:lnTo>
                <a:lnTo>
                  <a:pt x="3652" y="18"/>
                </a:lnTo>
                <a:lnTo>
                  <a:pt x="3652" y="543"/>
                </a:lnTo>
                <a:lnTo>
                  <a:pt x="3652" y="563"/>
                </a:lnTo>
                <a:lnTo>
                  <a:pt x="3652" y="581"/>
                </a:lnTo>
                <a:lnTo>
                  <a:pt x="3653" y="597"/>
                </a:lnTo>
                <a:lnTo>
                  <a:pt x="3655" y="611"/>
                </a:lnTo>
                <a:lnTo>
                  <a:pt x="3657" y="625"/>
                </a:lnTo>
                <a:lnTo>
                  <a:pt x="3659" y="637"/>
                </a:lnTo>
                <a:lnTo>
                  <a:pt x="3662" y="649"/>
                </a:lnTo>
                <a:lnTo>
                  <a:pt x="3665" y="659"/>
                </a:lnTo>
                <a:lnTo>
                  <a:pt x="3669" y="667"/>
                </a:lnTo>
                <a:lnTo>
                  <a:pt x="3674" y="675"/>
                </a:lnTo>
                <a:lnTo>
                  <a:pt x="3679" y="683"/>
                </a:lnTo>
                <a:lnTo>
                  <a:pt x="3685" y="689"/>
                </a:lnTo>
                <a:lnTo>
                  <a:pt x="3688" y="691"/>
                </a:lnTo>
                <a:lnTo>
                  <a:pt x="3692" y="693"/>
                </a:lnTo>
                <a:lnTo>
                  <a:pt x="3699" y="697"/>
                </a:lnTo>
                <a:lnTo>
                  <a:pt x="3706" y="699"/>
                </a:lnTo>
                <a:lnTo>
                  <a:pt x="3715" y="699"/>
                </a:lnTo>
                <a:lnTo>
                  <a:pt x="3723" y="699"/>
                </a:lnTo>
                <a:lnTo>
                  <a:pt x="3731" y="697"/>
                </a:lnTo>
                <a:lnTo>
                  <a:pt x="3738" y="693"/>
                </a:lnTo>
                <a:lnTo>
                  <a:pt x="3744" y="689"/>
                </a:lnTo>
                <a:lnTo>
                  <a:pt x="3750" y="683"/>
                </a:lnTo>
                <a:lnTo>
                  <a:pt x="3755" y="675"/>
                </a:lnTo>
                <a:lnTo>
                  <a:pt x="3760" y="667"/>
                </a:lnTo>
                <a:lnTo>
                  <a:pt x="3764" y="659"/>
                </a:lnTo>
                <a:lnTo>
                  <a:pt x="3768" y="649"/>
                </a:lnTo>
                <a:lnTo>
                  <a:pt x="3770" y="637"/>
                </a:lnTo>
                <a:lnTo>
                  <a:pt x="3773" y="625"/>
                </a:lnTo>
                <a:lnTo>
                  <a:pt x="3775" y="613"/>
                </a:lnTo>
                <a:lnTo>
                  <a:pt x="3776" y="597"/>
                </a:lnTo>
                <a:lnTo>
                  <a:pt x="3777" y="581"/>
                </a:lnTo>
                <a:lnTo>
                  <a:pt x="3778" y="563"/>
                </a:lnTo>
                <a:lnTo>
                  <a:pt x="3778" y="543"/>
                </a:lnTo>
                <a:lnTo>
                  <a:pt x="3778" y="18"/>
                </a:lnTo>
                <a:lnTo>
                  <a:pt x="3843" y="18"/>
                </a:lnTo>
                <a:lnTo>
                  <a:pt x="3843" y="549"/>
                </a:lnTo>
                <a:lnTo>
                  <a:pt x="3843" y="581"/>
                </a:lnTo>
                <a:lnTo>
                  <a:pt x="3842" y="595"/>
                </a:lnTo>
                <a:lnTo>
                  <a:pt x="3841" y="609"/>
                </a:lnTo>
                <a:lnTo>
                  <a:pt x="3838" y="635"/>
                </a:lnTo>
                <a:lnTo>
                  <a:pt x="3835" y="659"/>
                </a:lnTo>
                <a:lnTo>
                  <a:pt x="3833" y="669"/>
                </a:lnTo>
                <a:lnTo>
                  <a:pt x="3830" y="681"/>
                </a:lnTo>
                <a:lnTo>
                  <a:pt x="3825" y="701"/>
                </a:lnTo>
                <a:lnTo>
                  <a:pt x="3822" y="709"/>
                </a:lnTo>
                <a:lnTo>
                  <a:pt x="3819" y="719"/>
                </a:lnTo>
                <a:lnTo>
                  <a:pt x="3815" y="727"/>
                </a:lnTo>
                <a:lnTo>
                  <a:pt x="3812" y="735"/>
                </a:lnTo>
                <a:lnTo>
                  <a:pt x="3807" y="744"/>
                </a:lnTo>
                <a:lnTo>
                  <a:pt x="3802" y="752"/>
                </a:lnTo>
                <a:lnTo>
                  <a:pt x="3792" y="766"/>
                </a:lnTo>
                <a:lnTo>
                  <a:pt x="3781" y="778"/>
                </a:lnTo>
                <a:lnTo>
                  <a:pt x="3775" y="784"/>
                </a:lnTo>
                <a:lnTo>
                  <a:pt x="3769" y="788"/>
                </a:lnTo>
                <a:lnTo>
                  <a:pt x="3757" y="796"/>
                </a:lnTo>
                <a:lnTo>
                  <a:pt x="3750" y="800"/>
                </a:lnTo>
                <a:lnTo>
                  <a:pt x="3743" y="802"/>
                </a:lnTo>
                <a:lnTo>
                  <a:pt x="3729" y="806"/>
                </a:lnTo>
                <a:lnTo>
                  <a:pt x="3722" y="806"/>
                </a:lnTo>
                <a:lnTo>
                  <a:pt x="3715" y="806"/>
                </a:lnTo>
                <a:lnTo>
                  <a:pt x="3700" y="806"/>
                </a:lnTo>
                <a:lnTo>
                  <a:pt x="3686" y="802"/>
                </a:lnTo>
                <a:lnTo>
                  <a:pt x="3679" y="800"/>
                </a:lnTo>
                <a:lnTo>
                  <a:pt x="3673" y="796"/>
                </a:lnTo>
                <a:lnTo>
                  <a:pt x="3660" y="788"/>
                </a:lnTo>
                <a:lnTo>
                  <a:pt x="3648" y="778"/>
                </a:lnTo>
                <a:lnTo>
                  <a:pt x="3637" y="766"/>
                </a:lnTo>
                <a:lnTo>
                  <a:pt x="3627" y="750"/>
                </a:lnTo>
                <a:lnTo>
                  <a:pt x="3623" y="742"/>
                </a:lnTo>
                <a:lnTo>
                  <a:pt x="3618" y="735"/>
                </a:lnTo>
                <a:close/>
                <a:moveTo>
                  <a:pt x="4052" y="806"/>
                </a:moveTo>
                <a:lnTo>
                  <a:pt x="4036" y="806"/>
                </a:lnTo>
                <a:lnTo>
                  <a:pt x="4020" y="802"/>
                </a:lnTo>
                <a:lnTo>
                  <a:pt x="4006" y="796"/>
                </a:lnTo>
                <a:lnTo>
                  <a:pt x="4000" y="792"/>
                </a:lnTo>
                <a:lnTo>
                  <a:pt x="3993" y="788"/>
                </a:lnTo>
                <a:lnTo>
                  <a:pt x="3981" y="780"/>
                </a:lnTo>
                <a:lnTo>
                  <a:pt x="3975" y="774"/>
                </a:lnTo>
                <a:lnTo>
                  <a:pt x="3970" y="768"/>
                </a:lnTo>
                <a:lnTo>
                  <a:pt x="3960" y="756"/>
                </a:lnTo>
                <a:lnTo>
                  <a:pt x="3956" y="748"/>
                </a:lnTo>
                <a:lnTo>
                  <a:pt x="3951" y="740"/>
                </a:lnTo>
                <a:lnTo>
                  <a:pt x="3947" y="733"/>
                </a:lnTo>
                <a:lnTo>
                  <a:pt x="3943" y="725"/>
                </a:lnTo>
                <a:lnTo>
                  <a:pt x="3939" y="717"/>
                </a:lnTo>
                <a:lnTo>
                  <a:pt x="3936" y="707"/>
                </a:lnTo>
                <a:lnTo>
                  <a:pt x="3930" y="687"/>
                </a:lnTo>
                <a:lnTo>
                  <a:pt x="3926" y="667"/>
                </a:lnTo>
                <a:lnTo>
                  <a:pt x="3924" y="657"/>
                </a:lnTo>
                <a:lnTo>
                  <a:pt x="3922" y="645"/>
                </a:lnTo>
                <a:lnTo>
                  <a:pt x="3919" y="623"/>
                </a:lnTo>
                <a:lnTo>
                  <a:pt x="3918" y="599"/>
                </a:lnTo>
                <a:lnTo>
                  <a:pt x="3917" y="585"/>
                </a:lnTo>
                <a:lnTo>
                  <a:pt x="3917" y="573"/>
                </a:lnTo>
                <a:lnTo>
                  <a:pt x="3980" y="545"/>
                </a:lnTo>
                <a:lnTo>
                  <a:pt x="3981" y="567"/>
                </a:lnTo>
                <a:lnTo>
                  <a:pt x="3982" y="587"/>
                </a:lnTo>
                <a:lnTo>
                  <a:pt x="3984" y="603"/>
                </a:lnTo>
                <a:lnTo>
                  <a:pt x="3986" y="619"/>
                </a:lnTo>
                <a:lnTo>
                  <a:pt x="3988" y="627"/>
                </a:lnTo>
                <a:lnTo>
                  <a:pt x="3989" y="635"/>
                </a:lnTo>
                <a:lnTo>
                  <a:pt x="3993" y="647"/>
                </a:lnTo>
                <a:lnTo>
                  <a:pt x="3997" y="659"/>
                </a:lnTo>
                <a:lnTo>
                  <a:pt x="4001" y="667"/>
                </a:lnTo>
                <a:lnTo>
                  <a:pt x="4006" y="677"/>
                </a:lnTo>
                <a:lnTo>
                  <a:pt x="4012" y="683"/>
                </a:lnTo>
                <a:lnTo>
                  <a:pt x="4018" y="689"/>
                </a:lnTo>
                <a:lnTo>
                  <a:pt x="4025" y="693"/>
                </a:lnTo>
                <a:lnTo>
                  <a:pt x="4032" y="697"/>
                </a:lnTo>
                <a:lnTo>
                  <a:pt x="4039" y="699"/>
                </a:lnTo>
                <a:lnTo>
                  <a:pt x="4047" y="701"/>
                </a:lnTo>
                <a:lnTo>
                  <a:pt x="4056" y="701"/>
                </a:lnTo>
                <a:lnTo>
                  <a:pt x="4063" y="701"/>
                </a:lnTo>
                <a:lnTo>
                  <a:pt x="4070" y="699"/>
                </a:lnTo>
                <a:lnTo>
                  <a:pt x="4077" y="697"/>
                </a:lnTo>
                <a:lnTo>
                  <a:pt x="4083" y="695"/>
                </a:lnTo>
                <a:lnTo>
                  <a:pt x="4089" y="691"/>
                </a:lnTo>
                <a:lnTo>
                  <a:pt x="4095" y="685"/>
                </a:lnTo>
                <a:lnTo>
                  <a:pt x="4100" y="679"/>
                </a:lnTo>
                <a:lnTo>
                  <a:pt x="4105" y="673"/>
                </a:lnTo>
                <a:lnTo>
                  <a:pt x="4109" y="665"/>
                </a:lnTo>
                <a:lnTo>
                  <a:pt x="4113" y="657"/>
                </a:lnTo>
                <a:lnTo>
                  <a:pt x="4116" y="649"/>
                </a:lnTo>
                <a:lnTo>
                  <a:pt x="4119" y="639"/>
                </a:lnTo>
                <a:lnTo>
                  <a:pt x="4121" y="627"/>
                </a:lnTo>
                <a:lnTo>
                  <a:pt x="4122" y="623"/>
                </a:lnTo>
                <a:lnTo>
                  <a:pt x="4123" y="617"/>
                </a:lnTo>
                <a:lnTo>
                  <a:pt x="4124" y="605"/>
                </a:lnTo>
                <a:lnTo>
                  <a:pt x="4124" y="591"/>
                </a:lnTo>
                <a:lnTo>
                  <a:pt x="4124" y="581"/>
                </a:lnTo>
                <a:lnTo>
                  <a:pt x="4123" y="571"/>
                </a:lnTo>
                <a:lnTo>
                  <a:pt x="4122" y="563"/>
                </a:lnTo>
                <a:lnTo>
                  <a:pt x="4121" y="553"/>
                </a:lnTo>
                <a:lnTo>
                  <a:pt x="4119" y="545"/>
                </a:lnTo>
                <a:lnTo>
                  <a:pt x="4117" y="537"/>
                </a:lnTo>
                <a:lnTo>
                  <a:pt x="4115" y="529"/>
                </a:lnTo>
                <a:lnTo>
                  <a:pt x="4112" y="521"/>
                </a:lnTo>
                <a:lnTo>
                  <a:pt x="4104" y="505"/>
                </a:lnTo>
                <a:lnTo>
                  <a:pt x="4100" y="497"/>
                </a:lnTo>
                <a:lnTo>
                  <a:pt x="4095" y="491"/>
                </a:lnTo>
                <a:lnTo>
                  <a:pt x="4084" y="477"/>
                </a:lnTo>
                <a:lnTo>
                  <a:pt x="4071" y="465"/>
                </a:lnTo>
                <a:lnTo>
                  <a:pt x="4007" y="407"/>
                </a:lnTo>
                <a:lnTo>
                  <a:pt x="3998" y="399"/>
                </a:lnTo>
                <a:lnTo>
                  <a:pt x="3988" y="389"/>
                </a:lnTo>
                <a:lnTo>
                  <a:pt x="3972" y="369"/>
                </a:lnTo>
                <a:lnTo>
                  <a:pt x="3958" y="349"/>
                </a:lnTo>
                <a:lnTo>
                  <a:pt x="3953" y="337"/>
                </a:lnTo>
                <a:lnTo>
                  <a:pt x="3947" y="325"/>
                </a:lnTo>
                <a:lnTo>
                  <a:pt x="3942" y="313"/>
                </a:lnTo>
                <a:lnTo>
                  <a:pt x="3937" y="299"/>
                </a:lnTo>
                <a:lnTo>
                  <a:pt x="3934" y="285"/>
                </a:lnTo>
                <a:lnTo>
                  <a:pt x="3931" y="269"/>
                </a:lnTo>
                <a:lnTo>
                  <a:pt x="3929" y="253"/>
                </a:lnTo>
                <a:lnTo>
                  <a:pt x="3928" y="246"/>
                </a:lnTo>
                <a:lnTo>
                  <a:pt x="3927" y="238"/>
                </a:lnTo>
                <a:lnTo>
                  <a:pt x="3927" y="220"/>
                </a:lnTo>
                <a:lnTo>
                  <a:pt x="3926" y="200"/>
                </a:lnTo>
                <a:lnTo>
                  <a:pt x="3926" y="188"/>
                </a:lnTo>
                <a:lnTo>
                  <a:pt x="3927" y="176"/>
                </a:lnTo>
                <a:lnTo>
                  <a:pt x="3928" y="164"/>
                </a:lnTo>
                <a:lnTo>
                  <a:pt x="3929" y="152"/>
                </a:lnTo>
                <a:lnTo>
                  <a:pt x="3930" y="142"/>
                </a:lnTo>
                <a:lnTo>
                  <a:pt x="3932" y="132"/>
                </a:lnTo>
                <a:lnTo>
                  <a:pt x="3936" y="112"/>
                </a:lnTo>
                <a:lnTo>
                  <a:pt x="3939" y="102"/>
                </a:lnTo>
                <a:lnTo>
                  <a:pt x="3942" y="94"/>
                </a:lnTo>
                <a:lnTo>
                  <a:pt x="3949" y="78"/>
                </a:lnTo>
                <a:lnTo>
                  <a:pt x="3957" y="62"/>
                </a:lnTo>
                <a:lnTo>
                  <a:pt x="3961" y="56"/>
                </a:lnTo>
                <a:lnTo>
                  <a:pt x="3965" y="50"/>
                </a:lnTo>
                <a:lnTo>
                  <a:pt x="3974" y="38"/>
                </a:lnTo>
                <a:lnTo>
                  <a:pt x="3984" y="28"/>
                </a:lnTo>
                <a:lnTo>
                  <a:pt x="3994" y="20"/>
                </a:lnTo>
                <a:lnTo>
                  <a:pt x="4005" y="12"/>
                </a:lnTo>
                <a:lnTo>
                  <a:pt x="4017" y="6"/>
                </a:lnTo>
                <a:lnTo>
                  <a:pt x="4029" y="4"/>
                </a:lnTo>
                <a:lnTo>
                  <a:pt x="4042" y="0"/>
                </a:lnTo>
                <a:lnTo>
                  <a:pt x="4055" y="0"/>
                </a:lnTo>
                <a:lnTo>
                  <a:pt x="4070" y="2"/>
                </a:lnTo>
                <a:lnTo>
                  <a:pt x="4085" y="4"/>
                </a:lnTo>
                <a:lnTo>
                  <a:pt x="4098" y="10"/>
                </a:lnTo>
                <a:lnTo>
                  <a:pt x="4104" y="14"/>
                </a:lnTo>
                <a:lnTo>
                  <a:pt x="4110" y="18"/>
                </a:lnTo>
                <a:lnTo>
                  <a:pt x="4122" y="26"/>
                </a:lnTo>
                <a:lnTo>
                  <a:pt x="4132" y="38"/>
                </a:lnTo>
                <a:lnTo>
                  <a:pt x="4141" y="50"/>
                </a:lnTo>
                <a:lnTo>
                  <a:pt x="4149" y="64"/>
                </a:lnTo>
                <a:lnTo>
                  <a:pt x="4153" y="72"/>
                </a:lnTo>
                <a:lnTo>
                  <a:pt x="4156" y="78"/>
                </a:lnTo>
                <a:lnTo>
                  <a:pt x="4159" y="86"/>
                </a:lnTo>
                <a:lnTo>
                  <a:pt x="4162" y="94"/>
                </a:lnTo>
                <a:lnTo>
                  <a:pt x="4167" y="112"/>
                </a:lnTo>
                <a:lnTo>
                  <a:pt x="4172" y="128"/>
                </a:lnTo>
                <a:lnTo>
                  <a:pt x="4175" y="146"/>
                </a:lnTo>
                <a:lnTo>
                  <a:pt x="4177" y="166"/>
                </a:lnTo>
                <a:lnTo>
                  <a:pt x="4179" y="184"/>
                </a:lnTo>
                <a:lnTo>
                  <a:pt x="4179" y="202"/>
                </a:lnTo>
                <a:lnTo>
                  <a:pt x="4117" y="228"/>
                </a:lnTo>
                <a:lnTo>
                  <a:pt x="4117" y="212"/>
                </a:lnTo>
                <a:lnTo>
                  <a:pt x="4115" y="198"/>
                </a:lnTo>
                <a:lnTo>
                  <a:pt x="4114" y="186"/>
                </a:lnTo>
                <a:lnTo>
                  <a:pt x="4112" y="172"/>
                </a:lnTo>
                <a:lnTo>
                  <a:pt x="4109" y="162"/>
                </a:lnTo>
                <a:lnTo>
                  <a:pt x="4106" y="152"/>
                </a:lnTo>
                <a:lnTo>
                  <a:pt x="4103" y="142"/>
                </a:lnTo>
                <a:lnTo>
                  <a:pt x="4099" y="136"/>
                </a:lnTo>
                <a:lnTo>
                  <a:pt x="4095" y="128"/>
                </a:lnTo>
                <a:lnTo>
                  <a:pt x="4090" y="122"/>
                </a:lnTo>
                <a:lnTo>
                  <a:pt x="4085" y="118"/>
                </a:lnTo>
                <a:lnTo>
                  <a:pt x="4079" y="114"/>
                </a:lnTo>
                <a:lnTo>
                  <a:pt x="4073" y="110"/>
                </a:lnTo>
                <a:lnTo>
                  <a:pt x="4067" y="108"/>
                </a:lnTo>
                <a:lnTo>
                  <a:pt x="4060" y="108"/>
                </a:lnTo>
                <a:lnTo>
                  <a:pt x="4052" y="106"/>
                </a:lnTo>
                <a:lnTo>
                  <a:pt x="4040" y="108"/>
                </a:lnTo>
                <a:lnTo>
                  <a:pt x="4028" y="112"/>
                </a:lnTo>
                <a:lnTo>
                  <a:pt x="4023" y="116"/>
                </a:lnTo>
                <a:lnTo>
                  <a:pt x="4018" y="120"/>
                </a:lnTo>
                <a:lnTo>
                  <a:pt x="4013" y="124"/>
                </a:lnTo>
                <a:lnTo>
                  <a:pt x="4009" y="128"/>
                </a:lnTo>
                <a:lnTo>
                  <a:pt x="4005" y="134"/>
                </a:lnTo>
                <a:lnTo>
                  <a:pt x="4002" y="140"/>
                </a:lnTo>
                <a:lnTo>
                  <a:pt x="3999" y="148"/>
                </a:lnTo>
                <a:lnTo>
                  <a:pt x="3996" y="156"/>
                </a:lnTo>
                <a:lnTo>
                  <a:pt x="3994" y="164"/>
                </a:lnTo>
                <a:lnTo>
                  <a:pt x="3993" y="174"/>
                </a:lnTo>
                <a:lnTo>
                  <a:pt x="3992" y="184"/>
                </a:lnTo>
                <a:lnTo>
                  <a:pt x="3992" y="194"/>
                </a:lnTo>
                <a:lnTo>
                  <a:pt x="3992" y="204"/>
                </a:lnTo>
                <a:lnTo>
                  <a:pt x="3992" y="214"/>
                </a:lnTo>
                <a:lnTo>
                  <a:pt x="3993" y="224"/>
                </a:lnTo>
                <a:lnTo>
                  <a:pt x="3994" y="232"/>
                </a:lnTo>
                <a:lnTo>
                  <a:pt x="3996" y="240"/>
                </a:lnTo>
                <a:lnTo>
                  <a:pt x="3998" y="248"/>
                </a:lnTo>
                <a:lnTo>
                  <a:pt x="4001" y="255"/>
                </a:lnTo>
                <a:lnTo>
                  <a:pt x="4003" y="261"/>
                </a:lnTo>
                <a:lnTo>
                  <a:pt x="4007" y="267"/>
                </a:lnTo>
                <a:lnTo>
                  <a:pt x="4010" y="273"/>
                </a:lnTo>
                <a:lnTo>
                  <a:pt x="4019" y="285"/>
                </a:lnTo>
                <a:lnTo>
                  <a:pt x="4029" y="297"/>
                </a:lnTo>
                <a:lnTo>
                  <a:pt x="4041" y="309"/>
                </a:lnTo>
                <a:lnTo>
                  <a:pt x="4103" y="363"/>
                </a:lnTo>
                <a:lnTo>
                  <a:pt x="4113" y="373"/>
                </a:lnTo>
                <a:lnTo>
                  <a:pt x="4123" y="383"/>
                </a:lnTo>
                <a:lnTo>
                  <a:pt x="4133" y="393"/>
                </a:lnTo>
                <a:lnTo>
                  <a:pt x="4141" y="405"/>
                </a:lnTo>
                <a:lnTo>
                  <a:pt x="4149" y="417"/>
                </a:lnTo>
                <a:lnTo>
                  <a:pt x="4156" y="427"/>
                </a:lnTo>
                <a:lnTo>
                  <a:pt x="4162" y="441"/>
                </a:lnTo>
                <a:lnTo>
                  <a:pt x="4168" y="453"/>
                </a:lnTo>
                <a:lnTo>
                  <a:pt x="4173" y="467"/>
                </a:lnTo>
                <a:lnTo>
                  <a:pt x="4177" y="481"/>
                </a:lnTo>
                <a:lnTo>
                  <a:pt x="4181" y="495"/>
                </a:lnTo>
                <a:lnTo>
                  <a:pt x="4184" y="511"/>
                </a:lnTo>
                <a:lnTo>
                  <a:pt x="4186" y="527"/>
                </a:lnTo>
                <a:lnTo>
                  <a:pt x="4187" y="537"/>
                </a:lnTo>
                <a:lnTo>
                  <a:pt x="4187" y="545"/>
                </a:lnTo>
                <a:lnTo>
                  <a:pt x="4188" y="563"/>
                </a:lnTo>
                <a:lnTo>
                  <a:pt x="4189" y="583"/>
                </a:lnTo>
                <a:lnTo>
                  <a:pt x="4188" y="609"/>
                </a:lnTo>
                <a:lnTo>
                  <a:pt x="4186" y="633"/>
                </a:lnTo>
                <a:lnTo>
                  <a:pt x="4185" y="645"/>
                </a:lnTo>
                <a:lnTo>
                  <a:pt x="4183" y="655"/>
                </a:lnTo>
                <a:lnTo>
                  <a:pt x="4181" y="667"/>
                </a:lnTo>
                <a:lnTo>
                  <a:pt x="4179" y="677"/>
                </a:lnTo>
                <a:lnTo>
                  <a:pt x="4177" y="687"/>
                </a:lnTo>
                <a:lnTo>
                  <a:pt x="4174" y="697"/>
                </a:lnTo>
                <a:lnTo>
                  <a:pt x="4167" y="715"/>
                </a:lnTo>
                <a:lnTo>
                  <a:pt x="4164" y="723"/>
                </a:lnTo>
                <a:lnTo>
                  <a:pt x="4160" y="733"/>
                </a:lnTo>
                <a:lnTo>
                  <a:pt x="4152" y="746"/>
                </a:lnTo>
                <a:lnTo>
                  <a:pt x="4147" y="754"/>
                </a:lnTo>
                <a:lnTo>
                  <a:pt x="4142" y="760"/>
                </a:lnTo>
                <a:lnTo>
                  <a:pt x="4137" y="766"/>
                </a:lnTo>
                <a:lnTo>
                  <a:pt x="4132" y="772"/>
                </a:lnTo>
                <a:lnTo>
                  <a:pt x="4121" y="782"/>
                </a:lnTo>
                <a:lnTo>
                  <a:pt x="4109" y="790"/>
                </a:lnTo>
                <a:lnTo>
                  <a:pt x="4096" y="798"/>
                </a:lnTo>
                <a:lnTo>
                  <a:pt x="4082" y="802"/>
                </a:lnTo>
                <a:lnTo>
                  <a:pt x="4075" y="804"/>
                </a:lnTo>
                <a:lnTo>
                  <a:pt x="4068" y="804"/>
                </a:lnTo>
                <a:lnTo>
                  <a:pt x="4052" y="806"/>
                </a:lnTo>
                <a:close/>
                <a:moveTo>
                  <a:pt x="1669" y="1273"/>
                </a:moveTo>
                <a:lnTo>
                  <a:pt x="1669" y="1936"/>
                </a:lnTo>
                <a:lnTo>
                  <a:pt x="1604" y="1936"/>
                </a:lnTo>
                <a:lnTo>
                  <a:pt x="1604" y="1273"/>
                </a:lnTo>
                <a:lnTo>
                  <a:pt x="1506" y="1273"/>
                </a:lnTo>
                <a:lnTo>
                  <a:pt x="1506" y="1166"/>
                </a:lnTo>
                <a:lnTo>
                  <a:pt x="1767" y="1166"/>
                </a:lnTo>
                <a:lnTo>
                  <a:pt x="1767" y="1273"/>
                </a:lnTo>
                <a:lnTo>
                  <a:pt x="1669" y="1273"/>
                </a:lnTo>
                <a:close/>
                <a:moveTo>
                  <a:pt x="1832" y="1936"/>
                </a:moveTo>
                <a:lnTo>
                  <a:pt x="1832" y="1166"/>
                </a:lnTo>
                <a:lnTo>
                  <a:pt x="2060" y="1166"/>
                </a:lnTo>
                <a:lnTo>
                  <a:pt x="2060" y="1273"/>
                </a:lnTo>
                <a:lnTo>
                  <a:pt x="1897" y="1273"/>
                </a:lnTo>
                <a:lnTo>
                  <a:pt x="1897" y="1489"/>
                </a:lnTo>
                <a:lnTo>
                  <a:pt x="2030" y="1489"/>
                </a:lnTo>
                <a:lnTo>
                  <a:pt x="2030" y="1593"/>
                </a:lnTo>
                <a:lnTo>
                  <a:pt x="1897" y="1593"/>
                </a:lnTo>
                <a:lnTo>
                  <a:pt x="1897" y="1828"/>
                </a:lnTo>
                <a:lnTo>
                  <a:pt x="2060" y="1828"/>
                </a:lnTo>
                <a:lnTo>
                  <a:pt x="2060" y="1936"/>
                </a:lnTo>
                <a:lnTo>
                  <a:pt x="1832" y="1936"/>
                </a:lnTo>
                <a:close/>
                <a:moveTo>
                  <a:pt x="2260" y="1954"/>
                </a:moveTo>
                <a:lnTo>
                  <a:pt x="2251" y="1954"/>
                </a:lnTo>
                <a:lnTo>
                  <a:pt x="2242" y="1952"/>
                </a:lnTo>
                <a:lnTo>
                  <a:pt x="2234" y="1950"/>
                </a:lnTo>
                <a:lnTo>
                  <a:pt x="2226" y="1948"/>
                </a:lnTo>
                <a:lnTo>
                  <a:pt x="2218" y="1944"/>
                </a:lnTo>
                <a:lnTo>
                  <a:pt x="2211" y="1938"/>
                </a:lnTo>
                <a:lnTo>
                  <a:pt x="2204" y="1932"/>
                </a:lnTo>
                <a:lnTo>
                  <a:pt x="2197" y="1926"/>
                </a:lnTo>
                <a:lnTo>
                  <a:pt x="2190" y="1920"/>
                </a:lnTo>
                <a:lnTo>
                  <a:pt x="2184" y="1912"/>
                </a:lnTo>
                <a:lnTo>
                  <a:pt x="2178" y="1902"/>
                </a:lnTo>
                <a:lnTo>
                  <a:pt x="2172" y="1892"/>
                </a:lnTo>
                <a:lnTo>
                  <a:pt x="2166" y="1882"/>
                </a:lnTo>
                <a:lnTo>
                  <a:pt x="2161" y="1872"/>
                </a:lnTo>
                <a:lnTo>
                  <a:pt x="2156" y="1860"/>
                </a:lnTo>
                <a:lnTo>
                  <a:pt x="2151" y="1846"/>
                </a:lnTo>
                <a:lnTo>
                  <a:pt x="2147" y="1834"/>
                </a:lnTo>
                <a:lnTo>
                  <a:pt x="2143" y="1820"/>
                </a:lnTo>
                <a:lnTo>
                  <a:pt x="2139" y="1804"/>
                </a:lnTo>
                <a:lnTo>
                  <a:pt x="2135" y="1788"/>
                </a:lnTo>
                <a:lnTo>
                  <a:pt x="2132" y="1772"/>
                </a:lnTo>
                <a:lnTo>
                  <a:pt x="2129" y="1756"/>
                </a:lnTo>
                <a:lnTo>
                  <a:pt x="2126" y="1738"/>
                </a:lnTo>
                <a:lnTo>
                  <a:pt x="2124" y="1720"/>
                </a:lnTo>
                <a:lnTo>
                  <a:pt x="2121" y="1701"/>
                </a:lnTo>
                <a:lnTo>
                  <a:pt x="2120" y="1681"/>
                </a:lnTo>
                <a:lnTo>
                  <a:pt x="2118" y="1661"/>
                </a:lnTo>
                <a:lnTo>
                  <a:pt x="2117" y="1641"/>
                </a:lnTo>
                <a:lnTo>
                  <a:pt x="2115" y="1597"/>
                </a:lnTo>
                <a:lnTo>
                  <a:pt x="2114" y="1575"/>
                </a:lnTo>
                <a:lnTo>
                  <a:pt x="2114" y="1551"/>
                </a:lnTo>
                <a:lnTo>
                  <a:pt x="2115" y="1505"/>
                </a:lnTo>
                <a:lnTo>
                  <a:pt x="2117" y="1461"/>
                </a:lnTo>
                <a:lnTo>
                  <a:pt x="2118" y="1441"/>
                </a:lnTo>
                <a:lnTo>
                  <a:pt x="2120" y="1421"/>
                </a:lnTo>
                <a:lnTo>
                  <a:pt x="2124" y="1383"/>
                </a:lnTo>
                <a:lnTo>
                  <a:pt x="2126" y="1363"/>
                </a:lnTo>
                <a:lnTo>
                  <a:pt x="2129" y="1347"/>
                </a:lnTo>
                <a:lnTo>
                  <a:pt x="2135" y="1313"/>
                </a:lnTo>
                <a:lnTo>
                  <a:pt x="2139" y="1297"/>
                </a:lnTo>
                <a:lnTo>
                  <a:pt x="2143" y="1283"/>
                </a:lnTo>
                <a:lnTo>
                  <a:pt x="2147" y="1269"/>
                </a:lnTo>
                <a:lnTo>
                  <a:pt x="2151" y="1255"/>
                </a:lnTo>
                <a:lnTo>
                  <a:pt x="2156" y="1243"/>
                </a:lnTo>
                <a:lnTo>
                  <a:pt x="2161" y="1231"/>
                </a:lnTo>
                <a:lnTo>
                  <a:pt x="2166" y="1220"/>
                </a:lnTo>
                <a:lnTo>
                  <a:pt x="2172" y="1210"/>
                </a:lnTo>
                <a:lnTo>
                  <a:pt x="2178" y="1200"/>
                </a:lnTo>
                <a:lnTo>
                  <a:pt x="2184" y="1192"/>
                </a:lnTo>
                <a:lnTo>
                  <a:pt x="2197" y="1176"/>
                </a:lnTo>
                <a:lnTo>
                  <a:pt x="2204" y="1170"/>
                </a:lnTo>
                <a:lnTo>
                  <a:pt x="2211" y="1164"/>
                </a:lnTo>
                <a:lnTo>
                  <a:pt x="2218" y="1160"/>
                </a:lnTo>
                <a:lnTo>
                  <a:pt x="2226" y="1156"/>
                </a:lnTo>
                <a:lnTo>
                  <a:pt x="2234" y="1152"/>
                </a:lnTo>
                <a:lnTo>
                  <a:pt x="2242" y="1150"/>
                </a:lnTo>
                <a:lnTo>
                  <a:pt x="2251" y="1148"/>
                </a:lnTo>
                <a:lnTo>
                  <a:pt x="2260" y="1148"/>
                </a:lnTo>
                <a:lnTo>
                  <a:pt x="2268" y="1148"/>
                </a:lnTo>
                <a:lnTo>
                  <a:pt x="2277" y="1150"/>
                </a:lnTo>
                <a:lnTo>
                  <a:pt x="2285" y="1152"/>
                </a:lnTo>
                <a:lnTo>
                  <a:pt x="2293" y="1156"/>
                </a:lnTo>
                <a:lnTo>
                  <a:pt x="2301" y="1160"/>
                </a:lnTo>
                <a:lnTo>
                  <a:pt x="2308" y="1164"/>
                </a:lnTo>
                <a:lnTo>
                  <a:pt x="2316" y="1170"/>
                </a:lnTo>
                <a:lnTo>
                  <a:pt x="2323" y="1176"/>
                </a:lnTo>
                <a:lnTo>
                  <a:pt x="2329" y="1184"/>
                </a:lnTo>
                <a:lnTo>
                  <a:pt x="2336" y="1192"/>
                </a:lnTo>
                <a:lnTo>
                  <a:pt x="2342" y="1200"/>
                </a:lnTo>
                <a:lnTo>
                  <a:pt x="2348" y="1210"/>
                </a:lnTo>
                <a:lnTo>
                  <a:pt x="2353" y="1220"/>
                </a:lnTo>
                <a:lnTo>
                  <a:pt x="2359" y="1229"/>
                </a:lnTo>
                <a:lnTo>
                  <a:pt x="2364" y="1241"/>
                </a:lnTo>
                <a:lnTo>
                  <a:pt x="2368" y="1255"/>
                </a:lnTo>
                <a:lnTo>
                  <a:pt x="2377" y="1283"/>
                </a:lnTo>
                <a:lnTo>
                  <a:pt x="2381" y="1297"/>
                </a:lnTo>
                <a:lnTo>
                  <a:pt x="2385" y="1313"/>
                </a:lnTo>
                <a:lnTo>
                  <a:pt x="2391" y="1345"/>
                </a:lnTo>
                <a:lnTo>
                  <a:pt x="2394" y="1363"/>
                </a:lnTo>
                <a:lnTo>
                  <a:pt x="2396" y="1381"/>
                </a:lnTo>
                <a:lnTo>
                  <a:pt x="2398" y="1401"/>
                </a:lnTo>
                <a:lnTo>
                  <a:pt x="2400" y="1421"/>
                </a:lnTo>
                <a:lnTo>
                  <a:pt x="2402" y="1441"/>
                </a:lnTo>
                <a:lnTo>
                  <a:pt x="2403" y="1461"/>
                </a:lnTo>
                <a:lnTo>
                  <a:pt x="2404" y="1483"/>
                </a:lnTo>
                <a:lnTo>
                  <a:pt x="2405" y="1505"/>
                </a:lnTo>
                <a:lnTo>
                  <a:pt x="2405" y="1527"/>
                </a:lnTo>
                <a:lnTo>
                  <a:pt x="2406" y="1551"/>
                </a:lnTo>
                <a:lnTo>
                  <a:pt x="2405" y="1597"/>
                </a:lnTo>
                <a:lnTo>
                  <a:pt x="2403" y="1641"/>
                </a:lnTo>
                <a:lnTo>
                  <a:pt x="2402" y="1663"/>
                </a:lnTo>
                <a:lnTo>
                  <a:pt x="2400" y="1683"/>
                </a:lnTo>
                <a:lnTo>
                  <a:pt x="2396" y="1720"/>
                </a:lnTo>
                <a:lnTo>
                  <a:pt x="2394" y="1738"/>
                </a:lnTo>
                <a:lnTo>
                  <a:pt x="2391" y="1756"/>
                </a:lnTo>
                <a:lnTo>
                  <a:pt x="2388" y="1772"/>
                </a:lnTo>
                <a:lnTo>
                  <a:pt x="2385" y="1790"/>
                </a:lnTo>
                <a:lnTo>
                  <a:pt x="2381" y="1804"/>
                </a:lnTo>
                <a:lnTo>
                  <a:pt x="2377" y="1820"/>
                </a:lnTo>
                <a:lnTo>
                  <a:pt x="2373" y="1834"/>
                </a:lnTo>
                <a:lnTo>
                  <a:pt x="2368" y="1846"/>
                </a:lnTo>
                <a:lnTo>
                  <a:pt x="2364" y="1860"/>
                </a:lnTo>
                <a:lnTo>
                  <a:pt x="2359" y="1872"/>
                </a:lnTo>
                <a:lnTo>
                  <a:pt x="2353" y="1882"/>
                </a:lnTo>
                <a:lnTo>
                  <a:pt x="2348" y="1894"/>
                </a:lnTo>
                <a:lnTo>
                  <a:pt x="2342" y="1902"/>
                </a:lnTo>
                <a:lnTo>
                  <a:pt x="2336" y="1912"/>
                </a:lnTo>
                <a:lnTo>
                  <a:pt x="2329" y="1920"/>
                </a:lnTo>
                <a:lnTo>
                  <a:pt x="2323" y="1926"/>
                </a:lnTo>
                <a:lnTo>
                  <a:pt x="2316" y="1934"/>
                </a:lnTo>
                <a:lnTo>
                  <a:pt x="2308" y="1938"/>
                </a:lnTo>
                <a:lnTo>
                  <a:pt x="2301" y="1944"/>
                </a:lnTo>
                <a:lnTo>
                  <a:pt x="2293" y="1948"/>
                </a:lnTo>
                <a:lnTo>
                  <a:pt x="2285" y="1950"/>
                </a:lnTo>
                <a:lnTo>
                  <a:pt x="2277" y="1952"/>
                </a:lnTo>
                <a:lnTo>
                  <a:pt x="2268" y="1954"/>
                </a:lnTo>
                <a:lnTo>
                  <a:pt x="2260" y="1954"/>
                </a:lnTo>
                <a:close/>
                <a:moveTo>
                  <a:pt x="2260" y="1257"/>
                </a:moveTo>
                <a:lnTo>
                  <a:pt x="2251" y="1257"/>
                </a:lnTo>
                <a:lnTo>
                  <a:pt x="2246" y="1259"/>
                </a:lnTo>
                <a:lnTo>
                  <a:pt x="2242" y="1259"/>
                </a:lnTo>
                <a:lnTo>
                  <a:pt x="2234" y="1265"/>
                </a:lnTo>
                <a:lnTo>
                  <a:pt x="2227" y="1271"/>
                </a:lnTo>
                <a:lnTo>
                  <a:pt x="2223" y="1275"/>
                </a:lnTo>
                <a:lnTo>
                  <a:pt x="2220" y="1281"/>
                </a:lnTo>
                <a:lnTo>
                  <a:pt x="2216" y="1287"/>
                </a:lnTo>
                <a:lnTo>
                  <a:pt x="2213" y="1293"/>
                </a:lnTo>
                <a:lnTo>
                  <a:pt x="2210" y="1299"/>
                </a:lnTo>
                <a:lnTo>
                  <a:pt x="2207" y="1307"/>
                </a:lnTo>
                <a:lnTo>
                  <a:pt x="2201" y="1323"/>
                </a:lnTo>
                <a:lnTo>
                  <a:pt x="2199" y="1331"/>
                </a:lnTo>
                <a:lnTo>
                  <a:pt x="2196" y="1341"/>
                </a:lnTo>
                <a:lnTo>
                  <a:pt x="2192" y="1363"/>
                </a:lnTo>
                <a:lnTo>
                  <a:pt x="2188" y="1387"/>
                </a:lnTo>
                <a:lnTo>
                  <a:pt x="2187" y="1399"/>
                </a:lnTo>
                <a:lnTo>
                  <a:pt x="2185" y="1413"/>
                </a:lnTo>
                <a:lnTo>
                  <a:pt x="2183" y="1443"/>
                </a:lnTo>
                <a:lnTo>
                  <a:pt x="2181" y="1477"/>
                </a:lnTo>
                <a:lnTo>
                  <a:pt x="2180" y="1513"/>
                </a:lnTo>
                <a:lnTo>
                  <a:pt x="2180" y="1551"/>
                </a:lnTo>
                <a:lnTo>
                  <a:pt x="2180" y="1591"/>
                </a:lnTo>
                <a:lnTo>
                  <a:pt x="2181" y="1627"/>
                </a:lnTo>
                <a:lnTo>
                  <a:pt x="2183" y="1659"/>
                </a:lnTo>
                <a:lnTo>
                  <a:pt x="2185" y="1689"/>
                </a:lnTo>
                <a:lnTo>
                  <a:pt x="2188" y="1714"/>
                </a:lnTo>
                <a:lnTo>
                  <a:pt x="2192" y="1738"/>
                </a:lnTo>
                <a:lnTo>
                  <a:pt x="2196" y="1760"/>
                </a:lnTo>
                <a:lnTo>
                  <a:pt x="2201" y="1780"/>
                </a:lnTo>
                <a:lnTo>
                  <a:pt x="2207" y="1796"/>
                </a:lnTo>
                <a:lnTo>
                  <a:pt x="2213" y="1810"/>
                </a:lnTo>
                <a:lnTo>
                  <a:pt x="2220" y="1820"/>
                </a:lnTo>
                <a:lnTo>
                  <a:pt x="2227" y="1830"/>
                </a:lnTo>
                <a:lnTo>
                  <a:pt x="2234" y="1836"/>
                </a:lnTo>
                <a:lnTo>
                  <a:pt x="2242" y="1842"/>
                </a:lnTo>
                <a:lnTo>
                  <a:pt x="2251" y="1844"/>
                </a:lnTo>
                <a:lnTo>
                  <a:pt x="2260" y="1846"/>
                </a:lnTo>
                <a:lnTo>
                  <a:pt x="2269" y="1844"/>
                </a:lnTo>
                <a:lnTo>
                  <a:pt x="2273" y="1844"/>
                </a:lnTo>
                <a:lnTo>
                  <a:pt x="2277" y="1842"/>
                </a:lnTo>
                <a:lnTo>
                  <a:pt x="2285" y="1836"/>
                </a:lnTo>
                <a:lnTo>
                  <a:pt x="2293" y="1830"/>
                </a:lnTo>
                <a:lnTo>
                  <a:pt x="2296" y="1826"/>
                </a:lnTo>
                <a:lnTo>
                  <a:pt x="2300" y="1820"/>
                </a:lnTo>
                <a:lnTo>
                  <a:pt x="2306" y="1808"/>
                </a:lnTo>
                <a:lnTo>
                  <a:pt x="2309" y="1802"/>
                </a:lnTo>
                <a:lnTo>
                  <a:pt x="2312" y="1796"/>
                </a:lnTo>
                <a:lnTo>
                  <a:pt x="2318" y="1778"/>
                </a:lnTo>
                <a:lnTo>
                  <a:pt x="2320" y="1770"/>
                </a:lnTo>
                <a:lnTo>
                  <a:pt x="2323" y="1760"/>
                </a:lnTo>
                <a:lnTo>
                  <a:pt x="2327" y="1738"/>
                </a:lnTo>
                <a:lnTo>
                  <a:pt x="2331" y="1714"/>
                </a:lnTo>
                <a:lnTo>
                  <a:pt x="2332" y="1703"/>
                </a:lnTo>
                <a:lnTo>
                  <a:pt x="2334" y="1689"/>
                </a:lnTo>
                <a:lnTo>
                  <a:pt x="2336" y="1659"/>
                </a:lnTo>
                <a:lnTo>
                  <a:pt x="2338" y="1625"/>
                </a:lnTo>
                <a:lnTo>
                  <a:pt x="2339" y="1591"/>
                </a:lnTo>
                <a:lnTo>
                  <a:pt x="2340" y="1551"/>
                </a:lnTo>
                <a:lnTo>
                  <a:pt x="2339" y="1513"/>
                </a:lnTo>
                <a:lnTo>
                  <a:pt x="2338" y="1477"/>
                </a:lnTo>
                <a:lnTo>
                  <a:pt x="2336" y="1443"/>
                </a:lnTo>
                <a:lnTo>
                  <a:pt x="2334" y="1415"/>
                </a:lnTo>
                <a:lnTo>
                  <a:pt x="2331" y="1387"/>
                </a:lnTo>
                <a:lnTo>
                  <a:pt x="2327" y="1363"/>
                </a:lnTo>
                <a:lnTo>
                  <a:pt x="2323" y="1341"/>
                </a:lnTo>
                <a:lnTo>
                  <a:pt x="2318" y="1323"/>
                </a:lnTo>
                <a:lnTo>
                  <a:pt x="2312" y="1307"/>
                </a:lnTo>
                <a:lnTo>
                  <a:pt x="2306" y="1293"/>
                </a:lnTo>
                <a:lnTo>
                  <a:pt x="2300" y="1281"/>
                </a:lnTo>
                <a:lnTo>
                  <a:pt x="2293" y="1271"/>
                </a:lnTo>
                <a:lnTo>
                  <a:pt x="2285" y="1265"/>
                </a:lnTo>
                <a:lnTo>
                  <a:pt x="2277" y="1259"/>
                </a:lnTo>
                <a:lnTo>
                  <a:pt x="2273" y="1259"/>
                </a:lnTo>
                <a:lnTo>
                  <a:pt x="2269" y="1257"/>
                </a:lnTo>
                <a:lnTo>
                  <a:pt x="2260" y="1257"/>
                </a:lnTo>
                <a:close/>
                <a:moveTo>
                  <a:pt x="2485" y="1936"/>
                </a:moveTo>
                <a:lnTo>
                  <a:pt x="2485" y="1166"/>
                </a:lnTo>
                <a:lnTo>
                  <a:pt x="2549" y="1166"/>
                </a:lnTo>
                <a:lnTo>
                  <a:pt x="2549" y="1828"/>
                </a:lnTo>
                <a:lnTo>
                  <a:pt x="2709" y="1828"/>
                </a:lnTo>
                <a:lnTo>
                  <a:pt x="2709" y="1936"/>
                </a:lnTo>
                <a:lnTo>
                  <a:pt x="2485" y="1936"/>
                </a:lnTo>
                <a:close/>
                <a:moveTo>
                  <a:pt x="2769" y="1936"/>
                </a:moveTo>
                <a:lnTo>
                  <a:pt x="2769" y="1166"/>
                </a:lnTo>
                <a:lnTo>
                  <a:pt x="2835" y="1166"/>
                </a:lnTo>
                <a:lnTo>
                  <a:pt x="2835" y="1828"/>
                </a:lnTo>
                <a:lnTo>
                  <a:pt x="2994" y="1828"/>
                </a:lnTo>
                <a:lnTo>
                  <a:pt x="2994" y="1936"/>
                </a:lnTo>
                <a:lnTo>
                  <a:pt x="2769" y="1936"/>
                </a:lnTo>
                <a:close/>
                <a:moveTo>
                  <a:pt x="3055" y="1166"/>
                </a:moveTo>
                <a:lnTo>
                  <a:pt x="3120" y="1166"/>
                </a:lnTo>
                <a:lnTo>
                  <a:pt x="3120" y="1936"/>
                </a:lnTo>
                <a:lnTo>
                  <a:pt x="3055" y="1936"/>
                </a:lnTo>
                <a:lnTo>
                  <a:pt x="3055" y="1166"/>
                </a:lnTo>
                <a:close/>
                <a:moveTo>
                  <a:pt x="3337" y="1954"/>
                </a:moveTo>
                <a:lnTo>
                  <a:pt x="3321" y="1954"/>
                </a:lnTo>
                <a:lnTo>
                  <a:pt x="3305" y="1950"/>
                </a:lnTo>
                <a:lnTo>
                  <a:pt x="3291" y="1944"/>
                </a:lnTo>
                <a:lnTo>
                  <a:pt x="3284" y="1940"/>
                </a:lnTo>
                <a:lnTo>
                  <a:pt x="3278" y="1936"/>
                </a:lnTo>
                <a:lnTo>
                  <a:pt x="3266" y="1928"/>
                </a:lnTo>
                <a:lnTo>
                  <a:pt x="3260" y="1922"/>
                </a:lnTo>
                <a:lnTo>
                  <a:pt x="3255" y="1916"/>
                </a:lnTo>
                <a:lnTo>
                  <a:pt x="3245" y="1902"/>
                </a:lnTo>
                <a:lnTo>
                  <a:pt x="3241" y="1896"/>
                </a:lnTo>
                <a:lnTo>
                  <a:pt x="3236" y="1888"/>
                </a:lnTo>
                <a:lnTo>
                  <a:pt x="3232" y="1880"/>
                </a:lnTo>
                <a:lnTo>
                  <a:pt x="3229" y="1872"/>
                </a:lnTo>
                <a:lnTo>
                  <a:pt x="3225" y="1864"/>
                </a:lnTo>
                <a:lnTo>
                  <a:pt x="3222" y="1854"/>
                </a:lnTo>
                <a:lnTo>
                  <a:pt x="3216" y="1834"/>
                </a:lnTo>
                <a:lnTo>
                  <a:pt x="3211" y="1814"/>
                </a:lnTo>
                <a:lnTo>
                  <a:pt x="3210" y="1804"/>
                </a:lnTo>
                <a:lnTo>
                  <a:pt x="3208" y="1792"/>
                </a:lnTo>
                <a:lnTo>
                  <a:pt x="3205" y="1770"/>
                </a:lnTo>
                <a:lnTo>
                  <a:pt x="3203" y="1746"/>
                </a:lnTo>
                <a:lnTo>
                  <a:pt x="3203" y="1732"/>
                </a:lnTo>
                <a:lnTo>
                  <a:pt x="3203" y="1720"/>
                </a:lnTo>
                <a:lnTo>
                  <a:pt x="3265" y="1693"/>
                </a:lnTo>
                <a:lnTo>
                  <a:pt x="3266" y="1714"/>
                </a:lnTo>
                <a:lnTo>
                  <a:pt x="3267" y="1734"/>
                </a:lnTo>
                <a:lnTo>
                  <a:pt x="3269" y="1750"/>
                </a:lnTo>
                <a:lnTo>
                  <a:pt x="3271" y="1766"/>
                </a:lnTo>
                <a:lnTo>
                  <a:pt x="3273" y="1774"/>
                </a:lnTo>
                <a:lnTo>
                  <a:pt x="3274" y="1782"/>
                </a:lnTo>
                <a:lnTo>
                  <a:pt x="3278" y="1794"/>
                </a:lnTo>
                <a:lnTo>
                  <a:pt x="3282" y="1804"/>
                </a:lnTo>
                <a:lnTo>
                  <a:pt x="3286" y="1814"/>
                </a:lnTo>
                <a:lnTo>
                  <a:pt x="3291" y="1824"/>
                </a:lnTo>
                <a:lnTo>
                  <a:pt x="3297" y="1830"/>
                </a:lnTo>
                <a:lnTo>
                  <a:pt x="3303" y="1836"/>
                </a:lnTo>
                <a:lnTo>
                  <a:pt x="3310" y="1840"/>
                </a:lnTo>
                <a:lnTo>
                  <a:pt x="3317" y="1844"/>
                </a:lnTo>
                <a:lnTo>
                  <a:pt x="3324" y="1846"/>
                </a:lnTo>
                <a:lnTo>
                  <a:pt x="3332" y="1848"/>
                </a:lnTo>
                <a:lnTo>
                  <a:pt x="3341" y="1848"/>
                </a:lnTo>
                <a:lnTo>
                  <a:pt x="3348" y="1848"/>
                </a:lnTo>
                <a:lnTo>
                  <a:pt x="3355" y="1846"/>
                </a:lnTo>
                <a:lnTo>
                  <a:pt x="3362" y="1844"/>
                </a:lnTo>
                <a:lnTo>
                  <a:pt x="3368" y="1842"/>
                </a:lnTo>
                <a:lnTo>
                  <a:pt x="3374" y="1838"/>
                </a:lnTo>
                <a:lnTo>
                  <a:pt x="3380" y="1832"/>
                </a:lnTo>
                <a:lnTo>
                  <a:pt x="3385" y="1826"/>
                </a:lnTo>
                <a:lnTo>
                  <a:pt x="3390" y="1820"/>
                </a:lnTo>
                <a:lnTo>
                  <a:pt x="3394" y="1812"/>
                </a:lnTo>
                <a:lnTo>
                  <a:pt x="3398" y="1804"/>
                </a:lnTo>
                <a:lnTo>
                  <a:pt x="3401" y="1796"/>
                </a:lnTo>
                <a:lnTo>
                  <a:pt x="3404" y="1786"/>
                </a:lnTo>
                <a:lnTo>
                  <a:pt x="3406" y="1774"/>
                </a:lnTo>
                <a:lnTo>
                  <a:pt x="3407" y="1770"/>
                </a:lnTo>
                <a:lnTo>
                  <a:pt x="3408" y="1764"/>
                </a:lnTo>
                <a:lnTo>
                  <a:pt x="3409" y="1752"/>
                </a:lnTo>
                <a:lnTo>
                  <a:pt x="3409" y="1738"/>
                </a:lnTo>
                <a:lnTo>
                  <a:pt x="3409" y="1728"/>
                </a:lnTo>
                <a:lnTo>
                  <a:pt x="3408" y="1718"/>
                </a:lnTo>
                <a:lnTo>
                  <a:pt x="3407" y="1711"/>
                </a:lnTo>
                <a:lnTo>
                  <a:pt x="3406" y="1701"/>
                </a:lnTo>
                <a:lnTo>
                  <a:pt x="3404" y="1693"/>
                </a:lnTo>
                <a:lnTo>
                  <a:pt x="3402" y="1685"/>
                </a:lnTo>
                <a:lnTo>
                  <a:pt x="3400" y="1677"/>
                </a:lnTo>
                <a:lnTo>
                  <a:pt x="3396" y="1669"/>
                </a:lnTo>
                <a:lnTo>
                  <a:pt x="3389" y="1653"/>
                </a:lnTo>
                <a:lnTo>
                  <a:pt x="3385" y="1645"/>
                </a:lnTo>
                <a:lnTo>
                  <a:pt x="3380" y="1639"/>
                </a:lnTo>
                <a:lnTo>
                  <a:pt x="3369" y="1625"/>
                </a:lnTo>
                <a:lnTo>
                  <a:pt x="3356" y="1613"/>
                </a:lnTo>
                <a:lnTo>
                  <a:pt x="3292" y="1555"/>
                </a:lnTo>
                <a:lnTo>
                  <a:pt x="3282" y="1547"/>
                </a:lnTo>
                <a:lnTo>
                  <a:pt x="3273" y="1537"/>
                </a:lnTo>
                <a:lnTo>
                  <a:pt x="3257" y="1517"/>
                </a:lnTo>
                <a:lnTo>
                  <a:pt x="3243" y="1497"/>
                </a:lnTo>
                <a:lnTo>
                  <a:pt x="3237" y="1485"/>
                </a:lnTo>
                <a:lnTo>
                  <a:pt x="3232" y="1473"/>
                </a:lnTo>
                <a:lnTo>
                  <a:pt x="3227" y="1461"/>
                </a:lnTo>
                <a:lnTo>
                  <a:pt x="3223" y="1447"/>
                </a:lnTo>
                <a:lnTo>
                  <a:pt x="3220" y="1433"/>
                </a:lnTo>
                <a:lnTo>
                  <a:pt x="3217" y="1417"/>
                </a:lnTo>
                <a:lnTo>
                  <a:pt x="3215" y="1401"/>
                </a:lnTo>
                <a:lnTo>
                  <a:pt x="3214" y="1393"/>
                </a:lnTo>
                <a:lnTo>
                  <a:pt x="3213" y="1385"/>
                </a:lnTo>
                <a:lnTo>
                  <a:pt x="3212" y="1367"/>
                </a:lnTo>
                <a:lnTo>
                  <a:pt x="3212" y="1347"/>
                </a:lnTo>
                <a:lnTo>
                  <a:pt x="3212" y="1335"/>
                </a:lnTo>
                <a:lnTo>
                  <a:pt x="3213" y="1323"/>
                </a:lnTo>
                <a:lnTo>
                  <a:pt x="3214" y="1311"/>
                </a:lnTo>
                <a:lnTo>
                  <a:pt x="3215" y="1299"/>
                </a:lnTo>
                <a:lnTo>
                  <a:pt x="3216" y="1289"/>
                </a:lnTo>
                <a:lnTo>
                  <a:pt x="3218" y="1279"/>
                </a:lnTo>
                <a:lnTo>
                  <a:pt x="3222" y="1259"/>
                </a:lnTo>
                <a:lnTo>
                  <a:pt x="3225" y="1249"/>
                </a:lnTo>
                <a:lnTo>
                  <a:pt x="3228" y="1241"/>
                </a:lnTo>
                <a:lnTo>
                  <a:pt x="3234" y="1225"/>
                </a:lnTo>
                <a:lnTo>
                  <a:pt x="3241" y="1210"/>
                </a:lnTo>
                <a:lnTo>
                  <a:pt x="3245" y="1204"/>
                </a:lnTo>
                <a:lnTo>
                  <a:pt x="3250" y="1198"/>
                </a:lnTo>
                <a:lnTo>
                  <a:pt x="3259" y="1186"/>
                </a:lnTo>
                <a:lnTo>
                  <a:pt x="3269" y="1176"/>
                </a:lnTo>
                <a:lnTo>
                  <a:pt x="3279" y="1166"/>
                </a:lnTo>
                <a:lnTo>
                  <a:pt x="3290" y="1160"/>
                </a:lnTo>
                <a:lnTo>
                  <a:pt x="3302" y="1154"/>
                </a:lnTo>
                <a:lnTo>
                  <a:pt x="3314" y="1150"/>
                </a:lnTo>
                <a:lnTo>
                  <a:pt x="3327" y="1148"/>
                </a:lnTo>
                <a:lnTo>
                  <a:pt x="3340" y="1148"/>
                </a:lnTo>
                <a:lnTo>
                  <a:pt x="3355" y="1150"/>
                </a:lnTo>
                <a:lnTo>
                  <a:pt x="3370" y="1152"/>
                </a:lnTo>
                <a:lnTo>
                  <a:pt x="3383" y="1158"/>
                </a:lnTo>
                <a:lnTo>
                  <a:pt x="3389" y="1162"/>
                </a:lnTo>
                <a:lnTo>
                  <a:pt x="3395" y="1166"/>
                </a:lnTo>
                <a:lnTo>
                  <a:pt x="3407" y="1174"/>
                </a:lnTo>
                <a:lnTo>
                  <a:pt x="3417" y="1186"/>
                </a:lnTo>
                <a:lnTo>
                  <a:pt x="3426" y="1198"/>
                </a:lnTo>
                <a:lnTo>
                  <a:pt x="3434" y="1212"/>
                </a:lnTo>
                <a:lnTo>
                  <a:pt x="3438" y="1218"/>
                </a:lnTo>
                <a:lnTo>
                  <a:pt x="3441" y="1225"/>
                </a:lnTo>
                <a:lnTo>
                  <a:pt x="3444" y="1233"/>
                </a:lnTo>
                <a:lnTo>
                  <a:pt x="3447" y="1241"/>
                </a:lnTo>
                <a:lnTo>
                  <a:pt x="3452" y="1259"/>
                </a:lnTo>
                <a:lnTo>
                  <a:pt x="3457" y="1275"/>
                </a:lnTo>
                <a:lnTo>
                  <a:pt x="3460" y="1293"/>
                </a:lnTo>
                <a:lnTo>
                  <a:pt x="3462" y="1313"/>
                </a:lnTo>
                <a:lnTo>
                  <a:pt x="3464" y="1331"/>
                </a:lnTo>
                <a:lnTo>
                  <a:pt x="3464" y="1349"/>
                </a:lnTo>
                <a:lnTo>
                  <a:pt x="3402" y="1375"/>
                </a:lnTo>
                <a:lnTo>
                  <a:pt x="3402" y="1359"/>
                </a:lnTo>
                <a:lnTo>
                  <a:pt x="3400" y="1345"/>
                </a:lnTo>
                <a:lnTo>
                  <a:pt x="3399" y="1331"/>
                </a:lnTo>
                <a:lnTo>
                  <a:pt x="3397" y="1319"/>
                </a:lnTo>
                <a:lnTo>
                  <a:pt x="3394" y="1309"/>
                </a:lnTo>
                <a:lnTo>
                  <a:pt x="3391" y="1299"/>
                </a:lnTo>
                <a:lnTo>
                  <a:pt x="3388" y="1289"/>
                </a:lnTo>
                <a:lnTo>
                  <a:pt x="3384" y="1281"/>
                </a:lnTo>
                <a:lnTo>
                  <a:pt x="3380" y="1275"/>
                </a:lnTo>
                <a:lnTo>
                  <a:pt x="3375" y="1269"/>
                </a:lnTo>
                <a:lnTo>
                  <a:pt x="3370" y="1265"/>
                </a:lnTo>
                <a:lnTo>
                  <a:pt x="3364" y="1261"/>
                </a:lnTo>
                <a:lnTo>
                  <a:pt x="3358" y="1257"/>
                </a:lnTo>
                <a:lnTo>
                  <a:pt x="3352" y="1255"/>
                </a:lnTo>
                <a:lnTo>
                  <a:pt x="3345" y="1255"/>
                </a:lnTo>
                <a:lnTo>
                  <a:pt x="3337" y="1253"/>
                </a:lnTo>
                <a:lnTo>
                  <a:pt x="3325" y="1255"/>
                </a:lnTo>
                <a:lnTo>
                  <a:pt x="3313" y="1259"/>
                </a:lnTo>
                <a:lnTo>
                  <a:pt x="3308" y="1263"/>
                </a:lnTo>
                <a:lnTo>
                  <a:pt x="3303" y="1267"/>
                </a:lnTo>
                <a:lnTo>
                  <a:pt x="3298" y="1271"/>
                </a:lnTo>
                <a:lnTo>
                  <a:pt x="3294" y="1275"/>
                </a:lnTo>
                <a:lnTo>
                  <a:pt x="3290" y="1281"/>
                </a:lnTo>
                <a:lnTo>
                  <a:pt x="3287" y="1287"/>
                </a:lnTo>
                <a:lnTo>
                  <a:pt x="3284" y="1295"/>
                </a:lnTo>
                <a:lnTo>
                  <a:pt x="3281" y="1303"/>
                </a:lnTo>
                <a:lnTo>
                  <a:pt x="3279" y="1311"/>
                </a:lnTo>
                <a:lnTo>
                  <a:pt x="3278" y="1321"/>
                </a:lnTo>
                <a:lnTo>
                  <a:pt x="3277" y="1331"/>
                </a:lnTo>
                <a:lnTo>
                  <a:pt x="3276" y="1341"/>
                </a:lnTo>
                <a:lnTo>
                  <a:pt x="3277" y="1351"/>
                </a:lnTo>
                <a:lnTo>
                  <a:pt x="3277" y="1361"/>
                </a:lnTo>
                <a:lnTo>
                  <a:pt x="3278" y="1371"/>
                </a:lnTo>
                <a:lnTo>
                  <a:pt x="3279" y="1379"/>
                </a:lnTo>
                <a:lnTo>
                  <a:pt x="3281" y="1387"/>
                </a:lnTo>
                <a:lnTo>
                  <a:pt x="3283" y="1395"/>
                </a:lnTo>
                <a:lnTo>
                  <a:pt x="3286" y="1403"/>
                </a:lnTo>
                <a:lnTo>
                  <a:pt x="3288" y="1409"/>
                </a:lnTo>
                <a:lnTo>
                  <a:pt x="3292" y="1415"/>
                </a:lnTo>
                <a:lnTo>
                  <a:pt x="3295" y="1421"/>
                </a:lnTo>
                <a:lnTo>
                  <a:pt x="3304" y="1433"/>
                </a:lnTo>
                <a:lnTo>
                  <a:pt x="3314" y="1445"/>
                </a:lnTo>
                <a:lnTo>
                  <a:pt x="3326" y="1457"/>
                </a:lnTo>
                <a:lnTo>
                  <a:pt x="3388" y="1511"/>
                </a:lnTo>
                <a:lnTo>
                  <a:pt x="3398" y="1521"/>
                </a:lnTo>
                <a:lnTo>
                  <a:pt x="3408" y="1531"/>
                </a:lnTo>
                <a:lnTo>
                  <a:pt x="3418" y="1541"/>
                </a:lnTo>
                <a:lnTo>
                  <a:pt x="3426" y="1553"/>
                </a:lnTo>
                <a:lnTo>
                  <a:pt x="3434" y="1565"/>
                </a:lnTo>
                <a:lnTo>
                  <a:pt x="3441" y="1575"/>
                </a:lnTo>
                <a:lnTo>
                  <a:pt x="3447" y="1589"/>
                </a:lnTo>
                <a:lnTo>
                  <a:pt x="3453" y="1601"/>
                </a:lnTo>
                <a:lnTo>
                  <a:pt x="3458" y="1615"/>
                </a:lnTo>
                <a:lnTo>
                  <a:pt x="3462" y="1629"/>
                </a:lnTo>
                <a:lnTo>
                  <a:pt x="3466" y="1643"/>
                </a:lnTo>
                <a:lnTo>
                  <a:pt x="3469" y="1659"/>
                </a:lnTo>
                <a:lnTo>
                  <a:pt x="3471" y="1675"/>
                </a:lnTo>
                <a:lnTo>
                  <a:pt x="3472" y="1685"/>
                </a:lnTo>
                <a:lnTo>
                  <a:pt x="3472" y="1693"/>
                </a:lnTo>
                <a:lnTo>
                  <a:pt x="3473" y="1711"/>
                </a:lnTo>
                <a:lnTo>
                  <a:pt x="3474" y="1730"/>
                </a:lnTo>
                <a:lnTo>
                  <a:pt x="3473" y="1756"/>
                </a:lnTo>
                <a:lnTo>
                  <a:pt x="3471" y="1780"/>
                </a:lnTo>
                <a:lnTo>
                  <a:pt x="3470" y="1792"/>
                </a:lnTo>
                <a:lnTo>
                  <a:pt x="3468" y="1802"/>
                </a:lnTo>
                <a:lnTo>
                  <a:pt x="3466" y="1814"/>
                </a:lnTo>
                <a:lnTo>
                  <a:pt x="3464" y="1824"/>
                </a:lnTo>
                <a:lnTo>
                  <a:pt x="3461" y="1834"/>
                </a:lnTo>
                <a:lnTo>
                  <a:pt x="3459" y="1844"/>
                </a:lnTo>
                <a:lnTo>
                  <a:pt x="3452" y="1862"/>
                </a:lnTo>
                <a:lnTo>
                  <a:pt x="3449" y="1870"/>
                </a:lnTo>
                <a:lnTo>
                  <a:pt x="3445" y="1880"/>
                </a:lnTo>
                <a:lnTo>
                  <a:pt x="3437" y="1894"/>
                </a:lnTo>
                <a:lnTo>
                  <a:pt x="3432" y="1902"/>
                </a:lnTo>
                <a:lnTo>
                  <a:pt x="3427" y="1908"/>
                </a:lnTo>
                <a:lnTo>
                  <a:pt x="3422" y="1914"/>
                </a:lnTo>
                <a:lnTo>
                  <a:pt x="3417" y="1920"/>
                </a:lnTo>
                <a:lnTo>
                  <a:pt x="3406" y="1930"/>
                </a:lnTo>
                <a:lnTo>
                  <a:pt x="3394" y="1938"/>
                </a:lnTo>
                <a:lnTo>
                  <a:pt x="3381" y="1946"/>
                </a:lnTo>
                <a:lnTo>
                  <a:pt x="3367" y="1950"/>
                </a:lnTo>
                <a:lnTo>
                  <a:pt x="3360" y="1952"/>
                </a:lnTo>
                <a:lnTo>
                  <a:pt x="3353" y="1952"/>
                </a:lnTo>
                <a:lnTo>
                  <a:pt x="3337" y="1954"/>
                </a:lnTo>
                <a:close/>
                <a:moveTo>
                  <a:pt x="3582" y="1882"/>
                </a:moveTo>
                <a:lnTo>
                  <a:pt x="3574" y="1866"/>
                </a:lnTo>
                <a:lnTo>
                  <a:pt x="3567" y="1848"/>
                </a:lnTo>
                <a:lnTo>
                  <a:pt x="3562" y="1828"/>
                </a:lnTo>
                <a:lnTo>
                  <a:pt x="3559" y="1816"/>
                </a:lnTo>
                <a:lnTo>
                  <a:pt x="3557" y="1806"/>
                </a:lnTo>
                <a:lnTo>
                  <a:pt x="3554" y="1782"/>
                </a:lnTo>
                <a:lnTo>
                  <a:pt x="3551" y="1756"/>
                </a:lnTo>
                <a:lnTo>
                  <a:pt x="3550" y="1742"/>
                </a:lnTo>
                <a:lnTo>
                  <a:pt x="3550" y="1726"/>
                </a:lnTo>
                <a:lnTo>
                  <a:pt x="3549" y="1697"/>
                </a:lnTo>
                <a:lnTo>
                  <a:pt x="3549" y="1166"/>
                </a:lnTo>
                <a:lnTo>
                  <a:pt x="3615" y="1166"/>
                </a:lnTo>
                <a:lnTo>
                  <a:pt x="3615" y="1691"/>
                </a:lnTo>
                <a:lnTo>
                  <a:pt x="3615" y="1711"/>
                </a:lnTo>
                <a:lnTo>
                  <a:pt x="3616" y="1728"/>
                </a:lnTo>
                <a:lnTo>
                  <a:pt x="3617" y="1744"/>
                </a:lnTo>
                <a:lnTo>
                  <a:pt x="3618" y="1758"/>
                </a:lnTo>
                <a:lnTo>
                  <a:pt x="3620" y="1772"/>
                </a:lnTo>
                <a:lnTo>
                  <a:pt x="3623" y="1784"/>
                </a:lnTo>
                <a:lnTo>
                  <a:pt x="3625" y="1796"/>
                </a:lnTo>
                <a:lnTo>
                  <a:pt x="3629" y="1804"/>
                </a:lnTo>
                <a:lnTo>
                  <a:pt x="3633" y="1814"/>
                </a:lnTo>
                <a:lnTo>
                  <a:pt x="3637" y="1822"/>
                </a:lnTo>
                <a:lnTo>
                  <a:pt x="3643" y="1830"/>
                </a:lnTo>
                <a:lnTo>
                  <a:pt x="3649" y="1836"/>
                </a:lnTo>
                <a:lnTo>
                  <a:pt x="3652" y="1838"/>
                </a:lnTo>
                <a:lnTo>
                  <a:pt x="3655" y="1840"/>
                </a:lnTo>
                <a:lnTo>
                  <a:pt x="3662" y="1844"/>
                </a:lnTo>
                <a:lnTo>
                  <a:pt x="3670" y="1846"/>
                </a:lnTo>
                <a:lnTo>
                  <a:pt x="3678" y="1846"/>
                </a:lnTo>
                <a:lnTo>
                  <a:pt x="3686" y="1846"/>
                </a:lnTo>
                <a:lnTo>
                  <a:pt x="3694" y="1844"/>
                </a:lnTo>
                <a:lnTo>
                  <a:pt x="3701" y="1840"/>
                </a:lnTo>
                <a:lnTo>
                  <a:pt x="3708" y="1836"/>
                </a:lnTo>
                <a:lnTo>
                  <a:pt x="3713" y="1830"/>
                </a:lnTo>
                <a:lnTo>
                  <a:pt x="3719" y="1822"/>
                </a:lnTo>
                <a:lnTo>
                  <a:pt x="3723" y="1814"/>
                </a:lnTo>
                <a:lnTo>
                  <a:pt x="3728" y="1804"/>
                </a:lnTo>
                <a:lnTo>
                  <a:pt x="3731" y="1796"/>
                </a:lnTo>
                <a:lnTo>
                  <a:pt x="3734" y="1784"/>
                </a:lnTo>
                <a:lnTo>
                  <a:pt x="3736" y="1772"/>
                </a:lnTo>
                <a:lnTo>
                  <a:pt x="3738" y="1758"/>
                </a:lnTo>
                <a:lnTo>
                  <a:pt x="3740" y="1744"/>
                </a:lnTo>
                <a:lnTo>
                  <a:pt x="3741" y="1728"/>
                </a:lnTo>
                <a:lnTo>
                  <a:pt x="3741" y="1711"/>
                </a:lnTo>
                <a:lnTo>
                  <a:pt x="3741" y="1691"/>
                </a:lnTo>
                <a:lnTo>
                  <a:pt x="3741" y="1166"/>
                </a:lnTo>
                <a:lnTo>
                  <a:pt x="3807" y="1166"/>
                </a:lnTo>
                <a:lnTo>
                  <a:pt x="3807" y="1697"/>
                </a:lnTo>
                <a:lnTo>
                  <a:pt x="3806" y="1726"/>
                </a:lnTo>
                <a:lnTo>
                  <a:pt x="3805" y="1742"/>
                </a:lnTo>
                <a:lnTo>
                  <a:pt x="3805" y="1756"/>
                </a:lnTo>
                <a:lnTo>
                  <a:pt x="3802" y="1782"/>
                </a:lnTo>
                <a:lnTo>
                  <a:pt x="3798" y="1806"/>
                </a:lnTo>
                <a:lnTo>
                  <a:pt x="3796" y="1816"/>
                </a:lnTo>
                <a:lnTo>
                  <a:pt x="3794" y="1828"/>
                </a:lnTo>
                <a:lnTo>
                  <a:pt x="3788" y="1848"/>
                </a:lnTo>
                <a:lnTo>
                  <a:pt x="3785" y="1856"/>
                </a:lnTo>
                <a:lnTo>
                  <a:pt x="3782" y="1866"/>
                </a:lnTo>
                <a:lnTo>
                  <a:pt x="3779" y="1874"/>
                </a:lnTo>
                <a:lnTo>
                  <a:pt x="3775" y="1882"/>
                </a:lnTo>
                <a:lnTo>
                  <a:pt x="3771" y="1890"/>
                </a:lnTo>
                <a:lnTo>
                  <a:pt x="3766" y="1898"/>
                </a:lnTo>
                <a:lnTo>
                  <a:pt x="3756" y="1914"/>
                </a:lnTo>
                <a:lnTo>
                  <a:pt x="3745" y="1926"/>
                </a:lnTo>
                <a:lnTo>
                  <a:pt x="3739" y="1930"/>
                </a:lnTo>
                <a:lnTo>
                  <a:pt x="3733" y="1936"/>
                </a:lnTo>
                <a:lnTo>
                  <a:pt x="3720" y="1944"/>
                </a:lnTo>
                <a:lnTo>
                  <a:pt x="3714" y="1946"/>
                </a:lnTo>
                <a:lnTo>
                  <a:pt x="3707" y="1950"/>
                </a:lnTo>
                <a:lnTo>
                  <a:pt x="3693" y="1952"/>
                </a:lnTo>
                <a:lnTo>
                  <a:pt x="3685" y="1954"/>
                </a:lnTo>
                <a:lnTo>
                  <a:pt x="3678" y="1954"/>
                </a:lnTo>
                <a:lnTo>
                  <a:pt x="3663" y="1952"/>
                </a:lnTo>
                <a:lnTo>
                  <a:pt x="3649" y="1950"/>
                </a:lnTo>
                <a:lnTo>
                  <a:pt x="3643" y="1946"/>
                </a:lnTo>
                <a:lnTo>
                  <a:pt x="3636" y="1944"/>
                </a:lnTo>
                <a:lnTo>
                  <a:pt x="3624" y="1936"/>
                </a:lnTo>
                <a:lnTo>
                  <a:pt x="3612" y="1926"/>
                </a:lnTo>
                <a:lnTo>
                  <a:pt x="3601" y="1914"/>
                </a:lnTo>
                <a:lnTo>
                  <a:pt x="3591" y="1898"/>
                </a:lnTo>
                <a:lnTo>
                  <a:pt x="3586" y="1890"/>
                </a:lnTo>
                <a:lnTo>
                  <a:pt x="3582" y="1882"/>
                </a:lnTo>
                <a:close/>
                <a:moveTo>
                  <a:pt x="3934" y="1882"/>
                </a:moveTo>
                <a:lnTo>
                  <a:pt x="3927" y="1866"/>
                </a:lnTo>
                <a:lnTo>
                  <a:pt x="3920" y="1848"/>
                </a:lnTo>
                <a:lnTo>
                  <a:pt x="3915" y="1828"/>
                </a:lnTo>
                <a:lnTo>
                  <a:pt x="3912" y="1816"/>
                </a:lnTo>
                <a:lnTo>
                  <a:pt x="3910" y="1806"/>
                </a:lnTo>
                <a:lnTo>
                  <a:pt x="3907" y="1782"/>
                </a:lnTo>
                <a:lnTo>
                  <a:pt x="3904" y="1756"/>
                </a:lnTo>
                <a:lnTo>
                  <a:pt x="3903" y="1742"/>
                </a:lnTo>
                <a:lnTo>
                  <a:pt x="3903" y="1726"/>
                </a:lnTo>
                <a:lnTo>
                  <a:pt x="3902" y="1697"/>
                </a:lnTo>
                <a:lnTo>
                  <a:pt x="3902" y="1166"/>
                </a:lnTo>
                <a:lnTo>
                  <a:pt x="3968" y="1166"/>
                </a:lnTo>
                <a:lnTo>
                  <a:pt x="3968" y="1691"/>
                </a:lnTo>
                <a:lnTo>
                  <a:pt x="3968" y="1711"/>
                </a:lnTo>
                <a:lnTo>
                  <a:pt x="3969" y="1728"/>
                </a:lnTo>
                <a:lnTo>
                  <a:pt x="3970" y="1744"/>
                </a:lnTo>
                <a:lnTo>
                  <a:pt x="3972" y="1758"/>
                </a:lnTo>
                <a:lnTo>
                  <a:pt x="3973" y="1772"/>
                </a:lnTo>
                <a:lnTo>
                  <a:pt x="3976" y="1784"/>
                </a:lnTo>
                <a:lnTo>
                  <a:pt x="3979" y="1796"/>
                </a:lnTo>
                <a:lnTo>
                  <a:pt x="3982" y="1804"/>
                </a:lnTo>
                <a:lnTo>
                  <a:pt x="3986" y="1814"/>
                </a:lnTo>
                <a:lnTo>
                  <a:pt x="3991" y="1822"/>
                </a:lnTo>
                <a:lnTo>
                  <a:pt x="3996" y="1830"/>
                </a:lnTo>
                <a:lnTo>
                  <a:pt x="4002" y="1836"/>
                </a:lnTo>
                <a:lnTo>
                  <a:pt x="4005" y="1838"/>
                </a:lnTo>
                <a:lnTo>
                  <a:pt x="4008" y="1840"/>
                </a:lnTo>
                <a:lnTo>
                  <a:pt x="4015" y="1844"/>
                </a:lnTo>
                <a:lnTo>
                  <a:pt x="4023" y="1846"/>
                </a:lnTo>
                <a:lnTo>
                  <a:pt x="4031" y="1846"/>
                </a:lnTo>
                <a:lnTo>
                  <a:pt x="4040" y="1846"/>
                </a:lnTo>
                <a:lnTo>
                  <a:pt x="4047" y="1844"/>
                </a:lnTo>
                <a:lnTo>
                  <a:pt x="4054" y="1840"/>
                </a:lnTo>
                <a:lnTo>
                  <a:pt x="4061" y="1836"/>
                </a:lnTo>
                <a:lnTo>
                  <a:pt x="4067" y="1830"/>
                </a:lnTo>
                <a:lnTo>
                  <a:pt x="4072" y="1822"/>
                </a:lnTo>
                <a:lnTo>
                  <a:pt x="4077" y="1814"/>
                </a:lnTo>
                <a:lnTo>
                  <a:pt x="4081" y="1804"/>
                </a:lnTo>
                <a:lnTo>
                  <a:pt x="4084" y="1796"/>
                </a:lnTo>
                <a:lnTo>
                  <a:pt x="4087" y="1784"/>
                </a:lnTo>
                <a:lnTo>
                  <a:pt x="4090" y="1772"/>
                </a:lnTo>
                <a:lnTo>
                  <a:pt x="4091" y="1758"/>
                </a:lnTo>
                <a:lnTo>
                  <a:pt x="4093" y="1744"/>
                </a:lnTo>
                <a:lnTo>
                  <a:pt x="4094" y="1728"/>
                </a:lnTo>
                <a:lnTo>
                  <a:pt x="4094" y="1711"/>
                </a:lnTo>
                <a:lnTo>
                  <a:pt x="4094" y="1691"/>
                </a:lnTo>
                <a:lnTo>
                  <a:pt x="4094" y="1166"/>
                </a:lnTo>
                <a:lnTo>
                  <a:pt x="4160" y="1166"/>
                </a:lnTo>
                <a:lnTo>
                  <a:pt x="4160" y="1697"/>
                </a:lnTo>
                <a:lnTo>
                  <a:pt x="4159" y="1726"/>
                </a:lnTo>
                <a:lnTo>
                  <a:pt x="4159" y="1742"/>
                </a:lnTo>
                <a:lnTo>
                  <a:pt x="4158" y="1756"/>
                </a:lnTo>
                <a:lnTo>
                  <a:pt x="4155" y="1782"/>
                </a:lnTo>
                <a:lnTo>
                  <a:pt x="4152" y="1806"/>
                </a:lnTo>
                <a:lnTo>
                  <a:pt x="4149" y="1816"/>
                </a:lnTo>
                <a:lnTo>
                  <a:pt x="4147" y="1828"/>
                </a:lnTo>
                <a:lnTo>
                  <a:pt x="4142" y="1848"/>
                </a:lnTo>
                <a:lnTo>
                  <a:pt x="4139" y="1856"/>
                </a:lnTo>
                <a:lnTo>
                  <a:pt x="4135" y="1866"/>
                </a:lnTo>
                <a:lnTo>
                  <a:pt x="4132" y="1874"/>
                </a:lnTo>
                <a:lnTo>
                  <a:pt x="4128" y="1882"/>
                </a:lnTo>
                <a:lnTo>
                  <a:pt x="4124" y="1890"/>
                </a:lnTo>
                <a:lnTo>
                  <a:pt x="4119" y="1898"/>
                </a:lnTo>
                <a:lnTo>
                  <a:pt x="4109" y="1914"/>
                </a:lnTo>
                <a:lnTo>
                  <a:pt x="4098" y="1926"/>
                </a:lnTo>
                <a:lnTo>
                  <a:pt x="4092" y="1930"/>
                </a:lnTo>
                <a:lnTo>
                  <a:pt x="4086" y="1936"/>
                </a:lnTo>
                <a:lnTo>
                  <a:pt x="4073" y="1944"/>
                </a:lnTo>
                <a:lnTo>
                  <a:pt x="4067" y="1946"/>
                </a:lnTo>
                <a:lnTo>
                  <a:pt x="4060" y="1950"/>
                </a:lnTo>
                <a:lnTo>
                  <a:pt x="4046" y="1952"/>
                </a:lnTo>
                <a:lnTo>
                  <a:pt x="4039" y="1954"/>
                </a:lnTo>
                <a:lnTo>
                  <a:pt x="4031" y="1954"/>
                </a:lnTo>
                <a:lnTo>
                  <a:pt x="4017" y="1952"/>
                </a:lnTo>
                <a:lnTo>
                  <a:pt x="4003" y="1950"/>
                </a:lnTo>
                <a:lnTo>
                  <a:pt x="3996" y="1946"/>
                </a:lnTo>
                <a:lnTo>
                  <a:pt x="3989" y="1944"/>
                </a:lnTo>
                <a:lnTo>
                  <a:pt x="3977" y="1936"/>
                </a:lnTo>
                <a:lnTo>
                  <a:pt x="3965" y="1926"/>
                </a:lnTo>
                <a:lnTo>
                  <a:pt x="3954" y="1914"/>
                </a:lnTo>
                <a:lnTo>
                  <a:pt x="3943" y="1898"/>
                </a:lnTo>
                <a:lnTo>
                  <a:pt x="3938" y="1890"/>
                </a:lnTo>
                <a:lnTo>
                  <a:pt x="3934" y="1882"/>
                </a:lnTo>
                <a:close/>
                <a:moveTo>
                  <a:pt x="4370" y="1954"/>
                </a:moveTo>
                <a:lnTo>
                  <a:pt x="4354" y="1954"/>
                </a:lnTo>
                <a:lnTo>
                  <a:pt x="4339" y="1950"/>
                </a:lnTo>
                <a:lnTo>
                  <a:pt x="4324" y="1944"/>
                </a:lnTo>
                <a:lnTo>
                  <a:pt x="4317" y="1940"/>
                </a:lnTo>
                <a:lnTo>
                  <a:pt x="4310" y="1936"/>
                </a:lnTo>
                <a:lnTo>
                  <a:pt x="4298" y="1928"/>
                </a:lnTo>
                <a:lnTo>
                  <a:pt x="4292" y="1922"/>
                </a:lnTo>
                <a:lnTo>
                  <a:pt x="4287" y="1916"/>
                </a:lnTo>
                <a:lnTo>
                  <a:pt x="4277" y="1902"/>
                </a:lnTo>
                <a:lnTo>
                  <a:pt x="4273" y="1896"/>
                </a:lnTo>
                <a:lnTo>
                  <a:pt x="4268" y="1888"/>
                </a:lnTo>
                <a:lnTo>
                  <a:pt x="4264" y="1880"/>
                </a:lnTo>
                <a:lnTo>
                  <a:pt x="4261" y="1872"/>
                </a:lnTo>
                <a:lnTo>
                  <a:pt x="4257" y="1864"/>
                </a:lnTo>
                <a:lnTo>
                  <a:pt x="4254" y="1854"/>
                </a:lnTo>
                <a:lnTo>
                  <a:pt x="4248" y="1834"/>
                </a:lnTo>
                <a:lnTo>
                  <a:pt x="4244" y="1814"/>
                </a:lnTo>
                <a:lnTo>
                  <a:pt x="4242" y="1804"/>
                </a:lnTo>
                <a:lnTo>
                  <a:pt x="4240" y="1792"/>
                </a:lnTo>
                <a:lnTo>
                  <a:pt x="4237" y="1770"/>
                </a:lnTo>
                <a:lnTo>
                  <a:pt x="4236" y="1746"/>
                </a:lnTo>
                <a:lnTo>
                  <a:pt x="4235" y="1732"/>
                </a:lnTo>
                <a:lnTo>
                  <a:pt x="4235" y="1720"/>
                </a:lnTo>
                <a:lnTo>
                  <a:pt x="4298" y="1693"/>
                </a:lnTo>
                <a:lnTo>
                  <a:pt x="4298" y="1714"/>
                </a:lnTo>
                <a:lnTo>
                  <a:pt x="4299" y="1734"/>
                </a:lnTo>
                <a:lnTo>
                  <a:pt x="4301" y="1750"/>
                </a:lnTo>
                <a:lnTo>
                  <a:pt x="4303" y="1766"/>
                </a:lnTo>
                <a:lnTo>
                  <a:pt x="4305" y="1774"/>
                </a:lnTo>
                <a:lnTo>
                  <a:pt x="4306" y="1782"/>
                </a:lnTo>
                <a:lnTo>
                  <a:pt x="4310" y="1794"/>
                </a:lnTo>
                <a:lnTo>
                  <a:pt x="4314" y="1804"/>
                </a:lnTo>
                <a:lnTo>
                  <a:pt x="4318" y="1814"/>
                </a:lnTo>
                <a:lnTo>
                  <a:pt x="4324" y="1824"/>
                </a:lnTo>
                <a:lnTo>
                  <a:pt x="4330" y="1830"/>
                </a:lnTo>
                <a:lnTo>
                  <a:pt x="4336" y="1836"/>
                </a:lnTo>
                <a:lnTo>
                  <a:pt x="4343" y="1840"/>
                </a:lnTo>
                <a:lnTo>
                  <a:pt x="4350" y="1844"/>
                </a:lnTo>
                <a:lnTo>
                  <a:pt x="4357" y="1846"/>
                </a:lnTo>
                <a:lnTo>
                  <a:pt x="4365" y="1848"/>
                </a:lnTo>
                <a:lnTo>
                  <a:pt x="4374" y="1848"/>
                </a:lnTo>
                <a:lnTo>
                  <a:pt x="4381" y="1848"/>
                </a:lnTo>
                <a:lnTo>
                  <a:pt x="4388" y="1846"/>
                </a:lnTo>
                <a:lnTo>
                  <a:pt x="4395" y="1844"/>
                </a:lnTo>
                <a:lnTo>
                  <a:pt x="4401" y="1842"/>
                </a:lnTo>
                <a:lnTo>
                  <a:pt x="4407" y="1838"/>
                </a:lnTo>
                <a:lnTo>
                  <a:pt x="4413" y="1832"/>
                </a:lnTo>
                <a:lnTo>
                  <a:pt x="4418" y="1826"/>
                </a:lnTo>
                <a:lnTo>
                  <a:pt x="4423" y="1820"/>
                </a:lnTo>
                <a:lnTo>
                  <a:pt x="4427" y="1812"/>
                </a:lnTo>
                <a:lnTo>
                  <a:pt x="4431" y="1804"/>
                </a:lnTo>
                <a:lnTo>
                  <a:pt x="4434" y="1796"/>
                </a:lnTo>
                <a:lnTo>
                  <a:pt x="4437" y="1786"/>
                </a:lnTo>
                <a:lnTo>
                  <a:pt x="4439" y="1774"/>
                </a:lnTo>
                <a:lnTo>
                  <a:pt x="4440" y="1770"/>
                </a:lnTo>
                <a:lnTo>
                  <a:pt x="4441" y="1764"/>
                </a:lnTo>
                <a:lnTo>
                  <a:pt x="4442" y="1752"/>
                </a:lnTo>
                <a:lnTo>
                  <a:pt x="4442" y="1738"/>
                </a:lnTo>
                <a:lnTo>
                  <a:pt x="4442" y="1728"/>
                </a:lnTo>
                <a:lnTo>
                  <a:pt x="4442" y="1718"/>
                </a:lnTo>
                <a:lnTo>
                  <a:pt x="4441" y="1711"/>
                </a:lnTo>
                <a:lnTo>
                  <a:pt x="4439" y="1701"/>
                </a:lnTo>
                <a:lnTo>
                  <a:pt x="4437" y="1693"/>
                </a:lnTo>
                <a:lnTo>
                  <a:pt x="4435" y="1685"/>
                </a:lnTo>
                <a:lnTo>
                  <a:pt x="4433" y="1677"/>
                </a:lnTo>
                <a:lnTo>
                  <a:pt x="4430" y="1669"/>
                </a:lnTo>
                <a:lnTo>
                  <a:pt x="4422" y="1653"/>
                </a:lnTo>
                <a:lnTo>
                  <a:pt x="4418" y="1645"/>
                </a:lnTo>
                <a:lnTo>
                  <a:pt x="4413" y="1639"/>
                </a:lnTo>
                <a:lnTo>
                  <a:pt x="4402" y="1625"/>
                </a:lnTo>
                <a:lnTo>
                  <a:pt x="4389" y="1613"/>
                </a:lnTo>
                <a:lnTo>
                  <a:pt x="4325" y="1555"/>
                </a:lnTo>
                <a:lnTo>
                  <a:pt x="4315" y="1547"/>
                </a:lnTo>
                <a:lnTo>
                  <a:pt x="4305" y="1537"/>
                </a:lnTo>
                <a:lnTo>
                  <a:pt x="4289" y="1517"/>
                </a:lnTo>
                <a:lnTo>
                  <a:pt x="4275" y="1497"/>
                </a:lnTo>
                <a:lnTo>
                  <a:pt x="4270" y="1485"/>
                </a:lnTo>
                <a:lnTo>
                  <a:pt x="4264" y="1473"/>
                </a:lnTo>
                <a:lnTo>
                  <a:pt x="4260" y="1461"/>
                </a:lnTo>
                <a:lnTo>
                  <a:pt x="4255" y="1447"/>
                </a:lnTo>
                <a:lnTo>
                  <a:pt x="4252" y="1433"/>
                </a:lnTo>
                <a:lnTo>
                  <a:pt x="4249" y="1417"/>
                </a:lnTo>
                <a:lnTo>
                  <a:pt x="4247" y="1401"/>
                </a:lnTo>
                <a:lnTo>
                  <a:pt x="4246" y="1393"/>
                </a:lnTo>
                <a:lnTo>
                  <a:pt x="4245" y="1385"/>
                </a:lnTo>
                <a:lnTo>
                  <a:pt x="4244" y="1367"/>
                </a:lnTo>
                <a:lnTo>
                  <a:pt x="4244" y="1347"/>
                </a:lnTo>
                <a:lnTo>
                  <a:pt x="4244" y="1335"/>
                </a:lnTo>
                <a:lnTo>
                  <a:pt x="4245" y="1323"/>
                </a:lnTo>
                <a:lnTo>
                  <a:pt x="4246" y="1311"/>
                </a:lnTo>
                <a:lnTo>
                  <a:pt x="4247" y="1299"/>
                </a:lnTo>
                <a:lnTo>
                  <a:pt x="4248" y="1289"/>
                </a:lnTo>
                <a:lnTo>
                  <a:pt x="4250" y="1279"/>
                </a:lnTo>
                <a:lnTo>
                  <a:pt x="4254" y="1259"/>
                </a:lnTo>
                <a:lnTo>
                  <a:pt x="4257" y="1249"/>
                </a:lnTo>
                <a:lnTo>
                  <a:pt x="4260" y="1241"/>
                </a:lnTo>
                <a:lnTo>
                  <a:pt x="4266" y="1225"/>
                </a:lnTo>
                <a:lnTo>
                  <a:pt x="4273" y="1210"/>
                </a:lnTo>
                <a:lnTo>
                  <a:pt x="4277" y="1204"/>
                </a:lnTo>
                <a:lnTo>
                  <a:pt x="4282" y="1198"/>
                </a:lnTo>
                <a:lnTo>
                  <a:pt x="4291" y="1186"/>
                </a:lnTo>
                <a:lnTo>
                  <a:pt x="4301" y="1176"/>
                </a:lnTo>
                <a:lnTo>
                  <a:pt x="4311" y="1166"/>
                </a:lnTo>
                <a:lnTo>
                  <a:pt x="4323" y="1160"/>
                </a:lnTo>
                <a:lnTo>
                  <a:pt x="4335" y="1154"/>
                </a:lnTo>
                <a:lnTo>
                  <a:pt x="4347" y="1150"/>
                </a:lnTo>
                <a:lnTo>
                  <a:pt x="4360" y="1148"/>
                </a:lnTo>
                <a:lnTo>
                  <a:pt x="4373" y="1148"/>
                </a:lnTo>
                <a:lnTo>
                  <a:pt x="4388" y="1150"/>
                </a:lnTo>
                <a:lnTo>
                  <a:pt x="4403" y="1152"/>
                </a:lnTo>
                <a:lnTo>
                  <a:pt x="4416" y="1158"/>
                </a:lnTo>
                <a:lnTo>
                  <a:pt x="4422" y="1162"/>
                </a:lnTo>
                <a:lnTo>
                  <a:pt x="4428" y="1166"/>
                </a:lnTo>
                <a:lnTo>
                  <a:pt x="4440" y="1174"/>
                </a:lnTo>
                <a:lnTo>
                  <a:pt x="4450" y="1186"/>
                </a:lnTo>
                <a:lnTo>
                  <a:pt x="4459" y="1198"/>
                </a:lnTo>
                <a:lnTo>
                  <a:pt x="4467" y="1212"/>
                </a:lnTo>
                <a:lnTo>
                  <a:pt x="4471" y="1218"/>
                </a:lnTo>
                <a:lnTo>
                  <a:pt x="4474" y="1225"/>
                </a:lnTo>
                <a:lnTo>
                  <a:pt x="4477" y="1233"/>
                </a:lnTo>
                <a:lnTo>
                  <a:pt x="4480" y="1241"/>
                </a:lnTo>
                <a:lnTo>
                  <a:pt x="4485" y="1259"/>
                </a:lnTo>
                <a:lnTo>
                  <a:pt x="4490" y="1275"/>
                </a:lnTo>
                <a:lnTo>
                  <a:pt x="4493" y="1293"/>
                </a:lnTo>
                <a:lnTo>
                  <a:pt x="4495" y="1313"/>
                </a:lnTo>
                <a:lnTo>
                  <a:pt x="4497" y="1331"/>
                </a:lnTo>
                <a:lnTo>
                  <a:pt x="4497" y="1349"/>
                </a:lnTo>
                <a:lnTo>
                  <a:pt x="4435" y="1375"/>
                </a:lnTo>
                <a:lnTo>
                  <a:pt x="4435" y="1359"/>
                </a:lnTo>
                <a:lnTo>
                  <a:pt x="4433" y="1345"/>
                </a:lnTo>
                <a:lnTo>
                  <a:pt x="4432" y="1331"/>
                </a:lnTo>
                <a:lnTo>
                  <a:pt x="4430" y="1319"/>
                </a:lnTo>
                <a:lnTo>
                  <a:pt x="4427" y="1309"/>
                </a:lnTo>
                <a:lnTo>
                  <a:pt x="4426" y="1303"/>
                </a:lnTo>
                <a:lnTo>
                  <a:pt x="4424" y="1299"/>
                </a:lnTo>
                <a:lnTo>
                  <a:pt x="4421" y="1289"/>
                </a:lnTo>
                <a:lnTo>
                  <a:pt x="4417" y="1281"/>
                </a:lnTo>
                <a:lnTo>
                  <a:pt x="4413" y="1275"/>
                </a:lnTo>
                <a:lnTo>
                  <a:pt x="4408" y="1269"/>
                </a:lnTo>
                <a:lnTo>
                  <a:pt x="4403" y="1265"/>
                </a:lnTo>
                <a:lnTo>
                  <a:pt x="4397" y="1261"/>
                </a:lnTo>
                <a:lnTo>
                  <a:pt x="4391" y="1257"/>
                </a:lnTo>
                <a:lnTo>
                  <a:pt x="4385" y="1255"/>
                </a:lnTo>
                <a:lnTo>
                  <a:pt x="4378" y="1255"/>
                </a:lnTo>
                <a:lnTo>
                  <a:pt x="4370" y="1253"/>
                </a:lnTo>
                <a:lnTo>
                  <a:pt x="4358" y="1255"/>
                </a:lnTo>
                <a:lnTo>
                  <a:pt x="4346" y="1259"/>
                </a:lnTo>
                <a:lnTo>
                  <a:pt x="4341" y="1263"/>
                </a:lnTo>
                <a:lnTo>
                  <a:pt x="4336" y="1267"/>
                </a:lnTo>
                <a:lnTo>
                  <a:pt x="4331" y="1271"/>
                </a:lnTo>
                <a:lnTo>
                  <a:pt x="4327" y="1275"/>
                </a:lnTo>
                <a:lnTo>
                  <a:pt x="4323" y="1281"/>
                </a:lnTo>
                <a:lnTo>
                  <a:pt x="4319" y="1287"/>
                </a:lnTo>
                <a:lnTo>
                  <a:pt x="4316" y="1295"/>
                </a:lnTo>
                <a:lnTo>
                  <a:pt x="4313" y="1303"/>
                </a:lnTo>
                <a:lnTo>
                  <a:pt x="4311" y="1311"/>
                </a:lnTo>
                <a:lnTo>
                  <a:pt x="4310" y="1321"/>
                </a:lnTo>
                <a:lnTo>
                  <a:pt x="4309" y="1331"/>
                </a:lnTo>
                <a:lnTo>
                  <a:pt x="4308" y="1341"/>
                </a:lnTo>
                <a:lnTo>
                  <a:pt x="4309" y="1351"/>
                </a:lnTo>
                <a:lnTo>
                  <a:pt x="4309" y="1361"/>
                </a:lnTo>
                <a:lnTo>
                  <a:pt x="4310" y="1371"/>
                </a:lnTo>
                <a:lnTo>
                  <a:pt x="4311" y="1379"/>
                </a:lnTo>
                <a:lnTo>
                  <a:pt x="4313" y="1387"/>
                </a:lnTo>
                <a:lnTo>
                  <a:pt x="4315" y="1395"/>
                </a:lnTo>
                <a:lnTo>
                  <a:pt x="4318" y="1403"/>
                </a:lnTo>
                <a:lnTo>
                  <a:pt x="4321" y="1409"/>
                </a:lnTo>
                <a:lnTo>
                  <a:pt x="4325" y="1415"/>
                </a:lnTo>
                <a:lnTo>
                  <a:pt x="4328" y="1421"/>
                </a:lnTo>
                <a:lnTo>
                  <a:pt x="4337" y="1433"/>
                </a:lnTo>
                <a:lnTo>
                  <a:pt x="4347" y="1445"/>
                </a:lnTo>
                <a:lnTo>
                  <a:pt x="4359" y="1457"/>
                </a:lnTo>
                <a:lnTo>
                  <a:pt x="4421" y="1511"/>
                </a:lnTo>
                <a:lnTo>
                  <a:pt x="4431" y="1521"/>
                </a:lnTo>
                <a:lnTo>
                  <a:pt x="4442" y="1531"/>
                </a:lnTo>
                <a:lnTo>
                  <a:pt x="4451" y="1541"/>
                </a:lnTo>
                <a:lnTo>
                  <a:pt x="4459" y="1553"/>
                </a:lnTo>
                <a:lnTo>
                  <a:pt x="4467" y="1565"/>
                </a:lnTo>
                <a:lnTo>
                  <a:pt x="4474" y="1575"/>
                </a:lnTo>
                <a:lnTo>
                  <a:pt x="4480" y="1589"/>
                </a:lnTo>
                <a:lnTo>
                  <a:pt x="4486" y="1601"/>
                </a:lnTo>
                <a:lnTo>
                  <a:pt x="4491" y="1615"/>
                </a:lnTo>
                <a:lnTo>
                  <a:pt x="4495" y="1629"/>
                </a:lnTo>
                <a:lnTo>
                  <a:pt x="4499" y="1643"/>
                </a:lnTo>
                <a:lnTo>
                  <a:pt x="4502" y="1659"/>
                </a:lnTo>
                <a:lnTo>
                  <a:pt x="4504" y="1675"/>
                </a:lnTo>
                <a:lnTo>
                  <a:pt x="4505" y="1685"/>
                </a:lnTo>
                <a:lnTo>
                  <a:pt x="4505" y="1693"/>
                </a:lnTo>
                <a:lnTo>
                  <a:pt x="4506" y="1711"/>
                </a:lnTo>
                <a:lnTo>
                  <a:pt x="4507" y="1730"/>
                </a:lnTo>
                <a:lnTo>
                  <a:pt x="4506" y="1756"/>
                </a:lnTo>
                <a:lnTo>
                  <a:pt x="4504" y="1780"/>
                </a:lnTo>
                <a:lnTo>
                  <a:pt x="4503" y="1792"/>
                </a:lnTo>
                <a:lnTo>
                  <a:pt x="4501" y="1802"/>
                </a:lnTo>
                <a:lnTo>
                  <a:pt x="4499" y="1814"/>
                </a:lnTo>
                <a:lnTo>
                  <a:pt x="4497" y="1824"/>
                </a:lnTo>
                <a:lnTo>
                  <a:pt x="4494" y="1834"/>
                </a:lnTo>
                <a:lnTo>
                  <a:pt x="4492" y="1844"/>
                </a:lnTo>
                <a:lnTo>
                  <a:pt x="4485" y="1862"/>
                </a:lnTo>
                <a:lnTo>
                  <a:pt x="4482" y="1870"/>
                </a:lnTo>
                <a:lnTo>
                  <a:pt x="4478" y="1880"/>
                </a:lnTo>
                <a:lnTo>
                  <a:pt x="4470" y="1894"/>
                </a:lnTo>
                <a:lnTo>
                  <a:pt x="4465" y="1902"/>
                </a:lnTo>
                <a:lnTo>
                  <a:pt x="4460" y="1908"/>
                </a:lnTo>
                <a:lnTo>
                  <a:pt x="4455" y="1914"/>
                </a:lnTo>
                <a:lnTo>
                  <a:pt x="4450" y="1920"/>
                </a:lnTo>
                <a:lnTo>
                  <a:pt x="4439" y="1930"/>
                </a:lnTo>
                <a:lnTo>
                  <a:pt x="4427" y="1938"/>
                </a:lnTo>
                <a:lnTo>
                  <a:pt x="4414" y="1946"/>
                </a:lnTo>
                <a:lnTo>
                  <a:pt x="4400" y="1950"/>
                </a:lnTo>
                <a:lnTo>
                  <a:pt x="4393" y="1952"/>
                </a:lnTo>
                <a:lnTo>
                  <a:pt x="4386" y="1952"/>
                </a:lnTo>
                <a:lnTo>
                  <a:pt x="4370" y="19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7DE48D-705B-612C-7DFA-B303012D79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98587" y="5517232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F5A17A4-EA2D-AFFF-38DF-9699B925DC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98587" y="5805264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9651433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6924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oitusdia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89437-0A9F-6907-E834-ECE3DB6251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1700" cy="2304529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BA9B7E5-3139-76AA-C2C3-60620F1D9B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4509120"/>
            <a:ext cx="9791700" cy="864096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98F4D-E89B-8263-EB37-8F8B305D4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4C273C1F-0CD8-4D39-9037-C6A575997B88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B5C31-D7B7-0A4A-9FF1-A8910751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9B765-A518-625F-2D82-59131FF13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CD5646D-347F-0693-85B7-82EEFAEE1F7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07368" y="333375"/>
            <a:ext cx="2325003" cy="504000"/>
          </a:xfrm>
          <a:custGeom>
            <a:avLst/>
            <a:gdLst>
              <a:gd name="T0" fmla="*/ 11 w 4507"/>
              <a:gd name="T1" fmla="*/ 18 h 1954"/>
              <a:gd name="T2" fmla="*/ 659 w 4507"/>
              <a:gd name="T3" fmla="*/ 297 h 1954"/>
              <a:gd name="T4" fmla="*/ 666 w 4507"/>
              <a:gd name="T5" fmla="*/ 916 h 1954"/>
              <a:gd name="T6" fmla="*/ 347 w 4507"/>
              <a:gd name="T7" fmla="*/ 880 h 1954"/>
              <a:gd name="T8" fmla="*/ 471 w 4507"/>
              <a:gd name="T9" fmla="*/ 675 h 1954"/>
              <a:gd name="T10" fmla="*/ 375 w 4507"/>
              <a:gd name="T11" fmla="*/ 401 h 1954"/>
              <a:gd name="T12" fmla="*/ 1722 w 4507"/>
              <a:gd name="T13" fmla="*/ 26 h 1954"/>
              <a:gd name="T14" fmla="*/ 1804 w 4507"/>
              <a:gd name="T15" fmla="*/ 309 h 1954"/>
              <a:gd name="T16" fmla="*/ 1741 w 4507"/>
              <a:gd name="T17" fmla="*/ 269 h 1954"/>
              <a:gd name="T18" fmla="*/ 1854 w 4507"/>
              <a:gd name="T19" fmla="*/ 788 h 1954"/>
              <a:gd name="T20" fmla="*/ 2410 w 4507"/>
              <a:gd name="T21" fmla="*/ 18 h 1954"/>
              <a:gd name="T22" fmla="*/ 3053 w 4507"/>
              <a:gd name="T23" fmla="*/ 553 h 1954"/>
              <a:gd name="T24" fmla="*/ 3419 w 4507"/>
              <a:gd name="T25" fmla="*/ 539 h 1954"/>
              <a:gd name="T26" fmla="*/ 3595 w 4507"/>
              <a:gd name="T27" fmla="*/ 659 h 1954"/>
              <a:gd name="T28" fmla="*/ 3699 w 4507"/>
              <a:gd name="T29" fmla="*/ 697 h 1954"/>
              <a:gd name="T30" fmla="*/ 3842 w 4507"/>
              <a:gd name="T31" fmla="*/ 595 h 1954"/>
              <a:gd name="T32" fmla="*/ 3700 w 4507"/>
              <a:gd name="T33" fmla="*/ 806 h 1954"/>
              <a:gd name="T34" fmla="*/ 3943 w 4507"/>
              <a:gd name="T35" fmla="*/ 725 h 1954"/>
              <a:gd name="T36" fmla="*/ 4018 w 4507"/>
              <a:gd name="T37" fmla="*/ 689 h 1954"/>
              <a:gd name="T38" fmla="*/ 4124 w 4507"/>
              <a:gd name="T39" fmla="*/ 581 h 1954"/>
              <a:gd name="T40" fmla="*/ 3931 w 4507"/>
              <a:gd name="T41" fmla="*/ 269 h 1954"/>
              <a:gd name="T42" fmla="*/ 4017 w 4507"/>
              <a:gd name="T43" fmla="*/ 6 h 1954"/>
              <a:gd name="T44" fmla="*/ 4117 w 4507"/>
              <a:gd name="T45" fmla="*/ 228 h 1954"/>
              <a:gd name="T46" fmla="*/ 4005 w 4507"/>
              <a:gd name="T47" fmla="*/ 134 h 1954"/>
              <a:gd name="T48" fmla="*/ 4123 w 4507"/>
              <a:gd name="T49" fmla="*/ 383 h 1954"/>
              <a:gd name="T50" fmla="*/ 4174 w 4507"/>
              <a:gd name="T51" fmla="*/ 697 h 1954"/>
              <a:gd name="T52" fmla="*/ 1767 w 4507"/>
              <a:gd name="T53" fmla="*/ 1273 h 1954"/>
              <a:gd name="T54" fmla="*/ 2197 w 4507"/>
              <a:gd name="T55" fmla="*/ 1926 h 1954"/>
              <a:gd name="T56" fmla="*/ 2114 w 4507"/>
              <a:gd name="T57" fmla="*/ 1551 h 1954"/>
              <a:gd name="T58" fmla="*/ 2226 w 4507"/>
              <a:gd name="T59" fmla="*/ 1156 h 1954"/>
              <a:gd name="T60" fmla="*/ 2385 w 4507"/>
              <a:gd name="T61" fmla="*/ 1313 h 1954"/>
              <a:gd name="T62" fmla="*/ 2373 w 4507"/>
              <a:gd name="T63" fmla="*/ 1834 h 1954"/>
              <a:gd name="T64" fmla="*/ 2227 w 4507"/>
              <a:gd name="T65" fmla="*/ 1271 h 1954"/>
              <a:gd name="T66" fmla="*/ 2192 w 4507"/>
              <a:gd name="T67" fmla="*/ 1738 h 1954"/>
              <a:gd name="T68" fmla="*/ 2323 w 4507"/>
              <a:gd name="T69" fmla="*/ 1760 h 1954"/>
              <a:gd name="T70" fmla="*/ 2273 w 4507"/>
              <a:gd name="T71" fmla="*/ 1259 h 1954"/>
              <a:gd name="T72" fmla="*/ 3321 w 4507"/>
              <a:gd name="T73" fmla="*/ 1954 h 1954"/>
              <a:gd name="T74" fmla="*/ 3265 w 4507"/>
              <a:gd name="T75" fmla="*/ 1693 h 1954"/>
              <a:gd name="T76" fmla="*/ 3380 w 4507"/>
              <a:gd name="T77" fmla="*/ 1832 h 1954"/>
              <a:gd name="T78" fmla="*/ 3369 w 4507"/>
              <a:gd name="T79" fmla="*/ 1625 h 1954"/>
              <a:gd name="T80" fmla="*/ 3218 w 4507"/>
              <a:gd name="T81" fmla="*/ 1279 h 1954"/>
              <a:gd name="T82" fmla="*/ 3426 w 4507"/>
              <a:gd name="T83" fmla="*/ 1198 h 1954"/>
              <a:gd name="T84" fmla="*/ 3370 w 4507"/>
              <a:gd name="T85" fmla="*/ 1265 h 1954"/>
              <a:gd name="T86" fmla="*/ 3279 w 4507"/>
              <a:gd name="T87" fmla="*/ 1379 h 1954"/>
              <a:gd name="T88" fmla="*/ 3471 w 4507"/>
              <a:gd name="T89" fmla="*/ 1675 h 1954"/>
              <a:gd name="T90" fmla="*/ 3381 w 4507"/>
              <a:gd name="T91" fmla="*/ 1946 h 1954"/>
              <a:gd name="T92" fmla="*/ 3620 w 4507"/>
              <a:gd name="T93" fmla="*/ 1772 h 1954"/>
              <a:gd name="T94" fmla="*/ 3736 w 4507"/>
              <a:gd name="T95" fmla="*/ 1772 h 1954"/>
              <a:gd name="T96" fmla="*/ 3756 w 4507"/>
              <a:gd name="T97" fmla="*/ 1914 h 1954"/>
              <a:gd name="T98" fmla="*/ 3915 w 4507"/>
              <a:gd name="T99" fmla="*/ 1828 h 1954"/>
              <a:gd name="T100" fmla="*/ 4005 w 4507"/>
              <a:gd name="T101" fmla="*/ 1838 h 1954"/>
              <a:gd name="T102" fmla="*/ 4160 w 4507"/>
              <a:gd name="T103" fmla="*/ 1697 h 1954"/>
              <a:gd name="T104" fmla="*/ 4039 w 4507"/>
              <a:gd name="T105" fmla="*/ 1954 h 1954"/>
              <a:gd name="T106" fmla="*/ 4268 w 4507"/>
              <a:gd name="T107" fmla="*/ 1888 h 1954"/>
              <a:gd name="T108" fmla="*/ 4324 w 4507"/>
              <a:gd name="T109" fmla="*/ 1824 h 1954"/>
              <a:gd name="T110" fmla="*/ 4442 w 4507"/>
              <a:gd name="T111" fmla="*/ 1752 h 1954"/>
              <a:gd name="T112" fmla="*/ 4255 w 4507"/>
              <a:gd name="T113" fmla="*/ 1447 h 1954"/>
              <a:gd name="T114" fmla="*/ 4311 w 4507"/>
              <a:gd name="T115" fmla="*/ 1166 h 1954"/>
              <a:gd name="T116" fmla="*/ 4497 w 4507"/>
              <a:gd name="T117" fmla="*/ 1331 h 1954"/>
              <a:gd name="T118" fmla="*/ 4336 w 4507"/>
              <a:gd name="T119" fmla="*/ 1267 h 1954"/>
              <a:gd name="T120" fmla="*/ 4359 w 4507"/>
              <a:gd name="T121" fmla="*/ 1457 h 1954"/>
              <a:gd name="T122" fmla="*/ 4499 w 4507"/>
              <a:gd name="T123" fmla="*/ 1814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507" h="1954">
                <a:moveTo>
                  <a:pt x="4307" y="327"/>
                </a:moveTo>
                <a:lnTo>
                  <a:pt x="4377" y="327"/>
                </a:lnTo>
                <a:lnTo>
                  <a:pt x="4377" y="463"/>
                </a:lnTo>
                <a:lnTo>
                  <a:pt x="4307" y="463"/>
                </a:lnTo>
                <a:lnTo>
                  <a:pt x="4307" y="327"/>
                </a:lnTo>
                <a:close/>
                <a:moveTo>
                  <a:pt x="1248" y="18"/>
                </a:moveTo>
                <a:lnTo>
                  <a:pt x="1248" y="473"/>
                </a:lnTo>
                <a:lnTo>
                  <a:pt x="1051" y="473"/>
                </a:lnTo>
                <a:lnTo>
                  <a:pt x="1051" y="1936"/>
                </a:lnTo>
                <a:lnTo>
                  <a:pt x="821" y="1936"/>
                </a:lnTo>
                <a:lnTo>
                  <a:pt x="821" y="473"/>
                </a:lnTo>
                <a:lnTo>
                  <a:pt x="655" y="18"/>
                </a:lnTo>
                <a:lnTo>
                  <a:pt x="1248" y="18"/>
                </a:lnTo>
                <a:close/>
                <a:moveTo>
                  <a:pt x="0" y="1481"/>
                </a:moveTo>
                <a:lnTo>
                  <a:pt x="230" y="1481"/>
                </a:lnTo>
                <a:lnTo>
                  <a:pt x="230" y="1936"/>
                </a:lnTo>
                <a:lnTo>
                  <a:pt x="0" y="1936"/>
                </a:lnTo>
                <a:lnTo>
                  <a:pt x="0" y="1481"/>
                </a:lnTo>
                <a:close/>
                <a:moveTo>
                  <a:pt x="487" y="1186"/>
                </a:moveTo>
                <a:lnTo>
                  <a:pt x="752" y="1936"/>
                </a:lnTo>
                <a:lnTo>
                  <a:pt x="495" y="1936"/>
                </a:lnTo>
                <a:lnTo>
                  <a:pt x="11" y="559"/>
                </a:lnTo>
                <a:lnTo>
                  <a:pt x="11" y="18"/>
                </a:lnTo>
                <a:lnTo>
                  <a:pt x="309" y="18"/>
                </a:lnTo>
                <a:lnTo>
                  <a:pt x="335" y="18"/>
                </a:lnTo>
                <a:lnTo>
                  <a:pt x="359" y="20"/>
                </a:lnTo>
                <a:lnTo>
                  <a:pt x="382" y="24"/>
                </a:lnTo>
                <a:lnTo>
                  <a:pt x="404" y="30"/>
                </a:lnTo>
                <a:lnTo>
                  <a:pt x="426" y="36"/>
                </a:lnTo>
                <a:lnTo>
                  <a:pt x="447" y="44"/>
                </a:lnTo>
                <a:lnTo>
                  <a:pt x="467" y="52"/>
                </a:lnTo>
                <a:lnTo>
                  <a:pt x="476" y="58"/>
                </a:lnTo>
                <a:lnTo>
                  <a:pt x="486" y="62"/>
                </a:lnTo>
                <a:lnTo>
                  <a:pt x="504" y="74"/>
                </a:lnTo>
                <a:lnTo>
                  <a:pt x="521" y="88"/>
                </a:lnTo>
                <a:lnTo>
                  <a:pt x="538" y="102"/>
                </a:lnTo>
                <a:lnTo>
                  <a:pt x="553" y="116"/>
                </a:lnTo>
                <a:lnTo>
                  <a:pt x="569" y="132"/>
                </a:lnTo>
                <a:lnTo>
                  <a:pt x="583" y="150"/>
                </a:lnTo>
                <a:lnTo>
                  <a:pt x="596" y="168"/>
                </a:lnTo>
                <a:lnTo>
                  <a:pt x="609" y="188"/>
                </a:lnTo>
                <a:lnTo>
                  <a:pt x="620" y="208"/>
                </a:lnTo>
                <a:lnTo>
                  <a:pt x="631" y="230"/>
                </a:lnTo>
                <a:lnTo>
                  <a:pt x="641" y="251"/>
                </a:lnTo>
                <a:lnTo>
                  <a:pt x="650" y="273"/>
                </a:lnTo>
                <a:lnTo>
                  <a:pt x="659" y="297"/>
                </a:lnTo>
                <a:lnTo>
                  <a:pt x="666" y="323"/>
                </a:lnTo>
                <a:lnTo>
                  <a:pt x="673" y="349"/>
                </a:lnTo>
                <a:lnTo>
                  <a:pt x="680" y="375"/>
                </a:lnTo>
                <a:lnTo>
                  <a:pt x="685" y="401"/>
                </a:lnTo>
                <a:lnTo>
                  <a:pt x="690" y="429"/>
                </a:lnTo>
                <a:lnTo>
                  <a:pt x="694" y="459"/>
                </a:lnTo>
                <a:lnTo>
                  <a:pt x="697" y="487"/>
                </a:lnTo>
                <a:lnTo>
                  <a:pt x="699" y="517"/>
                </a:lnTo>
                <a:lnTo>
                  <a:pt x="701" y="547"/>
                </a:lnTo>
                <a:lnTo>
                  <a:pt x="702" y="579"/>
                </a:lnTo>
                <a:lnTo>
                  <a:pt x="703" y="611"/>
                </a:lnTo>
                <a:lnTo>
                  <a:pt x="702" y="661"/>
                </a:lnTo>
                <a:lnTo>
                  <a:pt x="701" y="687"/>
                </a:lnTo>
                <a:lnTo>
                  <a:pt x="699" y="711"/>
                </a:lnTo>
                <a:lnTo>
                  <a:pt x="697" y="735"/>
                </a:lnTo>
                <a:lnTo>
                  <a:pt x="695" y="758"/>
                </a:lnTo>
                <a:lnTo>
                  <a:pt x="692" y="782"/>
                </a:lnTo>
                <a:lnTo>
                  <a:pt x="689" y="806"/>
                </a:lnTo>
                <a:lnTo>
                  <a:pt x="685" y="830"/>
                </a:lnTo>
                <a:lnTo>
                  <a:pt x="681" y="852"/>
                </a:lnTo>
                <a:lnTo>
                  <a:pt x="677" y="874"/>
                </a:lnTo>
                <a:lnTo>
                  <a:pt x="672" y="896"/>
                </a:lnTo>
                <a:lnTo>
                  <a:pt x="666" y="916"/>
                </a:lnTo>
                <a:lnTo>
                  <a:pt x="661" y="938"/>
                </a:lnTo>
                <a:lnTo>
                  <a:pt x="655" y="958"/>
                </a:lnTo>
                <a:lnTo>
                  <a:pt x="648" y="976"/>
                </a:lnTo>
                <a:lnTo>
                  <a:pt x="641" y="996"/>
                </a:lnTo>
                <a:lnTo>
                  <a:pt x="634" y="1014"/>
                </a:lnTo>
                <a:lnTo>
                  <a:pt x="626" y="1030"/>
                </a:lnTo>
                <a:lnTo>
                  <a:pt x="618" y="1048"/>
                </a:lnTo>
                <a:lnTo>
                  <a:pt x="609" y="1064"/>
                </a:lnTo>
                <a:lnTo>
                  <a:pt x="600" y="1080"/>
                </a:lnTo>
                <a:lnTo>
                  <a:pt x="591" y="1094"/>
                </a:lnTo>
                <a:lnTo>
                  <a:pt x="581" y="1108"/>
                </a:lnTo>
                <a:lnTo>
                  <a:pt x="571" y="1120"/>
                </a:lnTo>
                <a:lnTo>
                  <a:pt x="559" y="1132"/>
                </a:lnTo>
                <a:lnTo>
                  <a:pt x="548" y="1144"/>
                </a:lnTo>
                <a:lnTo>
                  <a:pt x="537" y="1154"/>
                </a:lnTo>
                <a:lnTo>
                  <a:pt x="525" y="1164"/>
                </a:lnTo>
                <a:lnTo>
                  <a:pt x="513" y="1172"/>
                </a:lnTo>
                <a:lnTo>
                  <a:pt x="500" y="1180"/>
                </a:lnTo>
                <a:lnTo>
                  <a:pt x="487" y="1186"/>
                </a:lnTo>
                <a:close/>
                <a:moveTo>
                  <a:pt x="239" y="391"/>
                </a:moveTo>
                <a:lnTo>
                  <a:pt x="239" y="880"/>
                </a:lnTo>
                <a:lnTo>
                  <a:pt x="337" y="880"/>
                </a:lnTo>
                <a:lnTo>
                  <a:pt x="347" y="880"/>
                </a:lnTo>
                <a:lnTo>
                  <a:pt x="357" y="880"/>
                </a:lnTo>
                <a:lnTo>
                  <a:pt x="367" y="878"/>
                </a:lnTo>
                <a:lnTo>
                  <a:pt x="376" y="874"/>
                </a:lnTo>
                <a:lnTo>
                  <a:pt x="384" y="872"/>
                </a:lnTo>
                <a:lnTo>
                  <a:pt x="392" y="868"/>
                </a:lnTo>
                <a:lnTo>
                  <a:pt x="400" y="862"/>
                </a:lnTo>
                <a:lnTo>
                  <a:pt x="407" y="858"/>
                </a:lnTo>
                <a:lnTo>
                  <a:pt x="413" y="852"/>
                </a:lnTo>
                <a:lnTo>
                  <a:pt x="419" y="844"/>
                </a:lnTo>
                <a:lnTo>
                  <a:pt x="425" y="838"/>
                </a:lnTo>
                <a:lnTo>
                  <a:pt x="430" y="830"/>
                </a:lnTo>
                <a:lnTo>
                  <a:pt x="435" y="822"/>
                </a:lnTo>
                <a:lnTo>
                  <a:pt x="440" y="814"/>
                </a:lnTo>
                <a:lnTo>
                  <a:pt x="444" y="806"/>
                </a:lnTo>
                <a:lnTo>
                  <a:pt x="448" y="796"/>
                </a:lnTo>
                <a:lnTo>
                  <a:pt x="451" y="788"/>
                </a:lnTo>
                <a:lnTo>
                  <a:pt x="454" y="778"/>
                </a:lnTo>
                <a:lnTo>
                  <a:pt x="457" y="768"/>
                </a:lnTo>
                <a:lnTo>
                  <a:pt x="460" y="758"/>
                </a:lnTo>
                <a:lnTo>
                  <a:pt x="464" y="738"/>
                </a:lnTo>
                <a:lnTo>
                  <a:pt x="467" y="717"/>
                </a:lnTo>
                <a:lnTo>
                  <a:pt x="470" y="697"/>
                </a:lnTo>
                <a:lnTo>
                  <a:pt x="471" y="675"/>
                </a:lnTo>
                <a:lnTo>
                  <a:pt x="472" y="655"/>
                </a:lnTo>
                <a:lnTo>
                  <a:pt x="472" y="635"/>
                </a:lnTo>
                <a:lnTo>
                  <a:pt x="472" y="615"/>
                </a:lnTo>
                <a:lnTo>
                  <a:pt x="470" y="593"/>
                </a:lnTo>
                <a:lnTo>
                  <a:pt x="468" y="573"/>
                </a:lnTo>
                <a:lnTo>
                  <a:pt x="464" y="551"/>
                </a:lnTo>
                <a:lnTo>
                  <a:pt x="462" y="541"/>
                </a:lnTo>
                <a:lnTo>
                  <a:pt x="459" y="531"/>
                </a:lnTo>
                <a:lnTo>
                  <a:pt x="457" y="521"/>
                </a:lnTo>
                <a:lnTo>
                  <a:pt x="454" y="511"/>
                </a:lnTo>
                <a:lnTo>
                  <a:pt x="447" y="491"/>
                </a:lnTo>
                <a:lnTo>
                  <a:pt x="443" y="483"/>
                </a:lnTo>
                <a:lnTo>
                  <a:pt x="439" y="473"/>
                </a:lnTo>
                <a:lnTo>
                  <a:pt x="435" y="465"/>
                </a:lnTo>
                <a:lnTo>
                  <a:pt x="430" y="457"/>
                </a:lnTo>
                <a:lnTo>
                  <a:pt x="420" y="441"/>
                </a:lnTo>
                <a:lnTo>
                  <a:pt x="414" y="433"/>
                </a:lnTo>
                <a:lnTo>
                  <a:pt x="408" y="427"/>
                </a:lnTo>
                <a:lnTo>
                  <a:pt x="402" y="421"/>
                </a:lnTo>
                <a:lnTo>
                  <a:pt x="396" y="415"/>
                </a:lnTo>
                <a:lnTo>
                  <a:pt x="389" y="409"/>
                </a:lnTo>
                <a:lnTo>
                  <a:pt x="382" y="405"/>
                </a:lnTo>
                <a:lnTo>
                  <a:pt x="375" y="401"/>
                </a:lnTo>
                <a:lnTo>
                  <a:pt x="367" y="397"/>
                </a:lnTo>
                <a:lnTo>
                  <a:pt x="359" y="395"/>
                </a:lnTo>
                <a:lnTo>
                  <a:pt x="351" y="393"/>
                </a:lnTo>
                <a:lnTo>
                  <a:pt x="333" y="391"/>
                </a:lnTo>
                <a:lnTo>
                  <a:pt x="239" y="391"/>
                </a:lnTo>
                <a:close/>
                <a:moveTo>
                  <a:pt x="1780" y="395"/>
                </a:moveTo>
                <a:lnTo>
                  <a:pt x="1776" y="403"/>
                </a:lnTo>
                <a:lnTo>
                  <a:pt x="1772" y="411"/>
                </a:lnTo>
                <a:lnTo>
                  <a:pt x="1763" y="423"/>
                </a:lnTo>
                <a:lnTo>
                  <a:pt x="1754" y="433"/>
                </a:lnTo>
                <a:lnTo>
                  <a:pt x="1743" y="443"/>
                </a:lnTo>
                <a:lnTo>
                  <a:pt x="1814" y="788"/>
                </a:lnTo>
                <a:lnTo>
                  <a:pt x="1742" y="788"/>
                </a:lnTo>
                <a:lnTo>
                  <a:pt x="1683" y="465"/>
                </a:lnTo>
                <a:lnTo>
                  <a:pt x="1607" y="465"/>
                </a:lnTo>
                <a:lnTo>
                  <a:pt x="1607" y="788"/>
                </a:lnTo>
                <a:lnTo>
                  <a:pt x="1543" y="788"/>
                </a:lnTo>
                <a:lnTo>
                  <a:pt x="1543" y="18"/>
                </a:lnTo>
                <a:lnTo>
                  <a:pt x="1681" y="18"/>
                </a:lnTo>
                <a:lnTo>
                  <a:pt x="1696" y="18"/>
                </a:lnTo>
                <a:lnTo>
                  <a:pt x="1703" y="20"/>
                </a:lnTo>
                <a:lnTo>
                  <a:pt x="1710" y="22"/>
                </a:lnTo>
                <a:lnTo>
                  <a:pt x="1722" y="26"/>
                </a:lnTo>
                <a:lnTo>
                  <a:pt x="1734" y="32"/>
                </a:lnTo>
                <a:lnTo>
                  <a:pt x="1745" y="40"/>
                </a:lnTo>
                <a:lnTo>
                  <a:pt x="1755" y="50"/>
                </a:lnTo>
                <a:lnTo>
                  <a:pt x="1765" y="62"/>
                </a:lnTo>
                <a:lnTo>
                  <a:pt x="1769" y="68"/>
                </a:lnTo>
                <a:lnTo>
                  <a:pt x="1773" y="76"/>
                </a:lnTo>
                <a:lnTo>
                  <a:pt x="1781" y="92"/>
                </a:lnTo>
                <a:lnTo>
                  <a:pt x="1788" y="108"/>
                </a:lnTo>
                <a:lnTo>
                  <a:pt x="1791" y="118"/>
                </a:lnTo>
                <a:lnTo>
                  <a:pt x="1794" y="126"/>
                </a:lnTo>
                <a:lnTo>
                  <a:pt x="1799" y="146"/>
                </a:lnTo>
                <a:lnTo>
                  <a:pt x="1803" y="168"/>
                </a:lnTo>
                <a:lnTo>
                  <a:pt x="1805" y="178"/>
                </a:lnTo>
                <a:lnTo>
                  <a:pt x="1806" y="190"/>
                </a:lnTo>
                <a:lnTo>
                  <a:pt x="1807" y="200"/>
                </a:lnTo>
                <a:lnTo>
                  <a:pt x="1808" y="212"/>
                </a:lnTo>
                <a:lnTo>
                  <a:pt x="1808" y="224"/>
                </a:lnTo>
                <a:lnTo>
                  <a:pt x="1808" y="236"/>
                </a:lnTo>
                <a:lnTo>
                  <a:pt x="1808" y="263"/>
                </a:lnTo>
                <a:lnTo>
                  <a:pt x="1807" y="275"/>
                </a:lnTo>
                <a:lnTo>
                  <a:pt x="1806" y="287"/>
                </a:lnTo>
                <a:lnTo>
                  <a:pt x="1805" y="299"/>
                </a:lnTo>
                <a:lnTo>
                  <a:pt x="1804" y="309"/>
                </a:lnTo>
                <a:lnTo>
                  <a:pt x="1801" y="331"/>
                </a:lnTo>
                <a:lnTo>
                  <a:pt x="1797" y="349"/>
                </a:lnTo>
                <a:lnTo>
                  <a:pt x="1792" y="367"/>
                </a:lnTo>
                <a:lnTo>
                  <a:pt x="1786" y="381"/>
                </a:lnTo>
                <a:lnTo>
                  <a:pt x="1780" y="395"/>
                </a:lnTo>
                <a:close/>
                <a:moveTo>
                  <a:pt x="1678" y="122"/>
                </a:moveTo>
                <a:lnTo>
                  <a:pt x="1607" y="122"/>
                </a:lnTo>
                <a:lnTo>
                  <a:pt x="1607" y="365"/>
                </a:lnTo>
                <a:lnTo>
                  <a:pt x="1678" y="365"/>
                </a:lnTo>
                <a:lnTo>
                  <a:pt x="1686" y="363"/>
                </a:lnTo>
                <a:lnTo>
                  <a:pt x="1694" y="361"/>
                </a:lnTo>
                <a:lnTo>
                  <a:pt x="1700" y="359"/>
                </a:lnTo>
                <a:lnTo>
                  <a:pt x="1707" y="355"/>
                </a:lnTo>
                <a:lnTo>
                  <a:pt x="1712" y="351"/>
                </a:lnTo>
                <a:lnTo>
                  <a:pt x="1717" y="345"/>
                </a:lnTo>
                <a:lnTo>
                  <a:pt x="1722" y="339"/>
                </a:lnTo>
                <a:lnTo>
                  <a:pt x="1726" y="331"/>
                </a:lnTo>
                <a:lnTo>
                  <a:pt x="1730" y="323"/>
                </a:lnTo>
                <a:lnTo>
                  <a:pt x="1733" y="313"/>
                </a:lnTo>
                <a:lnTo>
                  <a:pt x="1736" y="303"/>
                </a:lnTo>
                <a:lnTo>
                  <a:pt x="1738" y="293"/>
                </a:lnTo>
                <a:lnTo>
                  <a:pt x="1740" y="281"/>
                </a:lnTo>
                <a:lnTo>
                  <a:pt x="1741" y="269"/>
                </a:lnTo>
                <a:lnTo>
                  <a:pt x="1742" y="257"/>
                </a:lnTo>
                <a:lnTo>
                  <a:pt x="1742" y="244"/>
                </a:lnTo>
                <a:lnTo>
                  <a:pt x="1742" y="230"/>
                </a:lnTo>
                <a:lnTo>
                  <a:pt x="1742" y="218"/>
                </a:lnTo>
                <a:lnTo>
                  <a:pt x="1740" y="206"/>
                </a:lnTo>
                <a:lnTo>
                  <a:pt x="1739" y="194"/>
                </a:lnTo>
                <a:lnTo>
                  <a:pt x="1737" y="184"/>
                </a:lnTo>
                <a:lnTo>
                  <a:pt x="1734" y="174"/>
                </a:lnTo>
                <a:lnTo>
                  <a:pt x="1731" y="164"/>
                </a:lnTo>
                <a:lnTo>
                  <a:pt x="1728" y="156"/>
                </a:lnTo>
                <a:lnTo>
                  <a:pt x="1723" y="148"/>
                </a:lnTo>
                <a:lnTo>
                  <a:pt x="1719" y="142"/>
                </a:lnTo>
                <a:lnTo>
                  <a:pt x="1713" y="136"/>
                </a:lnTo>
                <a:lnTo>
                  <a:pt x="1708" y="132"/>
                </a:lnTo>
                <a:lnTo>
                  <a:pt x="1701" y="128"/>
                </a:lnTo>
                <a:lnTo>
                  <a:pt x="1694" y="124"/>
                </a:lnTo>
                <a:lnTo>
                  <a:pt x="1686" y="122"/>
                </a:lnTo>
                <a:lnTo>
                  <a:pt x="1678" y="122"/>
                </a:lnTo>
                <a:close/>
                <a:moveTo>
                  <a:pt x="2090" y="788"/>
                </a:moveTo>
                <a:lnTo>
                  <a:pt x="2069" y="635"/>
                </a:lnTo>
                <a:lnTo>
                  <a:pt x="1942" y="635"/>
                </a:lnTo>
                <a:lnTo>
                  <a:pt x="1921" y="788"/>
                </a:lnTo>
                <a:lnTo>
                  <a:pt x="1854" y="788"/>
                </a:lnTo>
                <a:lnTo>
                  <a:pt x="1975" y="18"/>
                </a:lnTo>
                <a:lnTo>
                  <a:pt x="2037" y="18"/>
                </a:lnTo>
                <a:lnTo>
                  <a:pt x="2160" y="788"/>
                </a:lnTo>
                <a:lnTo>
                  <a:pt x="2090" y="788"/>
                </a:lnTo>
                <a:close/>
                <a:moveTo>
                  <a:pt x="2026" y="323"/>
                </a:moveTo>
                <a:lnTo>
                  <a:pt x="2015" y="250"/>
                </a:lnTo>
                <a:lnTo>
                  <a:pt x="2010" y="210"/>
                </a:lnTo>
                <a:lnTo>
                  <a:pt x="2006" y="170"/>
                </a:lnTo>
                <a:lnTo>
                  <a:pt x="2001" y="210"/>
                </a:lnTo>
                <a:lnTo>
                  <a:pt x="1996" y="250"/>
                </a:lnTo>
                <a:lnTo>
                  <a:pt x="1986" y="325"/>
                </a:lnTo>
                <a:lnTo>
                  <a:pt x="1957" y="529"/>
                </a:lnTo>
                <a:lnTo>
                  <a:pt x="2053" y="529"/>
                </a:lnTo>
                <a:lnTo>
                  <a:pt x="2026" y="323"/>
                </a:lnTo>
                <a:close/>
                <a:moveTo>
                  <a:pt x="2419" y="788"/>
                </a:moveTo>
                <a:lnTo>
                  <a:pt x="2323" y="431"/>
                </a:lnTo>
                <a:lnTo>
                  <a:pt x="2285" y="527"/>
                </a:lnTo>
                <a:lnTo>
                  <a:pt x="2285" y="788"/>
                </a:lnTo>
                <a:lnTo>
                  <a:pt x="2220" y="788"/>
                </a:lnTo>
                <a:lnTo>
                  <a:pt x="2220" y="18"/>
                </a:lnTo>
                <a:lnTo>
                  <a:pt x="2285" y="18"/>
                </a:lnTo>
                <a:lnTo>
                  <a:pt x="2285" y="347"/>
                </a:lnTo>
                <a:lnTo>
                  <a:pt x="2410" y="18"/>
                </a:lnTo>
                <a:lnTo>
                  <a:pt x="2492" y="18"/>
                </a:lnTo>
                <a:lnTo>
                  <a:pt x="2363" y="333"/>
                </a:lnTo>
                <a:lnTo>
                  <a:pt x="2498" y="788"/>
                </a:lnTo>
                <a:lnTo>
                  <a:pt x="2419" y="788"/>
                </a:lnTo>
                <a:close/>
                <a:moveTo>
                  <a:pt x="2558" y="788"/>
                </a:moveTo>
                <a:lnTo>
                  <a:pt x="2558" y="18"/>
                </a:lnTo>
                <a:lnTo>
                  <a:pt x="2786" y="18"/>
                </a:lnTo>
                <a:lnTo>
                  <a:pt x="2786" y="126"/>
                </a:lnTo>
                <a:lnTo>
                  <a:pt x="2623" y="126"/>
                </a:lnTo>
                <a:lnTo>
                  <a:pt x="2623" y="341"/>
                </a:lnTo>
                <a:lnTo>
                  <a:pt x="2756" y="341"/>
                </a:lnTo>
                <a:lnTo>
                  <a:pt x="2756" y="445"/>
                </a:lnTo>
                <a:lnTo>
                  <a:pt x="2623" y="445"/>
                </a:lnTo>
                <a:lnTo>
                  <a:pt x="2623" y="683"/>
                </a:lnTo>
                <a:lnTo>
                  <a:pt x="2786" y="683"/>
                </a:lnTo>
                <a:lnTo>
                  <a:pt x="2786" y="788"/>
                </a:lnTo>
                <a:lnTo>
                  <a:pt x="2558" y="788"/>
                </a:lnTo>
                <a:close/>
                <a:moveTo>
                  <a:pt x="2939" y="18"/>
                </a:moveTo>
                <a:lnTo>
                  <a:pt x="3030" y="439"/>
                </a:lnTo>
                <a:lnTo>
                  <a:pt x="3038" y="477"/>
                </a:lnTo>
                <a:lnTo>
                  <a:pt x="3042" y="495"/>
                </a:lnTo>
                <a:lnTo>
                  <a:pt x="3046" y="515"/>
                </a:lnTo>
                <a:lnTo>
                  <a:pt x="3053" y="553"/>
                </a:lnTo>
                <a:lnTo>
                  <a:pt x="3060" y="595"/>
                </a:lnTo>
                <a:lnTo>
                  <a:pt x="3060" y="509"/>
                </a:lnTo>
                <a:lnTo>
                  <a:pt x="3059" y="421"/>
                </a:lnTo>
                <a:lnTo>
                  <a:pt x="3059" y="18"/>
                </a:lnTo>
                <a:lnTo>
                  <a:pt x="3124" y="18"/>
                </a:lnTo>
                <a:lnTo>
                  <a:pt x="3124" y="788"/>
                </a:lnTo>
                <a:lnTo>
                  <a:pt x="3046" y="788"/>
                </a:lnTo>
                <a:lnTo>
                  <a:pt x="2954" y="369"/>
                </a:lnTo>
                <a:lnTo>
                  <a:pt x="2946" y="331"/>
                </a:lnTo>
                <a:lnTo>
                  <a:pt x="2938" y="293"/>
                </a:lnTo>
                <a:lnTo>
                  <a:pt x="2931" y="255"/>
                </a:lnTo>
                <a:lnTo>
                  <a:pt x="2923" y="214"/>
                </a:lnTo>
                <a:lnTo>
                  <a:pt x="2924" y="389"/>
                </a:lnTo>
                <a:lnTo>
                  <a:pt x="2924" y="790"/>
                </a:lnTo>
                <a:lnTo>
                  <a:pt x="2859" y="790"/>
                </a:lnTo>
                <a:lnTo>
                  <a:pt x="2859" y="18"/>
                </a:lnTo>
                <a:lnTo>
                  <a:pt x="2939" y="18"/>
                </a:lnTo>
                <a:close/>
                <a:moveTo>
                  <a:pt x="3306" y="18"/>
                </a:moveTo>
                <a:lnTo>
                  <a:pt x="3396" y="425"/>
                </a:lnTo>
                <a:lnTo>
                  <a:pt x="3404" y="463"/>
                </a:lnTo>
                <a:lnTo>
                  <a:pt x="3408" y="481"/>
                </a:lnTo>
                <a:lnTo>
                  <a:pt x="3412" y="501"/>
                </a:lnTo>
                <a:lnTo>
                  <a:pt x="3419" y="539"/>
                </a:lnTo>
                <a:lnTo>
                  <a:pt x="3426" y="581"/>
                </a:lnTo>
                <a:lnTo>
                  <a:pt x="3426" y="495"/>
                </a:lnTo>
                <a:lnTo>
                  <a:pt x="3426" y="407"/>
                </a:lnTo>
                <a:lnTo>
                  <a:pt x="3426" y="18"/>
                </a:lnTo>
                <a:lnTo>
                  <a:pt x="3491" y="18"/>
                </a:lnTo>
                <a:lnTo>
                  <a:pt x="3491" y="788"/>
                </a:lnTo>
                <a:lnTo>
                  <a:pt x="3412" y="788"/>
                </a:lnTo>
                <a:lnTo>
                  <a:pt x="3320" y="383"/>
                </a:lnTo>
                <a:lnTo>
                  <a:pt x="3312" y="345"/>
                </a:lnTo>
                <a:lnTo>
                  <a:pt x="3305" y="307"/>
                </a:lnTo>
                <a:lnTo>
                  <a:pt x="3297" y="269"/>
                </a:lnTo>
                <a:lnTo>
                  <a:pt x="3290" y="228"/>
                </a:lnTo>
                <a:lnTo>
                  <a:pt x="3290" y="403"/>
                </a:lnTo>
                <a:lnTo>
                  <a:pt x="3290" y="788"/>
                </a:lnTo>
                <a:lnTo>
                  <a:pt x="3226" y="788"/>
                </a:lnTo>
                <a:lnTo>
                  <a:pt x="3226" y="18"/>
                </a:lnTo>
                <a:lnTo>
                  <a:pt x="3306" y="18"/>
                </a:lnTo>
                <a:close/>
                <a:moveTo>
                  <a:pt x="3618" y="735"/>
                </a:moveTo>
                <a:lnTo>
                  <a:pt x="3611" y="719"/>
                </a:lnTo>
                <a:lnTo>
                  <a:pt x="3605" y="701"/>
                </a:lnTo>
                <a:lnTo>
                  <a:pt x="3599" y="681"/>
                </a:lnTo>
                <a:lnTo>
                  <a:pt x="3597" y="669"/>
                </a:lnTo>
                <a:lnTo>
                  <a:pt x="3595" y="659"/>
                </a:lnTo>
                <a:lnTo>
                  <a:pt x="3591" y="635"/>
                </a:lnTo>
                <a:lnTo>
                  <a:pt x="3589" y="609"/>
                </a:lnTo>
                <a:lnTo>
                  <a:pt x="3588" y="595"/>
                </a:lnTo>
                <a:lnTo>
                  <a:pt x="3587" y="581"/>
                </a:lnTo>
                <a:lnTo>
                  <a:pt x="3587" y="549"/>
                </a:lnTo>
                <a:lnTo>
                  <a:pt x="3587" y="18"/>
                </a:lnTo>
                <a:lnTo>
                  <a:pt x="3652" y="18"/>
                </a:lnTo>
                <a:lnTo>
                  <a:pt x="3652" y="543"/>
                </a:lnTo>
                <a:lnTo>
                  <a:pt x="3652" y="563"/>
                </a:lnTo>
                <a:lnTo>
                  <a:pt x="3652" y="581"/>
                </a:lnTo>
                <a:lnTo>
                  <a:pt x="3653" y="597"/>
                </a:lnTo>
                <a:lnTo>
                  <a:pt x="3655" y="611"/>
                </a:lnTo>
                <a:lnTo>
                  <a:pt x="3657" y="625"/>
                </a:lnTo>
                <a:lnTo>
                  <a:pt x="3659" y="637"/>
                </a:lnTo>
                <a:lnTo>
                  <a:pt x="3662" y="649"/>
                </a:lnTo>
                <a:lnTo>
                  <a:pt x="3665" y="659"/>
                </a:lnTo>
                <a:lnTo>
                  <a:pt x="3669" y="667"/>
                </a:lnTo>
                <a:lnTo>
                  <a:pt x="3674" y="675"/>
                </a:lnTo>
                <a:lnTo>
                  <a:pt x="3679" y="683"/>
                </a:lnTo>
                <a:lnTo>
                  <a:pt x="3685" y="689"/>
                </a:lnTo>
                <a:lnTo>
                  <a:pt x="3688" y="691"/>
                </a:lnTo>
                <a:lnTo>
                  <a:pt x="3692" y="693"/>
                </a:lnTo>
                <a:lnTo>
                  <a:pt x="3699" y="697"/>
                </a:lnTo>
                <a:lnTo>
                  <a:pt x="3706" y="699"/>
                </a:lnTo>
                <a:lnTo>
                  <a:pt x="3715" y="699"/>
                </a:lnTo>
                <a:lnTo>
                  <a:pt x="3723" y="699"/>
                </a:lnTo>
                <a:lnTo>
                  <a:pt x="3731" y="697"/>
                </a:lnTo>
                <a:lnTo>
                  <a:pt x="3738" y="693"/>
                </a:lnTo>
                <a:lnTo>
                  <a:pt x="3744" y="689"/>
                </a:lnTo>
                <a:lnTo>
                  <a:pt x="3750" y="683"/>
                </a:lnTo>
                <a:lnTo>
                  <a:pt x="3755" y="675"/>
                </a:lnTo>
                <a:lnTo>
                  <a:pt x="3760" y="667"/>
                </a:lnTo>
                <a:lnTo>
                  <a:pt x="3764" y="659"/>
                </a:lnTo>
                <a:lnTo>
                  <a:pt x="3768" y="649"/>
                </a:lnTo>
                <a:lnTo>
                  <a:pt x="3770" y="637"/>
                </a:lnTo>
                <a:lnTo>
                  <a:pt x="3773" y="625"/>
                </a:lnTo>
                <a:lnTo>
                  <a:pt x="3775" y="613"/>
                </a:lnTo>
                <a:lnTo>
                  <a:pt x="3776" y="597"/>
                </a:lnTo>
                <a:lnTo>
                  <a:pt x="3777" y="581"/>
                </a:lnTo>
                <a:lnTo>
                  <a:pt x="3778" y="563"/>
                </a:lnTo>
                <a:lnTo>
                  <a:pt x="3778" y="543"/>
                </a:lnTo>
                <a:lnTo>
                  <a:pt x="3778" y="18"/>
                </a:lnTo>
                <a:lnTo>
                  <a:pt x="3843" y="18"/>
                </a:lnTo>
                <a:lnTo>
                  <a:pt x="3843" y="549"/>
                </a:lnTo>
                <a:lnTo>
                  <a:pt x="3843" y="581"/>
                </a:lnTo>
                <a:lnTo>
                  <a:pt x="3842" y="595"/>
                </a:lnTo>
                <a:lnTo>
                  <a:pt x="3841" y="609"/>
                </a:lnTo>
                <a:lnTo>
                  <a:pt x="3838" y="635"/>
                </a:lnTo>
                <a:lnTo>
                  <a:pt x="3835" y="659"/>
                </a:lnTo>
                <a:lnTo>
                  <a:pt x="3833" y="669"/>
                </a:lnTo>
                <a:lnTo>
                  <a:pt x="3830" y="681"/>
                </a:lnTo>
                <a:lnTo>
                  <a:pt x="3825" y="701"/>
                </a:lnTo>
                <a:lnTo>
                  <a:pt x="3822" y="709"/>
                </a:lnTo>
                <a:lnTo>
                  <a:pt x="3819" y="719"/>
                </a:lnTo>
                <a:lnTo>
                  <a:pt x="3815" y="727"/>
                </a:lnTo>
                <a:lnTo>
                  <a:pt x="3812" y="735"/>
                </a:lnTo>
                <a:lnTo>
                  <a:pt x="3807" y="744"/>
                </a:lnTo>
                <a:lnTo>
                  <a:pt x="3802" y="752"/>
                </a:lnTo>
                <a:lnTo>
                  <a:pt x="3792" y="766"/>
                </a:lnTo>
                <a:lnTo>
                  <a:pt x="3781" y="778"/>
                </a:lnTo>
                <a:lnTo>
                  <a:pt x="3775" y="784"/>
                </a:lnTo>
                <a:lnTo>
                  <a:pt x="3769" y="788"/>
                </a:lnTo>
                <a:lnTo>
                  <a:pt x="3757" y="796"/>
                </a:lnTo>
                <a:lnTo>
                  <a:pt x="3750" y="800"/>
                </a:lnTo>
                <a:lnTo>
                  <a:pt x="3743" y="802"/>
                </a:lnTo>
                <a:lnTo>
                  <a:pt x="3729" y="806"/>
                </a:lnTo>
                <a:lnTo>
                  <a:pt x="3722" y="806"/>
                </a:lnTo>
                <a:lnTo>
                  <a:pt x="3715" y="806"/>
                </a:lnTo>
                <a:lnTo>
                  <a:pt x="3700" y="806"/>
                </a:lnTo>
                <a:lnTo>
                  <a:pt x="3686" y="802"/>
                </a:lnTo>
                <a:lnTo>
                  <a:pt x="3679" y="800"/>
                </a:lnTo>
                <a:lnTo>
                  <a:pt x="3673" y="796"/>
                </a:lnTo>
                <a:lnTo>
                  <a:pt x="3660" y="788"/>
                </a:lnTo>
                <a:lnTo>
                  <a:pt x="3648" y="778"/>
                </a:lnTo>
                <a:lnTo>
                  <a:pt x="3637" y="766"/>
                </a:lnTo>
                <a:lnTo>
                  <a:pt x="3627" y="750"/>
                </a:lnTo>
                <a:lnTo>
                  <a:pt x="3623" y="742"/>
                </a:lnTo>
                <a:lnTo>
                  <a:pt x="3618" y="735"/>
                </a:lnTo>
                <a:close/>
                <a:moveTo>
                  <a:pt x="4052" y="806"/>
                </a:moveTo>
                <a:lnTo>
                  <a:pt x="4036" y="806"/>
                </a:lnTo>
                <a:lnTo>
                  <a:pt x="4020" y="802"/>
                </a:lnTo>
                <a:lnTo>
                  <a:pt x="4006" y="796"/>
                </a:lnTo>
                <a:lnTo>
                  <a:pt x="4000" y="792"/>
                </a:lnTo>
                <a:lnTo>
                  <a:pt x="3993" y="788"/>
                </a:lnTo>
                <a:lnTo>
                  <a:pt x="3981" y="780"/>
                </a:lnTo>
                <a:lnTo>
                  <a:pt x="3975" y="774"/>
                </a:lnTo>
                <a:lnTo>
                  <a:pt x="3970" y="768"/>
                </a:lnTo>
                <a:lnTo>
                  <a:pt x="3960" y="756"/>
                </a:lnTo>
                <a:lnTo>
                  <a:pt x="3956" y="748"/>
                </a:lnTo>
                <a:lnTo>
                  <a:pt x="3951" y="740"/>
                </a:lnTo>
                <a:lnTo>
                  <a:pt x="3947" y="733"/>
                </a:lnTo>
                <a:lnTo>
                  <a:pt x="3943" y="725"/>
                </a:lnTo>
                <a:lnTo>
                  <a:pt x="3939" y="717"/>
                </a:lnTo>
                <a:lnTo>
                  <a:pt x="3936" y="707"/>
                </a:lnTo>
                <a:lnTo>
                  <a:pt x="3930" y="687"/>
                </a:lnTo>
                <a:lnTo>
                  <a:pt x="3926" y="667"/>
                </a:lnTo>
                <a:lnTo>
                  <a:pt x="3924" y="657"/>
                </a:lnTo>
                <a:lnTo>
                  <a:pt x="3922" y="645"/>
                </a:lnTo>
                <a:lnTo>
                  <a:pt x="3919" y="623"/>
                </a:lnTo>
                <a:lnTo>
                  <a:pt x="3918" y="599"/>
                </a:lnTo>
                <a:lnTo>
                  <a:pt x="3917" y="585"/>
                </a:lnTo>
                <a:lnTo>
                  <a:pt x="3917" y="573"/>
                </a:lnTo>
                <a:lnTo>
                  <a:pt x="3980" y="545"/>
                </a:lnTo>
                <a:lnTo>
                  <a:pt x="3981" y="567"/>
                </a:lnTo>
                <a:lnTo>
                  <a:pt x="3982" y="587"/>
                </a:lnTo>
                <a:lnTo>
                  <a:pt x="3984" y="603"/>
                </a:lnTo>
                <a:lnTo>
                  <a:pt x="3986" y="619"/>
                </a:lnTo>
                <a:lnTo>
                  <a:pt x="3988" y="627"/>
                </a:lnTo>
                <a:lnTo>
                  <a:pt x="3989" y="635"/>
                </a:lnTo>
                <a:lnTo>
                  <a:pt x="3993" y="647"/>
                </a:lnTo>
                <a:lnTo>
                  <a:pt x="3997" y="659"/>
                </a:lnTo>
                <a:lnTo>
                  <a:pt x="4001" y="667"/>
                </a:lnTo>
                <a:lnTo>
                  <a:pt x="4006" y="677"/>
                </a:lnTo>
                <a:lnTo>
                  <a:pt x="4012" y="683"/>
                </a:lnTo>
                <a:lnTo>
                  <a:pt x="4018" y="689"/>
                </a:lnTo>
                <a:lnTo>
                  <a:pt x="4025" y="693"/>
                </a:lnTo>
                <a:lnTo>
                  <a:pt x="4032" y="697"/>
                </a:lnTo>
                <a:lnTo>
                  <a:pt x="4039" y="699"/>
                </a:lnTo>
                <a:lnTo>
                  <a:pt x="4047" y="701"/>
                </a:lnTo>
                <a:lnTo>
                  <a:pt x="4056" y="701"/>
                </a:lnTo>
                <a:lnTo>
                  <a:pt x="4063" y="701"/>
                </a:lnTo>
                <a:lnTo>
                  <a:pt x="4070" y="699"/>
                </a:lnTo>
                <a:lnTo>
                  <a:pt x="4077" y="697"/>
                </a:lnTo>
                <a:lnTo>
                  <a:pt x="4083" y="695"/>
                </a:lnTo>
                <a:lnTo>
                  <a:pt x="4089" y="691"/>
                </a:lnTo>
                <a:lnTo>
                  <a:pt x="4095" y="685"/>
                </a:lnTo>
                <a:lnTo>
                  <a:pt x="4100" y="679"/>
                </a:lnTo>
                <a:lnTo>
                  <a:pt x="4105" y="673"/>
                </a:lnTo>
                <a:lnTo>
                  <a:pt x="4109" y="665"/>
                </a:lnTo>
                <a:lnTo>
                  <a:pt x="4113" y="657"/>
                </a:lnTo>
                <a:lnTo>
                  <a:pt x="4116" y="649"/>
                </a:lnTo>
                <a:lnTo>
                  <a:pt x="4119" y="639"/>
                </a:lnTo>
                <a:lnTo>
                  <a:pt x="4121" y="627"/>
                </a:lnTo>
                <a:lnTo>
                  <a:pt x="4122" y="623"/>
                </a:lnTo>
                <a:lnTo>
                  <a:pt x="4123" y="617"/>
                </a:lnTo>
                <a:lnTo>
                  <a:pt x="4124" y="605"/>
                </a:lnTo>
                <a:lnTo>
                  <a:pt x="4124" y="591"/>
                </a:lnTo>
                <a:lnTo>
                  <a:pt x="4124" y="581"/>
                </a:lnTo>
                <a:lnTo>
                  <a:pt x="4123" y="571"/>
                </a:lnTo>
                <a:lnTo>
                  <a:pt x="4122" y="563"/>
                </a:lnTo>
                <a:lnTo>
                  <a:pt x="4121" y="553"/>
                </a:lnTo>
                <a:lnTo>
                  <a:pt x="4119" y="545"/>
                </a:lnTo>
                <a:lnTo>
                  <a:pt x="4117" y="537"/>
                </a:lnTo>
                <a:lnTo>
                  <a:pt x="4115" y="529"/>
                </a:lnTo>
                <a:lnTo>
                  <a:pt x="4112" y="521"/>
                </a:lnTo>
                <a:lnTo>
                  <a:pt x="4104" y="505"/>
                </a:lnTo>
                <a:lnTo>
                  <a:pt x="4100" y="497"/>
                </a:lnTo>
                <a:lnTo>
                  <a:pt x="4095" y="491"/>
                </a:lnTo>
                <a:lnTo>
                  <a:pt x="4084" y="477"/>
                </a:lnTo>
                <a:lnTo>
                  <a:pt x="4071" y="465"/>
                </a:lnTo>
                <a:lnTo>
                  <a:pt x="4007" y="407"/>
                </a:lnTo>
                <a:lnTo>
                  <a:pt x="3998" y="399"/>
                </a:lnTo>
                <a:lnTo>
                  <a:pt x="3988" y="389"/>
                </a:lnTo>
                <a:lnTo>
                  <a:pt x="3972" y="369"/>
                </a:lnTo>
                <a:lnTo>
                  <a:pt x="3958" y="349"/>
                </a:lnTo>
                <a:lnTo>
                  <a:pt x="3953" y="337"/>
                </a:lnTo>
                <a:lnTo>
                  <a:pt x="3947" y="325"/>
                </a:lnTo>
                <a:lnTo>
                  <a:pt x="3942" y="313"/>
                </a:lnTo>
                <a:lnTo>
                  <a:pt x="3937" y="299"/>
                </a:lnTo>
                <a:lnTo>
                  <a:pt x="3934" y="285"/>
                </a:lnTo>
                <a:lnTo>
                  <a:pt x="3931" y="269"/>
                </a:lnTo>
                <a:lnTo>
                  <a:pt x="3929" y="253"/>
                </a:lnTo>
                <a:lnTo>
                  <a:pt x="3928" y="246"/>
                </a:lnTo>
                <a:lnTo>
                  <a:pt x="3927" y="238"/>
                </a:lnTo>
                <a:lnTo>
                  <a:pt x="3927" y="220"/>
                </a:lnTo>
                <a:lnTo>
                  <a:pt x="3926" y="200"/>
                </a:lnTo>
                <a:lnTo>
                  <a:pt x="3926" y="188"/>
                </a:lnTo>
                <a:lnTo>
                  <a:pt x="3927" y="176"/>
                </a:lnTo>
                <a:lnTo>
                  <a:pt x="3928" y="164"/>
                </a:lnTo>
                <a:lnTo>
                  <a:pt x="3929" y="152"/>
                </a:lnTo>
                <a:lnTo>
                  <a:pt x="3930" y="142"/>
                </a:lnTo>
                <a:lnTo>
                  <a:pt x="3932" y="132"/>
                </a:lnTo>
                <a:lnTo>
                  <a:pt x="3936" y="112"/>
                </a:lnTo>
                <a:lnTo>
                  <a:pt x="3939" y="102"/>
                </a:lnTo>
                <a:lnTo>
                  <a:pt x="3942" y="94"/>
                </a:lnTo>
                <a:lnTo>
                  <a:pt x="3949" y="78"/>
                </a:lnTo>
                <a:lnTo>
                  <a:pt x="3957" y="62"/>
                </a:lnTo>
                <a:lnTo>
                  <a:pt x="3961" y="56"/>
                </a:lnTo>
                <a:lnTo>
                  <a:pt x="3965" y="50"/>
                </a:lnTo>
                <a:lnTo>
                  <a:pt x="3974" y="38"/>
                </a:lnTo>
                <a:lnTo>
                  <a:pt x="3984" y="28"/>
                </a:lnTo>
                <a:lnTo>
                  <a:pt x="3994" y="20"/>
                </a:lnTo>
                <a:lnTo>
                  <a:pt x="4005" y="12"/>
                </a:lnTo>
                <a:lnTo>
                  <a:pt x="4017" y="6"/>
                </a:lnTo>
                <a:lnTo>
                  <a:pt x="4029" y="4"/>
                </a:lnTo>
                <a:lnTo>
                  <a:pt x="4042" y="0"/>
                </a:lnTo>
                <a:lnTo>
                  <a:pt x="4055" y="0"/>
                </a:lnTo>
                <a:lnTo>
                  <a:pt x="4070" y="2"/>
                </a:lnTo>
                <a:lnTo>
                  <a:pt x="4085" y="4"/>
                </a:lnTo>
                <a:lnTo>
                  <a:pt x="4098" y="10"/>
                </a:lnTo>
                <a:lnTo>
                  <a:pt x="4104" y="14"/>
                </a:lnTo>
                <a:lnTo>
                  <a:pt x="4110" y="18"/>
                </a:lnTo>
                <a:lnTo>
                  <a:pt x="4122" y="26"/>
                </a:lnTo>
                <a:lnTo>
                  <a:pt x="4132" y="38"/>
                </a:lnTo>
                <a:lnTo>
                  <a:pt x="4141" y="50"/>
                </a:lnTo>
                <a:lnTo>
                  <a:pt x="4149" y="64"/>
                </a:lnTo>
                <a:lnTo>
                  <a:pt x="4153" y="72"/>
                </a:lnTo>
                <a:lnTo>
                  <a:pt x="4156" y="78"/>
                </a:lnTo>
                <a:lnTo>
                  <a:pt x="4159" y="86"/>
                </a:lnTo>
                <a:lnTo>
                  <a:pt x="4162" y="94"/>
                </a:lnTo>
                <a:lnTo>
                  <a:pt x="4167" y="112"/>
                </a:lnTo>
                <a:lnTo>
                  <a:pt x="4172" y="128"/>
                </a:lnTo>
                <a:lnTo>
                  <a:pt x="4175" y="146"/>
                </a:lnTo>
                <a:lnTo>
                  <a:pt x="4177" y="166"/>
                </a:lnTo>
                <a:lnTo>
                  <a:pt x="4179" y="184"/>
                </a:lnTo>
                <a:lnTo>
                  <a:pt x="4179" y="202"/>
                </a:lnTo>
                <a:lnTo>
                  <a:pt x="4117" y="228"/>
                </a:lnTo>
                <a:lnTo>
                  <a:pt x="4117" y="212"/>
                </a:lnTo>
                <a:lnTo>
                  <a:pt x="4115" y="198"/>
                </a:lnTo>
                <a:lnTo>
                  <a:pt x="4114" y="186"/>
                </a:lnTo>
                <a:lnTo>
                  <a:pt x="4112" y="172"/>
                </a:lnTo>
                <a:lnTo>
                  <a:pt x="4109" y="162"/>
                </a:lnTo>
                <a:lnTo>
                  <a:pt x="4106" y="152"/>
                </a:lnTo>
                <a:lnTo>
                  <a:pt x="4103" y="142"/>
                </a:lnTo>
                <a:lnTo>
                  <a:pt x="4099" y="136"/>
                </a:lnTo>
                <a:lnTo>
                  <a:pt x="4095" y="128"/>
                </a:lnTo>
                <a:lnTo>
                  <a:pt x="4090" y="122"/>
                </a:lnTo>
                <a:lnTo>
                  <a:pt x="4085" y="118"/>
                </a:lnTo>
                <a:lnTo>
                  <a:pt x="4079" y="114"/>
                </a:lnTo>
                <a:lnTo>
                  <a:pt x="4073" y="110"/>
                </a:lnTo>
                <a:lnTo>
                  <a:pt x="4067" y="108"/>
                </a:lnTo>
                <a:lnTo>
                  <a:pt x="4060" y="108"/>
                </a:lnTo>
                <a:lnTo>
                  <a:pt x="4052" y="106"/>
                </a:lnTo>
                <a:lnTo>
                  <a:pt x="4040" y="108"/>
                </a:lnTo>
                <a:lnTo>
                  <a:pt x="4028" y="112"/>
                </a:lnTo>
                <a:lnTo>
                  <a:pt x="4023" y="116"/>
                </a:lnTo>
                <a:lnTo>
                  <a:pt x="4018" y="120"/>
                </a:lnTo>
                <a:lnTo>
                  <a:pt x="4013" y="124"/>
                </a:lnTo>
                <a:lnTo>
                  <a:pt x="4009" y="128"/>
                </a:lnTo>
                <a:lnTo>
                  <a:pt x="4005" y="134"/>
                </a:lnTo>
                <a:lnTo>
                  <a:pt x="4002" y="140"/>
                </a:lnTo>
                <a:lnTo>
                  <a:pt x="3999" y="148"/>
                </a:lnTo>
                <a:lnTo>
                  <a:pt x="3996" y="156"/>
                </a:lnTo>
                <a:lnTo>
                  <a:pt x="3994" y="164"/>
                </a:lnTo>
                <a:lnTo>
                  <a:pt x="3993" y="174"/>
                </a:lnTo>
                <a:lnTo>
                  <a:pt x="3992" y="184"/>
                </a:lnTo>
                <a:lnTo>
                  <a:pt x="3992" y="194"/>
                </a:lnTo>
                <a:lnTo>
                  <a:pt x="3992" y="204"/>
                </a:lnTo>
                <a:lnTo>
                  <a:pt x="3992" y="214"/>
                </a:lnTo>
                <a:lnTo>
                  <a:pt x="3993" y="224"/>
                </a:lnTo>
                <a:lnTo>
                  <a:pt x="3994" y="232"/>
                </a:lnTo>
                <a:lnTo>
                  <a:pt x="3996" y="240"/>
                </a:lnTo>
                <a:lnTo>
                  <a:pt x="3998" y="248"/>
                </a:lnTo>
                <a:lnTo>
                  <a:pt x="4001" y="255"/>
                </a:lnTo>
                <a:lnTo>
                  <a:pt x="4003" y="261"/>
                </a:lnTo>
                <a:lnTo>
                  <a:pt x="4007" y="267"/>
                </a:lnTo>
                <a:lnTo>
                  <a:pt x="4010" y="273"/>
                </a:lnTo>
                <a:lnTo>
                  <a:pt x="4019" y="285"/>
                </a:lnTo>
                <a:lnTo>
                  <a:pt x="4029" y="297"/>
                </a:lnTo>
                <a:lnTo>
                  <a:pt x="4041" y="309"/>
                </a:lnTo>
                <a:lnTo>
                  <a:pt x="4103" y="363"/>
                </a:lnTo>
                <a:lnTo>
                  <a:pt x="4113" y="373"/>
                </a:lnTo>
                <a:lnTo>
                  <a:pt x="4123" y="383"/>
                </a:lnTo>
                <a:lnTo>
                  <a:pt x="4133" y="393"/>
                </a:lnTo>
                <a:lnTo>
                  <a:pt x="4141" y="405"/>
                </a:lnTo>
                <a:lnTo>
                  <a:pt x="4149" y="417"/>
                </a:lnTo>
                <a:lnTo>
                  <a:pt x="4156" y="427"/>
                </a:lnTo>
                <a:lnTo>
                  <a:pt x="4162" y="441"/>
                </a:lnTo>
                <a:lnTo>
                  <a:pt x="4168" y="453"/>
                </a:lnTo>
                <a:lnTo>
                  <a:pt x="4173" y="467"/>
                </a:lnTo>
                <a:lnTo>
                  <a:pt x="4177" y="481"/>
                </a:lnTo>
                <a:lnTo>
                  <a:pt x="4181" y="495"/>
                </a:lnTo>
                <a:lnTo>
                  <a:pt x="4184" y="511"/>
                </a:lnTo>
                <a:lnTo>
                  <a:pt x="4186" y="527"/>
                </a:lnTo>
                <a:lnTo>
                  <a:pt x="4187" y="537"/>
                </a:lnTo>
                <a:lnTo>
                  <a:pt x="4187" y="545"/>
                </a:lnTo>
                <a:lnTo>
                  <a:pt x="4188" y="563"/>
                </a:lnTo>
                <a:lnTo>
                  <a:pt x="4189" y="583"/>
                </a:lnTo>
                <a:lnTo>
                  <a:pt x="4188" y="609"/>
                </a:lnTo>
                <a:lnTo>
                  <a:pt x="4186" y="633"/>
                </a:lnTo>
                <a:lnTo>
                  <a:pt x="4185" y="645"/>
                </a:lnTo>
                <a:lnTo>
                  <a:pt x="4183" y="655"/>
                </a:lnTo>
                <a:lnTo>
                  <a:pt x="4181" y="667"/>
                </a:lnTo>
                <a:lnTo>
                  <a:pt x="4179" y="677"/>
                </a:lnTo>
                <a:lnTo>
                  <a:pt x="4177" y="687"/>
                </a:lnTo>
                <a:lnTo>
                  <a:pt x="4174" y="697"/>
                </a:lnTo>
                <a:lnTo>
                  <a:pt x="4167" y="715"/>
                </a:lnTo>
                <a:lnTo>
                  <a:pt x="4164" y="723"/>
                </a:lnTo>
                <a:lnTo>
                  <a:pt x="4160" y="733"/>
                </a:lnTo>
                <a:lnTo>
                  <a:pt x="4152" y="746"/>
                </a:lnTo>
                <a:lnTo>
                  <a:pt x="4147" y="754"/>
                </a:lnTo>
                <a:lnTo>
                  <a:pt x="4142" y="760"/>
                </a:lnTo>
                <a:lnTo>
                  <a:pt x="4137" y="766"/>
                </a:lnTo>
                <a:lnTo>
                  <a:pt x="4132" y="772"/>
                </a:lnTo>
                <a:lnTo>
                  <a:pt x="4121" y="782"/>
                </a:lnTo>
                <a:lnTo>
                  <a:pt x="4109" y="790"/>
                </a:lnTo>
                <a:lnTo>
                  <a:pt x="4096" y="798"/>
                </a:lnTo>
                <a:lnTo>
                  <a:pt x="4082" y="802"/>
                </a:lnTo>
                <a:lnTo>
                  <a:pt x="4075" y="804"/>
                </a:lnTo>
                <a:lnTo>
                  <a:pt x="4068" y="804"/>
                </a:lnTo>
                <a:lnTo>
                  <a:pt x="4052" y="806"/>
                </a:lnTo>
                <a:close/>
                <a:moveTo>
                  <a:pt x="1669" y="1273"/>
                </a:moveTo>
                <a:lnTo>
                  <a:pt x="1669" y="1936"/>
                </a:lnTo>
                <a:lnTo>
                  <a:pt x="1604" y="1936"/>
                </a:lnTo>
                <a:lnTo>
                  <a:pt x="1604" y="1273"/>
                </a:lnTo>
                <a:lnTo>
                  <a:pt x="1506" y="1273"/>
                </a:lnTo>
                <a:lnTo>
                  <a:pt x="1506" y="1166"/>
                </a:lnTo>
                <a:lnTo>
                  <a:pt x="1767" y="1166"/>
                </a:lnTo>
                <a:lnTo>
                  <a:pt x="1767" y="1273"/>
                </a:lnTo>
                <a:lnTo>
                  <a:pt x="1669" y="1273"/>
                </a:lnTo>
                <a:close/>
                <a:moveTo>
                  <a:pt x="1832" y="1936"/>
                </a:moveTo>
                <a:lnTo>
                  <a:pt x="1832" y="1166"/>
                </a:lnTo>
                <a:lnTo>
                  <a:pt x="2060" y="1166"/>
                </a:lnTo>
                <a:lnTo>
                  <a:pt x="2060" y="1273"/>
                </a:lnTo>
                <a:lnTo>
                  <a:pt x="1897" y="1273"/>
                </a:lnTo>
                <a:lnTo>
                  <a:pt x="1897" y="1489"/>
                </a:lnTo>
                <a:lnTo>
                  <a:pt x="2030" y="1489"/>
                </a:lnTo>
                <a:lnTo>
                  <a:pt x="2030" y="1593"/>
                </a:lnTo>
                <a:lnTo>
                  <a:pt x="1897" y="1593"/>
                </a:lnTo>
                <a:lnTo>
                  <a:pt x="1897" y="1828"/>
                </a:lnTo>
                <a:lnTo>
                  <a:pt x="2060" y="1828"/>
                </a:lnTo>
                <a:lnTo>
                  <a:pt x="2060" y="1936"/>
                </a:lnTo>
                <a:lnTo>
                  <a:pt x="1832" y="1936"/>
                </a:lnTo>
                <a:close/>
                <a:moveTo>
                  <a:pt x="2260" y="1954"/>
                </a:moveTo>
                <a:lnTo>
                  <a:pt x="2251" y="1954"/>
                </a:lnTo>
                <a:lnTo>
                  <a:pt x="2242" y="1952"/>
                </a:lnTo>
                <a:lnTo>
                  <a:pt x="2234" y="1950"/>
                </a:lnTo>
                <a:lnTo>
                  <a:pt x="2226" y="1948"/>
                </a:lnTo>
                <a:lnTo>
                  <a:pt x="2218" y="1944"/>
                </a:lnTo>
                <a:lnTo>
                  <a:pt x="2211" y="1938"/>
                </a:lnTo>
                <a:lnTo>
                  <a:pt x="2204" y="1932"/>
                </a:lnTo>
                <a:lnTo>
                  <a:pt x="2197" y="1926"/>
                </a:lnTo>
                <a:lnTo>
                  <a:pt x="2190" y="1920"/>
                </a:lnTo>
                <a:lnTo>
                  <a:pt x="2184" y="1912"/>
                </a:lnTo>
                <a:lnTo>
                  <a:pt x="2178" y="1902"/>
                </a:lnTo>
                <a:lnTo>
                  <a:pt x="2172" y="1892"/>
                </a:lnTo>
                <a:lnTo>
                  <a:pt x="2166" y="1882"/>
                </a:lnTo>
                <a:lnTo>
                  <a:pt x="2161" y="1872"/>
                </a:lnTo>
                <a:lnTo>
                  <a:pt x="2156" y="1860"/>
                </a:lnTo>
                <a:lnTo>
                  <a:pt x="2151" y="1846"/>
                </a:lnTo>
                <a:lnTo>
                  <a:pt x="2147" y="1834"/>
                </a:lnTo>
                <a:lnTo>
                  <a:pt x="2143" y="1820"/>
                </a:lnTo>
                <a:lnTo>
                  <a:pt x="2139" y="1804"/>
                </a:lnTo>
                <a:lnTo>
                  <a:pt x="2135" y="1788"/>
                </a:lnTo>
                <a:lnTo>
                  <a:pt x="2132" y="1772"/>
                </a:lnTo>
                <a:lnTo>
                  <a:pt x="2129" y="1756"/>
                </a:lnTo>
                <a:lnTo>
                  <a:pt x="2126" y="1738"/>
                </a:lnTo>
                <a:lnTo>
                  <a:pt x="2124" y="1720"/>
                </a:lnTo>
                <a:lnTo>
                  <a:pt x="2121" y="1701"/>
                </a:lnTo>
                <a:lnTo>
                  <a:pt x="2120" y="1681"/>
                </a:lnTo>
                <a:lnTo>
                  <a:pt x="2118" y="1661"/>
                </a:lnTo>
                <a:lnTo>
                  <a:pt x="2117" y="1641"/>
                </a:lnTo>
                <a:lnTo>
                  <a:pt x="2115" y="1597"/>
                </a:lnTo>
                <a:lnTo>
                  <a:pt x="2114" y="1575"/>
                </a:lnTo>
                <a:lnTo>
                  <a:pt x="2114" y="1551"/>
                </a:lnTo>
                <a:lnTo>
                  <a:pt x="2115" y="1505"/>
                </a:lnTo>
                <a:lnTo>
                  <a:pt x="2117" y="1461"/>
                </a:lnTo>
                <a:lnTo>
                  <a:pt x="2118" y="1441"/>
                </a:lnTo>
                <a:lnTo>
                  <a:pt x="2120" y="1421"/>
                </a:lnTo>
                <a:lnTo>
                  <a:pt x="2124" y="1383"/>
                </a:lnTo>
                <a:lnTo>
                  <a:pt x="2126" y="1363"/>
                </a:lnTo>
                <a:lnTo>
                  <a:pt x="2129" y="1347"/>
                </a:lnTo>
                <a:lnTo>
                  <a:pt x="2135" y="1313"/>
                </a:lnTo>
                <a:lnTo>
                  <a:pt x="2139" y="1297"/>
                </a:lnTo>
                <a:lnTo>
                  <a:pt x="2143" y="1283"/>
                </a:lnTo>
                <a:lnTo>
                  <a:pt x="2147" y="1269"/>
                </a:lnTo>
                <a:lnTo>
                  <a:pt x="2151" y="1255"/>
                </a:lnTo>
                <a:lnTo>
                  <a:pt x="2156" y="1243"/>
                </a:lnTo>
                <a:lnTo>
                  <a:pt x="2161" y="1231"/>
                </a:lnTo>
                <a:lnTo>
                  <a:pt x="2166" y="1220"/>
                </a:lnTo>
                <a:lnTo>
                  <a:pt x="2172" y="1210"/>
                </a:lnTo>
                <a:lnTo>
                  <a:pt x="2178" y="1200"/>
                </a:lnTo>
                <a:lnTo>
                  <a:pt x="2184" y="1192"/>
                </a:lnTo>
                <a:lnTo>
                  <a:pt x="2197" y="1176"/>
                </a:lnTo>
                <a:lnTo>
                  <a:pt x="2204" y="1170"/>
                </a:lnTo>
                <a:lnTo>
                  <a:pt x="2211" y="1164"/>
                </a:lnTo>
                <a:lnTo>
                  <a:pt x="2218" y="1160"/>
                </a:lnTo>
                <a:lnTo>
                  <a:pt x="2226" y="1156"/>
                </a:lnTo>
                <a:lnTo>
                  <a:pt x="2234" y="1152"/>
                </a:lnTo>
                <a:lnTo>
                  <a:pt x="2242" y="1150"/>
                </a:lnTo>
                <a:lnTo>
                  <a:pt x="2251" y="1148"/>
                </a:lnTo>
                <a:lnTo>
                  <a:pt x="2260" y="1148"/>
                </a:lnTo>
                <a:lnTo>
                  <a:pt x="2268" y="1148"/>
                </a:lnTo>
                <a:lnTo>
                  <a:pt x="2277" y="1150"/>
                </a:lnTo>
                <a:lnTo>
                  <a:pt x="2285" y="1152"/>
                </a:lnTo>
                <a:lnTo>
                  <a:pt x="2293" y="1156"/>
                </a:lnTo>
                <a:lnTo>
                  <a:pt x="2301" y="1160"/>
                </a:lnTo>
                <a:lnTo>
                  <a:pt x="2308" y="1164"/>
                </a:lnTo>
                <a:lnTo>
                  <a:pt x="2316" y="1170"/>
                </a:lnTo>
                <a:lnTo>
                  <a:pt x="2323" y="1176"/>
                </a:lnTo>
                <a:lnTo>
                  <a:pt x="2329" y="1184"/>
                </a:lnTo>
                <a:lnTo>
                  <a:pt x="2336" y="1192"/>
                </a:lnTo>
                <a:lnTo>
                  <a:pt x="2342" y="1200"/>
                </a:lnTo>
                <a:lnTo>
                  <a:pt x="2348" y="1210"/>
                </a:lnTo>
                <a:lnTo>
                  <a:pt x="2353" y="1220"/>
                </a:lnTo>
                <a:lnTo>
                  <a:pt x="2359" y="1229"/>
                </a:lnTo>
                <a:lnTo>
                  <a:pt x="2364" y="1241"/>
                </a:lnTo>
                <a:lnTo>
                  <a:pt x="2368" y="1255"/>
                </a:lnTo>
                <a:lnTo>
                  <a:pt x="2377" y="1283"/>
                </a:lnTo>
                <a:lnTo>
                  <a:pt x="2381" y="1297"/>
                </a:lnTo>
                <a:lnTo>
                  <a:pt x="2385" y="1313"/>
                </a:lnTo>
                <a:lnTo>
                  <a:pt x="2391" y="1345"/>
                </a:lnTo>
                <a:lnTo>
                  <a:pt x="2394" y="1363"/>
                </a:lnTo>
                <a:lnTo>
                  <a:pt x="2396" y="1381"/>
                </a:lnTo>
                <a:lnTo>
                  <a:pt x="2398" y="1401"/>
                </a:lnTo>
                <a:lnTo>
                  <a:pt x="2400" y="1421"/>
                </a:lnTo>
                <a:lnTo>
                  <a:pt x="2402" y="1441"/>
                </a:lnTo>
                <a:lnTo>
                  <a:pt x="2403" y="1461"/>
                </a:lnTo>
                <a:lnTo>
                  <a:pt x="2404" y="1483"/>
                </a:lnTo>
                <a:lnTo>
                  <a:pt x="2405" y="1505"/>
                </a:lnTo>
                <a:lnTo>
                  <a:pt x="2405" y="1527"/>
                </a:lnTo>
                <a:lnTo>
                  <a:pt x="2406" y="1551"/>
                </a:lnTo>
                <a:lnTo>
                  <a:pt x="2405" y="1597"/>
                </a:lnTo>
                <a:lnTo>
                  <a:pt x="2403" y="1641"/>
                </a:lnTo>
                <a:lnTo>
                  <a:pt x="2402" y="1663"/>
                </a:lnTo>
                <a:lnTo>
                  <a:pt x="2400" y="1683"/>
                </a:lnTo>
                <a:lnTo>
                  <a:pt x="2396" y="1720"/>
                </a:lnTo>
                <a:lnTo>
                  <a:pt x="2394" y="1738"/>
                </a:lnTo>
                <a:lnTo>
                  <a:pt x="2391" y="1756"/>
                </a:lnTo>
                <a:lnTo>
                  <a:pt x="2388" y="1772"/>
                </a:lnTo>
                <a:lnTo>
                  <a:pt x="2385" y="1790"/>
                </a:lnTo>
                <a:lnTo>
                  <a:pt x="2381" y="1804"/>
                </a:lnTo>
                <a:lnTo>
                  <a:pt x="2377" y="1820"/>
                </a:lnTo>
                <a:lnTo>
                  <a:pt x="2373" y="1834"/>
                </a:lnTo>
                <a:lnTo>
                  <a:pt x="2368" y="1846"/>
                </a:lnTo>
                <a:lnTo>
                  <a:pt x="2364" y="1860"/>
                </a:lnTo>
                <a:lnTo>
                  <a:pt x="2359" y="1872"/>
                </a:lnTo>
                <a:lnTo>
                  <a:pt x="2353" y="1882"/>
                </a:lnTo>
                <a:lnTo>
                  <a:pt x="2348" y="1894"/>
                </a:lnTo>
                <a:lnTo>
                  <a:pt x="2342" y="1902"/>
                </a:lnTo>
                <a:lnTo>
                  <a:pt x="2336" y="1912"/>
                </a:lnTo>
                <a:lnTo>
                  <a:pt x="2329" y="1920"/>
                </a:lnTo>
                <a:lnTo>
                  <a:pt x="2323" y="1926"/>
                </a:lnTo>
                <a:lnTo>
                  <a:pt x="2316" y="1934"/>
                </a:lnTo>
                <a:lnTo>
                  <a:pt x="2308" y="1938"/>
                </a:lnTo>
                <a:lnTo>
                  <a:pt x="2301" y="1944"/>
                </a:lnTo>
                <a:lnTo>
                  <a:pt x="2293" y="1948"/>
                </a:lnTo>
                <a:lnTo>
                  <a:pt x="2285" y="1950"/>
                </a:lnTo>
                <a:lnTo>
                  <a:pt x="2277" y="1952"/>
                </a:lnTo>
                <a:lnTo>
                  <a:pt x="2268" y="1954"/>
                </a:lnTo>
                <a:lnTo>
                  <a:pt x="2260" y="1954"/>
                </a:lnTo>
                <a:close/>
                <a:moveTo>
                  <a:pt x="2260" y="1257"/>
                </a:moveTo>
                <a:lnTo>
                  <a:pt x="2251" y="1257"/>
                </a:lnTo>
                <a:lnTo>
                  <a:pt x="2246" y="1259"/>
                </a:lnTo>
                <a:lnTo>
                  <a:pt x="2242" y="1259"/>
                </a:lnTo>
                <a:lnTo>
                  <a:pt x="2234" y="1265"/>
                </a:lnTo>
                <a:lnTo>
                  <a:pt x="2227" y="1271"/>
                </a:lnTo>
                <a:lnTo>
                  <a:pt x="2223" y="1275"/>
                </a:lnTo>
                <a:lnTo>
                  <a:pt x="2220" y="1281"/>
                </a:lnTo>
                <a:lnTo>
                  <a:pt x="2216" y="1287"/>
                </a:lnTo>
                <a:lnTo>
                  <a:pt x="2213" y="1293"/>
                </a:lnTo>
                <a:lnTo>
                  <a:pt x="2210" y="1299"/>
                </a:lnTo>
                <a:lnTo>
                  <a:pt x="2207" y="1307"/>
                </a:lnTo>
                <a:lnTo>
                  <a:pt x="2201" y="1323"/>
                </a:lnTo>
                <a:lnTo>
                  <a:pt x="2199" y="1331"/>
                </a:lnTo>
                <a:lnTo>
                  <a:pt x="2196" y="1341"/>
                </a:lnTo>
                <a:lnTo>
                  <a:pt x="2192" y="1363"/>
                </a:lnTo>
                <a:lnTo>
                  <a:pt x="2188" y="1387"/>
                </a:lnTo>
                <a:lnTo>
                  <a:pt x="2187" y="1399"/>
                </a:lnTo>
                <a:lnTo>
                  <a:pt x="2185" y="1413"/>
                </a:lnTo>
                <a:lnTo>
                  <a:pt x="2183" y="1443"/>
                </a:lnTo>
                <a:lnTo>
                  <a:pt x="2181" y="1477"/>
                </a:lnTo>
                <a:lnTo>
                  <a:pt x="2180" y="1513"/>
                </a:lnTo>
                <a:lnTo>
                  <a:pt x="2180" y="1551"/>
                </a:lnTo>
                <a:lnTo>
                  <a:pt x="2180" y="1591"/>
                </a:lnTo>
                <a:lnTo>
                  <a:pt x="2181" y="1627"/>
                </a:lnTo>
                <a:lnTo>
                  <a:pt x="2183" y="1659"/>
                </a:lnTo>
                <a:lnTo>
                  <a:pt x="2185" y="1689"/>
                </a:lnTo>
                <a:lnTo>
                  <a:pt x="2188" y="1714"/>
                </a:lnTo>
                <a:lnTo>
                  <a:pt x="2192" y="1738"/>
                </a:lnTo>
                <a:lnTo>
                  <a:pt x="2196" y="1760"/>
                </a:lnTo>
                <a:lnTo>
                  <a:pt x="2201" y="1780"/>
                </a:lnTo>
                <a:lnTo>
                  <a:pt x="2207" y="1796"/>
                </a:lnTo>
                <a:lnTo>
                  <a:pt x="2213" y="1810"/>
                </a:lnTo>
                <a:lnTo>
                  <a:pt x="2220" y="1820"/>
                </a:lnTo>
                <a:lnTo>
                  <a:pt x="2227" y="1830"/>
                </a:lnTo>
                <a:lnTo>
                  <a:pt x="2234" y="1836"/>
                </a:lnTo>
                <a:lnTo>
                  <a:pt x="2242" y="1842"/>
                </a:lnTo>
                <a:lnTo>
                  <a:pt x="2251" y="1844"/>
                </a:lnTo>
                <a:lnTo>
                  <a:pt x="2260" y="1846"/>
                </a:lnTo>
                <a:lnTo>
                  <a:pt x="2269" y="1844"/>
                </a:lnTo>
                <a:lnTo>
                  <a:pt x="2273" y="1844"/>
                </a:lnTo>
                <a:lnTo>
                  <a:pt x="2277" y="1842"/>
                </a:lnTo>
                <a:lnTo>
                  <a:pt x="2285" y="1836"/>
                </a:lnTo>
                <a:lnTo>
                  <a:pt x="2293" y="1830"/>
                </a:lnTo>
                <a:lnTo>
                  <a:pt x="2296" y="1826"/>
                </a:lnTo>
                <a:lnTo>
                  <a:pt x="2300" y="1820"/>
                </a:lnTo>
                <a:lnTo>
                  <a:pt x="2306" y="1808"/>
                </a:lnTo>
                <a:lnTo>
                  <a:pt x="2309" y="1802"/>
                </a:lnTo>
                <a:lnTo>
                  <a:pt x="2312" y="1796"/>
                </a:lnTo>
                <a:lnTo>
                  <a:pt x="2318" y="1778"/>
                </a:lnTo>
                <a:lnTo>
                  <a:pt x="2320" y="1770"/>
                </a:lnTo>
                <a:lnTo>
                  <a:pt x="2323" y="1760"/>
                </a:lnTo>
                <a:lnTo>
                  <a:pt x="2327" y="1738"/>
                </a:lnTo>
                <a:lnTo>
                  <a:pt x="2331" y="1714"/>
                </a:lnTo>
                <a:lnTo>
                  <a:pt x="2332" y="1703"/>
                </a:lnTo>
                <a:lnTo>
                  <a:pt x="2334" y="1689"/>
                </a:lnTo>
                <a:lnTo>
                  <a:pt x="2336" y="1659"/>
                </a:lnTo>
                <a:lnTo>
                  <a:pt x="2338" y="1625"/>
                </a:lnTo>
                <a:lnTo>
                  <a:pt x="2339" y="1591"/>
                </a:lnTo>
                <a:lnTo>
                  <a:pt x="2340" y="1551"/>
                </a:lnTo>
                <a:lnTo>
                  <a:pt x="2339" y="1513"/>
                </a:lnTo>
                <a:lnTo>
                  <a:pt x="2338" y="1477"/>
                </a:lnTo>
                <a:lnTo>
                  <a:pt x="2336" y="1443"/>
                </a:lnTo>
                <a:lnTo>
                  <a:pt x="2334" y="1415"/>
                </a:lnTo>
                <a:lnTo>
                  <a:pt x="2331" y="1387"/>
                </a:lnTo>
                <a:lnTo>
                  <a:pt x="2327" y="1363"/>
                </a:lnTo>
                <a:lnTo>
                  <a:pt x="2323" y="1341"/>
                </a:lnTo>
                <a:lnTo>
                  <a:pt x="2318" y="1323"/>
                </a:lnTo>
                <a:lnTo>
                  <a:pt x="2312" y="1307"/>
                </a:lnTo>
                <a:lnTo>
                  <a:pt x="2306" y="1293"/>
                </a:lnTo>
                <a:lnTo>
                  <a:pt x="2300" y="1281"/>
                </a:lnTo>
                <a:lnTo>
                  <a:pt x="2293" y="1271"/>
                </a:lnTo>
                <a:lnTo>
                  <a:pt x="2285" y="1265"/>
                </a:lnTo>
                <a:lnTo>
                  <a:pt x="2277" y="1259"/>
                </a:lnTo>
                <a:lnTo>
                  <a:pt x="2273" y="1259"/>
                </a:lnTo>
                <a:lnTo>
                  <a:pt x="2269" y="1257"/>
                </a:lnTo>
                <a:lnTo>
                  <a:pt x="2260" y="1257"/>
                </a:lnTo>
                <a:close/>
                <a:moveTo>
                  <a:pt x="2485" y="1936"/>
                </a:moveTo>
                <a:lnTo>
                  <a:pt x="2485" y="1166"/>
                </a:lnTo>
                <a:lnTo>
                  <a:pt x="2549" y="1166"/>
                </a:lnTo>
                <a:lnTo>
                  <a:pt x="2549" y="1828"/>
                </a:lnTo>
                <a:lnTo>
                  <a:pt x="2709" y="1828"/>
                </a:lnTo>
                <a:lnTo>
                  <a:pt x="2709" y="1936"/>
                </a:lnTo>
                <a:lnTo>
                  <a:pt x="2485" y="1936"/>
                </a:lnTo>
                <a:close/>
                <a:moveTo>
                  <a:pt x="2769" y="1936"/>
                </a:moveTo>
                <a:lnTo>
                  <a:pt x="2769" y="1166"/>
                </a:lnTo>
                <a:lnTo>
                  <a:pt x="2835" y="1166"/>
                </a:lnTo>
                <a:lnTo>
                  <a:pt x="2835" y="1828"/>
                </a:lnTo>
                <a:lnTo>
                  <a:pt x="2994" y="1828"/>
                </a:lnTo>
                <a:lnTo>
                  <a:pt x="2994" y="1936"/>
                </a:lnTo>
                <a:lnTo>
                  <a:pt x="2769" y="1936"/>
                </a:lnTo>
                <a:close/>
                <a:moveTo>
                  <a:pt x="3055" y="1166"/>
                </a:moveTo>
                <a:lnTo>
                  <a:pt x="3120" y="1166"/>
                </a:lnTo>
                <a:lnTo>
                  <a:pt x="3120" y="1936"/>
                </a:lnTo>
                <a:lnTo>
                  <a:pt x="3055" y="1936"/>
                </a:lnTo>
                <a:lnTo>
                  <a:pt x="3055" y="1166"/>
                </a:lnTo>
                <a:close/>
                <a:moveTo>
                  <a:pt x="3337" y="1954"/>
                </a:moveTo>
                <a:lnTo>
                  <a:pt x="3321" y="1954"/>
                </a:lnTo>
                <a:lnTo>
                  <a:pt x="3305" y="1950"/>
                </a:lnTo>
                <a:lnTo>
                  <a:pt x="3291" y="1944"/>
                </a:lnTo>
                <a:lnTo>
                  <a:pt x="3284" y="1940"/>
                </a:lnTo>
                <a:lnTo>
                  <a:pt x="3278" y="1936"/>
                </a:lnTo>
                <a:lnTo>
                  <a:pt x="3266" y="1928"/>
                </a:lnTo>
                <a:lnTo>
                  <a:pt x="3260" y="1922"/>
                </a:lnTo>
                <a:lnTo>
                  <a:pt x="3255" y="1916"/>
                </a:lnTo>
                <a:lnTo>
                  <a:pt x="3245" y="1902"/>
                </a:lnTo>
                <a:lnTo>
                  <a:pt x="3241" y="1896"/>
                </a:lnTo>
                <a:lnTo>
                  <a:pt x="3236" y="1888"/>
                </a:lnTo>
                <a:lnTo>
                  <a:pt x="3232" y="1880"/>
                </a:lnTo>
                <a:lnTo>
                  <a:pt x="3229" y="1872"/>
                </a:lnTo>
                <a:lnTo>
                  <a:pt x="3225" y="1864"/>
                </a:lnTo>
                <a:lnTo>
                  <a:pt x="3222" y="1854"/>
                </a:lnTo>
                <a:lnTo>
                  <a:pt x="3216" y="1834"/>
                </a:lnTo>
                <a:lnTo>
                  <a:pt x="3211" y="1814"/>
                </a:lnTo>
                <a:lnTo>
                  <a:pt x="3210" y="1804"/>
                </a:lnTo>
                <a:lnTo>
                  <a:pt x="3208" y="1792"/>
                </a:lnTo>
                <a:lnTo>
                  <a:pt x="3205" y="1770"/>
                </a:lnTo>
                <a:lnTo>
                  <a:pt x="3203" y="1746"/>
                </a:lnTo>
                <a:lnTo>
                  <a:pt x="3203" y="1732"/>
                </a:lnTo>
                <a:lnTo>
                  <a:pt x="3203" y="1720"/>
                </a:lnTo>
                <a:lnTo>
                  <a:pt x="3265" y="1693"/>
                </a:lnTo>
                <a:lnTo>
                  <a:pt x="3266" y="1714"/>
                </a:lnTo>
                <a:lnTo>
                  <a:pt x="3267" y="1734"/>
                </a:lnTo>
                <a:lnTo>
                  <a:pt x="3269" y="1750"/>
                </a:lnTo>
                <a:lnTo>
                  <a:pt x="3271" y="1766"/>
                </a:lnTo>
                <a:lnTo>
                  <a:pt x="3273" y="1774"/>
                </a:lnTo>
                <a:lnTo>
                  <a:pt x="3274" y="1782"/>
                </a:lnTo>
                <a:lnTo>
                  <a:pt x="3278" y="1794"/>
                </a:lnTo>
                <a:lnTo>
                  <a:pt x="3282" y="1804"/>
                </a:lnTo>
                <a:lnTo>
                  <a:pt x="3286" y="1814"/>
                </a:lnTo>
                <a:lnTo>
                  <a:pt x="3291" y="1824"/>
                </a:lnTo>
                <a:lnTo>
                  <a:pt x="3297" y="1830"/>
                </a:lnTo>
                <a:lnTo>
                  <a:pt x="3303" y="1836"/>
                </a:lnTo>
                <a:lnTo>
                  <a:pt x="3310" y="1840"/>
                </a:lnTo>
                <a:lnTo>
                  <a:pt x="3317" y="1844"/>
                </a:lnTo>
                <a:lnTo>
                  <a:pt x="3324" y="1846"/>
                </a:lnTo>
                <a:lnTo>
                  <a:pt x="3332" y="1848"/>
                </a:lnTo>
                <a:lnTo>
                  <a:pt x="3341" y="1848"/>
                </a:lnTo>
                <a:lnTo>
                  <a:pt x="3348" y="1848"/>
                </a:lnTo>
                <a:lnTo>
                  <a:pt x="3355" y="1846"/>
                </a:lnTo>
                <a:lnTo>
                  <a:pt x="3362" y="1844"/>
                </a:lnTo>
                <a:lnTo>
                  <a:pt x="3368" y="1842"/>
                </a:lnTo>
                <a:lnTo>
                  <a:pt x="3374" y="1838"/>
                </a:lnTo>
                <a:lnTo>
                  <a:pt x="3380" y="1832"/>
                </a:lnTo>
                <a:lnTo>
                  <a:pt x="3385" y="1826"/>
                </a:lnTo>
                <a:lnTo>
                  <a:pt x="3390" y="1820"/>
                </a:lnTo>
                <a:lnTo>
                  <a:pt x="3394" y="1812"/>
                </a:lnTo>
                <a:lnTo>
                  <a:pt x="3398" y="1804"/>
                </a:lnTo>
                <a:lnTo>
                  <a:pt x="3401" y="1796"/>
                </a:lnTo>
                <a:lnTo>
                  <a:pt x="3404" y="1786"/>
                </a:lnTo>
                <a:lnTo>
                  <a:pt x="3406" y="1774"/>
                </a:lnTo>
                <a:lnTo>
                  <a:pt x="3407" y="1770"/>
                </a:lnTo>
                <a:lnTo>
                  <a:pt x="3408" y="1764"/>
                </a:lnTo>
                <a:lnTo>
                  <a:pt x="3409" y="1752"/>
                </a:lnTo>
                <a:lnTo>
                  <a:pt x="3409" y="1738"/>
                </a:lnTo>
                <a:lnTo>
                  <a:pt x="3409" y="1728"/>
                </a:lnTo>
                <a:lnTo>
                  <a:pt x="3408" y="1718"/>
                </a:lnTo>
                <a:lnTo>
                  <a:pt x="3407" y="1711"/>
                </a:lnTo>
                <a:lnTo>
                  <a:pt x="3406" y="1701"/>
                </a:lnTo>
                <a:lnTo>
                  <a:pt x="3404" y="1693"/>
                </a:lnTo>
                <a:lnTo>
                  <a:pt x="3402" y="1685"/>
                </a:lnTo>
                <a:lnTo>
                  <a:pt x="3400" y="1677"/>
                </a:lnTo>
                <a:lnTo>
                  <a:pt x="3396" y="1669"/>
                </a:lnTo>
                <a:lnTo>
                  <a:pt x="3389" y="1653"/>
                </a:lnTo>
                <a:lnTo>
                  <a:pt x="3385" y="1645"/>
                </a:lnTo>
                <a:lnTo>
                  <a:pt x="3380" y="1639"/>
                </a:lnTo>
                <a:lnTo>
                  <a:pt x="3369" y="1625"/>
                </a:lnTo>
                <a:lnTo>
                  <a:pt x="3356" y="1613"/>
                </a:lnTo>
                <a:lnTo>
                  <a:pt x="3292" y="1555"/>
                </a:lnTo>
                <a:lnTo>
                  <a:pt x="3282" y="1547"/>
                </a:lnTo>
                <a:lnTo>
                  <a:pt x="3273" y="1537"/>
                </a:lnTo>
                <a:lnTo>
                  <a:pt x="3257" y="1517"/>
                </a:lnTo>
                <a:lnTo>
                  <a:pt x="3243" y="1497"/>
                </a:lnTo>
                <a:lnTo>
                  <a:pt x="3237" y="1485"/>
                </a:lnTo>
                <a:lnTo>
                  <a:pt x="3232" y="1473"/>
                </a:lnTo>
                <a:lnTo>
                  <a:pt x="3227" y="1461"/>
                </a:lnTo>
                <a:lnTo>
                  <a:pt x="3223" y="1447"/>
                </a:lnTo>
                <a:lnTo>
                  <a:pt x="3220" y="1433"/>
                </a:lnTo>
                <a:lnTo>
                  <a:pt x="3217" y="1417"/>
                </a:lnTo>
                <a:lnTo>
                  <a:pt x="3215" y="1401"/>
                </a:lnTo>
                <a:lnTo>
                  <a:pt x="3214" y="1393"/>
                </a:lnTo>
                <a:lnTo>
                  <a:pt x="3213" y="1385"/>
                </a:lnTo>
                <a:lnTo>
                  <a:pt x="3212" y="1367"/>
                </a:lnTo>
                <a:lnTo>
                  <a:pt x="3212" y="1347"/>
                </a:lnTo>
                <a:lnTo>
                  <a:pt x="3212" y="1335"/>
                </a:lnTo>
                <a:lnTo>
                  <a:pt x="3213" y="1323"/>
                </a:lnTo>
                <a:lnTo>
                  <a:pt x="3214" y="1311"/>
                </a:lnTo>
                <a:lnTo>
                  <a:pt x="3215" y="1299"/>
                </a:lnTo>
                <a:lnTo>
                  <a:pt x="3216" y="1289"/>
                </a:lnTo>
                <a:lnTo>
                  <a:pt x="3218" y="1279"/>
                </a:lnTo>
                <a:lnTo>
                  <a:pt x="3222" y="1259"/>
                </a:lnTo>
                <a:lnTo>
                  <a:pt x="3225" y="1249"/>
                </a:lnTo>
                <a:lnTo>
                  <a:pt x="3228" y="1241"/>
                </a:lnTo>
                <a:lnTo>
                  <a:pt x="3234" y="1225"/>
                </a:lnTo>
                <a:lnTo>
                  <a:pt x="3241" y="1210"/>
                </a:lnTo>
                <a:lnTo>
                  <a:pt x="3245" y="1204"/>
                </a:lnTo>
                <a:lnTo>
                  <a:pt x="3250" y="1198"/>
                </a:lnTo>
                <a:lnTo>
                  <a:pt x="3259" y="1186"/>
                </a:lnTo>
                <a:lnTo>
                  <a:pt x="3269" y="1176"/>
                </a:lnTo>
                <a:lnTo>
                  <a:pt x="3279" y="1166"/>
                </a:lnTo>
                <a:lnTo>
                  <a:pt x="3290" y="1160"/>
                </a:lnTo>
                <a:lnTo>
                  <a:pt x="3302" y="1154"/>
                </a:lnTo>
                <a:lnTo>
                  <a:pt x="3314" y="1150"/>
                </a:lnTo>
                <a:lnTo>
                  <a:pt x="3327" y="1148"/>
                </a:lnTo>
                <a:lnTo>
                  <a:pt x="3340" y="1148"/>
                </a:lnTo>
                <a:lnTo>
                  <a:pt x="3355" y="1150"/>
                </a:lnTo>
                <a:lnTo>
                  <a:pt x="3370" y="1152"/>
                </a:lnTo>
                <a:lnTo>
                  <a:pt x="3383" y="1158"/>
                </a:lnTo>
                <a:lnTo>
                  <a:pt x="3389" y="1162"/>
                </a:lnTo>
                <a:lnTo>
                  <a:pt x="3395" y="1166"/>
                </a:lnTo>
                <a:lnTo>
                  <a:pt x="3407" y="1174"/>
                </a:lnTo>
                <a:lnTo>
                  <a:pt x="3417" y="1186"/>
                </a:lnTo>
                <a:lnTo>
                  <a:pt x="3426" y="1198"/>
                </a:lnTo>
                <a:lnTo>
                  <a:pt x="3434" y="1212"/>
                </a:lnTo>
                <a:lnTo>
                  <a:pt x="3438" y="1218"/>
                </a:lnTo>
                <a:lnTo>
                  <a:pt x="3441" y="1225"/>
                </a:lnTo>
                <a:lnTo>
                  <a:pt x="3444" y="1233"/>
                </a:lnTo>
                <a:lnTo>
                  <a:pt x="3447" y="1241"/>
                </a:lnTo>
                <a:lnTo>
                  <a:pt x="3452" y="1259"/>
                </a:lnTo>
                <a:lnTo>
                  <a:pt x="3457" y="1275"/>
                </a:lnTo>
                <a:lnTo>
                  <a:pt x="3460" y="1293"/>
                </a:lnTo>
                <a:lnTo>
                  <a:pt x="3462" y="1313"/>
                </a:lnTo>
                <a:lnTo>
                  <a:pt x="3464" y="1331"/>
                </a:lnTo>
                <a:lnTo>
                  <a:pt x="3464" y="1349"/>
                </a:lnTo>
                <a:lnTo>
                  <a:pt x="3402" y="1375"/>
                </a:lnTo>
                <a:lnTo>
                  <a:pt x="3402" y="1359"/>
                </a:lnTo>
                <a:lnTo>
                  <a:pt x="3400" y="1345"/>
                </a:lnTo>
                <a:lnTo>
                  <a:pt x="3399" y="1331"/>
                </a:lnTo>
                <a:lnTo>
                  <a:pt x="3397" y="1319"/>
                </a:lnTo>
                <a:lnTo>
                  <a:pt x="3394" y="1309"/>
                </a:lnTo>
                <a:lnTo>
                  <a:pt x="3391" y="1299"/>
                </a:lnTo>
                <a:lnTo>
                  <a:pt x="3388" y="1289"/>
                </a:lnTo>
                <a:lnTo>
                  <a:pt x="3384" y="1281"/>
                </a:lnTo>
                <a:lnTo>
                  <a:pt x="3380" y="1275"/>
                </a:lnTo>
                <a:lnTo>
                  <a:pt x="3375" y="1269"/>
                </a:lnTo>
                <a:lnTo>
                  <a:pt x="3370" y="1265"/>
                </a:lnTo>
                <a:lnTo>
                  <a:pt x="3364" y="1261"/>
                </a:lnTo>
                <a:lnTo>
                  <a:pt x="3358" y="1257"/>
                </a:lnTo>
                <a:lnTo>
                  <a:pt x="3352" y="1255"/>
                </a:lnTo>
                <a:lnTo>
                  <a:pt x="3345" y="1255"/>
                </a:lnTo>
                <a:lnTo>
                  <a:pt x="3337" y="1253"/>
                </a:lnTo>
                <a:lnTo>
                  <a:pt x="3325" y="1255"/>
                </a:lnTo>
                <a:lnTo>
                  <a:pt x="3313" y="1259"/>
                </a:lnTo>
                <a:lnTo>
                  <a:pt x="3308" y="1263"/>
                </a:lnTo>
                <a:lnTo>
                  <a:pt x="3303" y="1267"/>
                </a:lnTo>
                <a:lnTo>
                  <a:pt x="3298" y="1271"/>
                </a:lnTo>
                <a:lnTo>
                  <a:pt x="3294" y="1275"/>
                </a:lnTo>
                <a:lnTo>
                  <a:pt x="3290" y="1281"/>
                </a:lnTo>
                <a:lnTo>
                  <a:pt x="3287" y="1287"/>
                </a:lnTo>
                <a:lnTo>
                  <a:pt x="3284" y="1295"/>
                </a:lnTo>
                <a:lnTo>
                  <a:pt x="3281" y="1303"/>
                </a:lnTo>
                <a:lnTo>
                  <a:pt x="3279" y="1311"/>
                </a:lnTo>
                <a:lnTo>
                  <a:pt x="3278" y="1321"/>
                </a:lnTo>
                <a:lnTo>
                  <a:pt x="3277" y="1331"/>
                </a:lnTo>
                <a:lnTo>
                  <a:pt x="3276" y="1341"/>
                </a:lnTo>
                <a:lnTo>
                  <a:pt x="3277" y="1351"/>
                </a:lnTo>
                <a:lnTo>
                  <a:pt x="3277" y="1361"/>
                </a:lnTo>
                <a:lnTo>
                  <a:pt x="3278" y="1371"/>
                </a:lnTo>
                <a:lnTo>
                  <a:pt x="3279" y="1379"/>
                </a:lnTo>
                <a:lnTo>
                  <a:pt x="3281" y="1387"/>
                </a:lnTo>
                <a:lnTo>
                  <a:pt x="3283" y="1395"/>
                </a:lnTo>
                <a:lnTo>
                  <a:pt x="3286" y="1403"/>
                </a:lnTo>
                <a:lnTo>
                  <a:pt x="3288" y="1409"/>
                </a:lnTo>
                <a:lnTo>
                  <a:pt x="3292" y="1415"/>
                </a:lnTo>
                <a:lnTo>
                  <a:pt x="3295" y="1421"/>
                </a:lnTo>
                <a:lnTo>
                  <a:pt x="3304" y="1433"/>
                </a:lnTo>
                <a:lnTo>
                  <a:pt x="3314" y="1445"/>
                </a:lnTo>
                <a:lnTo>
                  <a:pt x="3326" y="1457"/>
                </a:lnTo>
                <a:lnTo>
                  <a:pt x="3388" y="1511"/>
                </a:lnTo>
                <a:lnTo>
                  <a:pt x="3398" y="1521"/>
                </a:lnTo>
                <a:lnTo>
                  <a:pt x="3408" y="1531"/>
                </a:lnTo>
                <a:lnTo>
                  <a:pt x="3418" y="1541"/>
                </a:lnTo>
                <a:lnTo>
                  <a:pt x="3426" y="1553"/>
                </a:lnTo>
                <a:lnTo>
                  <a:pt x="3434" y="1565"/>
                </a:lnTo>
                <a:lnTo>
                  <a:pt x="3441" y="1575"/>
                </a:lnTo>
                <a:lnTo>
                  <a:pt x="3447" y="1589"/>
                </a:lnTo>
                <a:lnTo>
                  <a:pt x="3453" y="1601"/>
                </a:lnTo>
                <a:lnTo>
                  <a:pt x="3458" y="1615"/>
                </a:lnTo>
                <a:lnTo>
                  <a:pt x="3462" y="1629"/>
                </a:lnTo>
                <a:lnTo>
                  <a:pt x="3466" y="1643"/>
                </a:lnTo>
                <a:lnTo>
                  <a:pt x="3469" y="1659"/>
                </a:lnTo>
                <a:lnTo>
                  <a:pt x="3471" y="1675"/>
                </a:lnTo>
                <a:lnTo>
                  <a:pt x="3472" y="1685"/>
                </a:lnTo>
                <a:lnTo>
                  <a:pt x="3472" y="1693"/>
                </a:lnTo>
                <a:lnTo>
                  <a:pt x="3473" y="1711"/>
                </a:lnTo>
                <a:lnTo>
                  <a:pt x="3474" y="1730"/>
                </a:lnTo>
                <a:lnTo>
                  <a:pt x="3473" y="1756"/>
                </a:lnTo>
                <a:lnTo>
                  <a:pt x="3471" y="1780"/>
                </a:lnTo>
                <a:lnTo>
                  <a:pt x="3470" y="1792"/>
                </a:lnTo>
                <a:lnTo>
                  <a:pt x="3468" y="1802"/>
                </a:lnTo>
                <a:lnTo>
                  <a:pt x="3466" y="1814"/>
                </a:lnTo>
                <a:lnTo>
                  <a:pt x="3464" y="1824"/>
                </a:lnTo>
                <a:lnTo>
                  <a:pt x="3461" y="1834"/>
                </a:lnTo>
                <a:lnTo>
                  <a:pt x="3459" y="1844"/>
                </a:lnTo>
                <a:lnTo>
                  <a:pt x="3452" y="1862"/>
                </a:lnTo>
                <a:lnTo>
                  <a:pt x="3449" y="1870"/>
                </a:lnTo>
                <a:lnTo>
                  <a:pt x="3445" y="1880"/>
                </a:lnTo>
                <a:lnTo>
                  <a:pt x="3437" y="1894"/>
                </a:lnTo>
                <a:lnTo>
                  <a:pt x="3432" y="1902"/>
                </a:lnTo>
                <a:lnTo>
                  <a:pt x="3427" y="1908"/>
                </a:lnTo>
                <a:lnTo>
                  <a:pt x="3422" y="1914"/>
                </a:lnTo>
                <a:lnTo>
                  <a:pt x="3417" y="1920"/>
                </a:lnTo>
                <a:lnTo>
                  <a:pt x="3406" y="1930"/>
                </a:lnTo>
                <a:lnTo>
                  <a:pt x="3394" y="1938"/>
                </a:lnTo>
                <a:lnTo>
                  <a:pt x="3381" y="1946"/>
                </a:lnTo>
                <a:lnTo>
                  <a:pt x="3367" y="1950"/>
                </a:lnTo>
                <a:lnTo>
                  <a:pt x="3360" y="1952"/>
                </a:lnTo>
                <a:lnTo>
                  <a:pt x="3353" y="1952"/>
                </a:lnTo>
                <a:lnTo>
                  <a:pt x="3337" y="1954"/>
                </a:lnTo>
                <a:close/>
                <a:moveTo>
                  <a:pt x="3582" y="1882"/>
                </a:moveTo>
                <a:lnTo>
                  <a:pt x="3574" y="1866"/>
                </a:lnTo>
                <a:lnTo>
                  <a:pt x="3567" y="1848"/>
                </a:lnTo>
                <a:lnTo>
                  <a:pt x="3562" y="1828"/>
                </a:lnTo>
                <a:lnTo>
                  <a:pt x="3559" y="1816"/>
                </a:lnTo>
                <a:lnTo>
                  <a:pt x="3557" y="1806"/>
                </a:lnTo>
                <a:lnTo>
                  <a:pt x="3554" y="1782"/>
                </a:lnTo>
                <a:lnTo>
                  <a:pt x="3551" y="1756"/>
                </a:lnTo>
                <a:lnTo>
                  <a:pt x="3550" y="1742"/>
                </a:lnTo>
                <a:lnTo>
                  <a:pt x="3550" y="1726"/>
                </a:lnTo>
                <a:lnTo>
                  <a:pt x="3549" y="1697"/>
                </a:lnTo>
                <a:lnTo>
                  <a:pt x="3549" y="1166"/>
                </a:lnTo>
                <a:lnTo>
                  <a:pt x="3615" y="1166"/>
                </a:lnTo>
                <a:lnTo>
                  <a:pt x="3615" y="1691"/>
                </a:lnTo>
                <a:lnTo>
                  <a:pt x="3615" y="1711"/>
                </a:lnTo>
                <a:lnTo>
                  <a:pt x="3616" y="1728"/>
                </a:lnTo>
                <a:lnTo>
                  <a:pt x="3617" y="1744"/>
                </a:lnTo>
                <a:lnTo>
                  <a:pt x="3618" y="1758"/>
                </a:lnTo>
                <a:lnTo>
                  <a:pt x="3620" y="1772"/>
                </a:lnTo>
                <a:lnTo>
                  <a:pt x="3623" y="1784"/>
                </a:lnTo>
                <a:lnTo>
                  <a:pt x="3625" y="1796"/>
                </a:lnTo>
                <a:lnTo>
                  <a:pt x="3629" y="1804"/>
                </a:lnTo>
                <a:lnTo>
                  <a:pt x="3633" y="1814"/>
                </a:lnTo>
                <a:lnTo>
                  <a:pt x="3637" y="1822"/>
                </a:lnTo>
                <a:lnTo>
                  <a:pt x="3643" y="1830"/>
                </a:lnTo>
                <a:lnTo>
                  <a:pt x="3649" y="1836"/>
                </a:lnTo>
                <a:lnTo>
                  <a:pt x="3652" y="1838"/>
                </a:lnTo>
                <a:lnTo>
                  <a:pt x="3655" y="1840"/>
                </a:lnTo>
                <a:lnTo>
                  <a:pt x="3662" y="1844"/>
                </a:lnTo>
                <a:lnTo>
                  <a:pt x="3670" y="1846"/>
                </a:lnTo>
                <a:lnTo>
                  <a:pt x="3678" y="1846"/>
                </a:lnTo>
                <a:lnTo>
                  <a:pt x="3686" y="1846"/>
                </a:lnTo>
                <a:lnTo>
                  <a:pt x="3694" y="1844"/>
                </a:lnTo>
                <a:lnTo>
                  <a:pt x="3701" y="1840"/>
                </a:lnTo>
                <a:lnTo>
                  <a:pt x="3708" y="1836"/>
                </a:lnTo>
                <a:lnTo>
                  <a:pt x="3713" y="1830"/>
                </a:lnTo>
                <a:lnTo>
                  <a:pt x="3719" y="1822"/>
                </a:lnTo>
                <a:lnTo>
                  <a:pt x="3723" y="1814"/>
                </a:lnTo>
                <a:lnTo>
                  <a:pt x="3728" y="1804"/>
                </a:lnTo>
                <a:lnTo>
                  <a:pt x="3731" y="1796"/>
                </a:lnTo>
                <a:lnTo>
                  <a:pt x="3734" y="1784"/>
                </a:lnTo>
                <a:lnTo>
                  <a:pt x="3736" y="1772"/>
                </a:lnTo>
                <a:lnTo>
                  <a:pt x="3738" y="1758"/>
                </a:lnTo>
                <a:lnTo>
                  <a:pt x="3740" y="1744"/>
                </a:lnTo>
                <a:lnTo>
                  <a:pt x="3741" y="1728"/>
                </a:lnTo>
                <a:lnTo>
                  <a:pt x="3741" y="1711"/>
                </a:lnTo>
                <a:lnTo>
                  <a:pt x="3741" y="1691"/>
                </a:lnTo>
                <a:lnTo>
                  <a:pt x="3741" y="1166"/>
                </a:lnTo>
                <a:lnTo>
                  <a:pt x="3807" y="1166"/>
                </a:lnTo>
                <a:lnTo>
                  <a:pt x="3807" y="1697"/>
                </a:lnTo>
                <a:lnTo>
                  <a:pt x="3806" y="1726"/>
                </a:lnTo>
                <a:lnTo>
                  <a:pt x="3805" y="1742"/>
                </a:lnTo>
                <a:lnTo>
                  <a:pt x="3805" y="1756"/>
                </a:lnTo>
                <a:lnTo>
                  <a:pt x="3802" y="1782"/>
                </a:lnTo>
                <a:lnTo>
                  <a:pt x="3798" y="1806"/>
                </a:lnTo>
                <a:lnTo>
                  <a:pt x="3796" y="1816"/>
                </a:lnTo>
                <a:lnTo>
                  <a:pt x="3794" y="1828"/>
                </a:lnTo>
                <a:lnTo>
                  <a:pt x="3788" y="1848"/>
                </a:lnTo>
                <a:lnTo>
                  <a:pt x="3785" y="1856"/>
                </a:lnTo>
                <a:lnTo>
                  <a:pt x="3782" y="1866"/>
                </a:lnTo>
                <a:lnTo>
                  <a:pt x="3779" y="1874"/>
                </a:lnTo>
                <a:lnTo>
                  <a:pt x="3775" y="1882"/>
                </a:lnTo>
                <a:lnTo>
                  <a:pt x="3771" y="1890"/>
                </a:lnTo>
                <a:lnTo>
                  <a:pt x="3766" y="1898"/>
                </a:lnTo>
                <a:lnTo>
                  <a:pt x="3756" y="1914"/>
                </a:lnTo>
                <a:lnTo>
                  <a:pt x="3745" y="1926"/>
                </a:lnTo>
                <a:lnTo>
                  <a:pt x="3739" y="1930"/>
                </a:lnTo>
                <a:lnTo>
                  <a:pt x="3733" y="1936"/>
                </a:lnTo>
                <a:lnTo>
                  <a:pt x="3720" y="1944"/>
                </a:lnTo>
                <a:lnTo>
                  <a:pt x="3714" y="1946"/>
                </a:lnTo>
                <a:lnTo>
                  <a:pt x="3707" y="1950"/>
                </a:lnTo>
                <a:lnTo>
                  <a:pt x="3693" y="1952"/>
                </a:lnTo>
                <a:lnTo>
                  <a:pt x="3685" y="1954"/>
                </a:lnTo>
                <a:lnTo>
                  <a:pt x="3678" y="1954"/>
                </a:lnTo>
                <a:lnTo>
                  <a:pt x="3663" y="1952"/>
                </a:lnTo>
                <a:lnTo>
                  <a:pt x="3649" y="1950"/>
                </a:lnTo>
                <a:lnTo>
                  <a:pt x="3643" y="1946"/>
                </a:lnTo>
                <a:lnTo>
                  <a:pt x="3636" y="1944"/>
                </a:lnTo>
                <a:lnTo>
                  <a:pt x="3624" y="1936"/>
                </a:lnTo>
                <a:lnTo>
                  <a:pt x="3612" y="1926"/>
                </a:lnTo>
                <a:lnTo>
                  <a:pt x="3601" y="1914"/>
                </a:lnTo>
                <a:lnTo>
                  <a:pt x="3591" y="1898"/>
                </a:lnTo>
                <a:lnTo>
                  <a:pt x="3586" y="1890"/>
                </a:lnTo>
                <a:lnTo>
                  <a:pt x="3582" y="1882"/>
                </a:lnTo>
                <a:close/>
                <a:moveTo>
                  <a:pt x="3934" y="1882"/>
                </a:moveTo>
                <a:lnTo>
                  <a:pt x="3927" y="1866"/>
                </a:lnTo>
                <a:lnTo>
                  <a:pt x="3920" y="1848"/>
                </a:lnTo>
                <a:lnTo>
                  <a:pt x="3915" y="1828"/>
                </a:lnTo>
                <a:lnTo>
                  <a:pt x="3912" y="1816"/>
                </a:lnTo>
                <a:lnTo>
                  <a:pt x="3910" y="1806"/>
                </a:lnTo>
                <a:lnTo>
                  <a:pt x="3907" y="1782"/>
                </a:lnTo>
                <a:lnTo>
                  <a:pt x="3904" y="1756"/>
                </a:lnTo>
                <a:lnTo>
                  <a:pt x="3903" y="1742"/>
                </a:lnTo>
                <a:lnTo>
                  <a:pt x="3903" y="1726"/>
                </a:lnTo>
                <a:lnTo>
                  <a:pt x="3902" y="1697"/>
                </a:lnTo>
                <a:lnTo>
                  <a:pt x="3902" y="1166"/>
                </a:lnTo>
                <a:lnTo>
                  <a:pt x="3968" y="1166"/>
                </a:lnTo>
                <a:lnTo>
                  <a:pt x="3968" y="1691"/>
                </a:lnTo>
                <a:lnTo>
                  <a:pt x="3968" y="1711"/>
                </a:lnTo>
                <a:lnTo>
                  <a:pt x="3969" y="1728"/>
                </a:lnTo>
                <a:lnTo>
                  <a:pt x="3970" y="1744"/>
                </a:lnTo>
                <a:lnTo>
                  <a:pt x="3972" y="1758"/>
                </a:lnTo>
                <a:lnTo>
                  <a:pt x="3973" y="1772"/>
                </a:lnTo>
                <a:lnTo>
                  <a:pt x="3976" y="1784"/>
                </a:lnTo>
                <a:lnTo>
                  <a:pt x="3979" y="1796"/>
                </a:lnTo>
                <a:lnTo>
                  <a:pt x="3982" y="1804"/>
                </a:lnTo>
                <a:lnTo>
                  <a:pt x="3986" y="1814"/>
                </a:lnTo>
                <a:lnTo>
                  <a:pt x="3991" y="1822"/>
                </a:lnTo>
                <a:lnTo>
                  <a:pt x="3996" y="1830"/>
                </a:lnTo>
                <a:lnTo>
                  <a:pt x="4002" y="1836"/>
                </a:lnTo>
                <a:lnTo>
                  <a:pt x="4005" y="1838"/>
                </a:lnTo>
                <a:lnTo>
                  <a:pt x="4008" y="1840"/>
                </a:lnTo>
                <a:lnTo>
                  <a:pt x="4015" y="1844"/>
                </a:lnTo>
                <a:lnTo>
                  <a:pt x="4023" y="1846"/>
                </a:lnTo>
                <a:lnTo>
                  <a:pt x="4031" y="1846"/>
                </a:lnTo>
                <a:lnTo>
                  <a:pt x="4040" y="1846"/>
                </a:lnTo>
                <a:lnTo>
                  <a:pt x="4047" y="1844"/>
                </a:lnTo>
                <a:lnTo>
                  <a:pt x="4054" y="1840"/>
                </a:lnTo>
                <a:lnTo>
                  <a:pt x="4061" y="1836"/>
                </a:lnTo>
                <a:lnTo>
                  <a:pt x="4067" y="1830"/>
                </a:lnTo>
                <a:lnTo>
                  <a:pt x="4072" y="1822"/>
                </a:lnTo>
                <a:lnTo>
                  <a:pt x="4077" y="1814"/>
                </a:lnTo>
                <a:lnTo>
                  <a:pt x="4081" y="1804"/>
                </a:lnTo>
                <a:lnTo>
                  <a:pt x="4084" y="1796"/>
                </a:lnTo>
                <a:lnTo>
                  <a:pt x="4087" y="1784"/>
                </a:lnTo>
                <a:lnTo>
                  <a:pt x="4090" y="1772"/>
                </a:lnTo>
                <a:lnTo>
                  <a:pt x="4091" y="1758"/>
                </a:lnTo>
                <a:lnTo>
                  <a:pt x="4093" y="1744"/>
                </a:lnTo>
                <a:lnTo>
                  <a:pt x="4094" y="1728"/>
                </a:lnTo>
                <a:lnTo>
                  <a:pt x="4094" y="1711"/>
                </a:lnTo>
                <a:lnTo>
                  <a:pt x="4094" y="1691"/>
                </a:lnTo>
                <a:lnTo>
                  <a:pt x="4094" y="1166"/>
                </a:lnTo>
                <a:lnTo>
                  <a:pt x="4160" y="1166"/>
                </a:lnTo>
                <a:lnTo>
                  <a:pt x="4160" y="1697"/>
                </a:lnTo>
                <a:lnTo>
                  <a:pt x="4159" y="1726"/>
                </a:lnTo>
                <a:lnTo>
                  <a:pt x="4159" y="1742"/>
                </a:lnTo>
                <a:lnTo>
                  <a:pt x="4158" y="1756"/>
                </a:lnTo>
                <a:lnTo>
                  <a:pt x="4155" y="1782"/>
                </a:lnTo>
                <a:lnTo>
                  <a:pt x="4152" y="1806"/>
                </a:lnTo>
                <a:lnTo>
                  <a:pt x="4149" y="1816"/>
                </a:lnTo>
                <a:lnTo>
                  <a:pt x="4147" y="1828"/>
                </a:lnTo>
                <a:lnTo>
                  <a:pt x="4142" y="1848"/>
                </a:lnTo>
                <a:lnTo>
                  <a:pt x="4139" y="1856"/>
                </a:lnTo>
                <a:lnTo>
                  <a:pt x="4135" y="1866"/>
                </a:lnTo>
                <a:lnTo>
                  <a:pt x="4132" y="1874"/>
                </a:lnTo>
                <a:lnTo>
                  <a:pt x="4128" y="1882"/>
                </a:lnTo>
                <a:lnTo>
                  <a:pt x="4124" y="1890"/>
                </a:lnTo>
                <a:lnTo>
                  <a:pt x="4119" y="1898"/>
                </a:lnTo>
                <a:lnTo>
                  <a:pt x="4109" y="1914"/>
                </a:lnTo>
                <a:lnTo>
                  <a:pt x="4098" y="1926"/>
                </a:lnTo>
                <a:lnTo>
                  <a:pt x="4092" y="1930"/>
                </a:lnTo>
                <a:lnTo>
                  <a:pt x="4086" y="1936"/>
                </a:lnTo>
                <a:lnTo>
                  <a:pt x="4073" y="1944"/>
                </a:lnTo>
                <a:lnTo>
                  <a:pt x="4067" y="1946"/>
                </a:lnTo>
                <a:lnTo>
                  <a:pt x="4060" y="1950"/>
                </a:lnTo>
                <a:lnTo>
                  <a:pt x="4046" y="1952"/>
                </a:lnTo>
                <a:lnTo>
                  <a:pt x="4039" y="1954"/>
                </a:lnTo>
                <a:lnTo>
                  <a:pt x="4031" y="1954"/>
                </a:lnTo>
                <a:lnTo>
                  <a:pt x="4017" y="1952"/>
                </a:lnTo>
                <a:lnTo>
                  <a:pt x="4003" y="1950"/>
                </a:lnTo>
                <a:lnTo>
                  <a:pt x="3996" y="1946"/>
                </a:lnTo>
                <a:lnTo>
                  <a:pt x="3989" y="1944"/>
                </a:lnTo>
                <a:lnTo>
                  <a:pt x="3977" y="1936"/>
                </a:lnTo>
                <a:lnTo>
                  <a:pt x="3965" y="1926"/>
                </a:lnTo>
                <a:lnTo>
                  <a:pt x="3954" y="1914"/>
                </a:lnTo>
                <a:lnTo>
                  <a:pt x="3943" y="1898"/>
                </a:lnTo>
                <a:lnTo>
                  <a:pt x="3938" y="1890"/>
                </a:lnTo>
                <a:lnTo>
                  <a:pt x="3934" y="1882"/>
                </a:lnTo>
                <a:close/>
                <a:moveTo>
                  <a:pt x="4370" y="1954"/>
                </a:moveTo>
                <a:lnTo>
                  <a:pt x="4354" y="1954"/>
                </a:lnTo>
                <a:lnTo>
                  <a:pt x="4339" y="1950"/>
                </a:lnTo>
                <a:lnTo>
                  <a:pt x="4324" y="1944"/>
                </a:lnTo>
                <a:lnTo>
                  <a:pt x="4317" y="1940"/>
                </a:lnTo>
                <a:lnTo>
                  <a:pt x="4310" y="1936"/>
                </a:lnTo>
                <a:lnTo>
                  <a:pt x="4298" y="1928"/>
                </a:lnTo>
                <a:lnTo>
                  <a:pt x="4292" y="1922"/>
                </a:lnTo>
                <a:lnTo>
                  <a:pt x="4287" y="1916"/>
                </a:lnTo>
                <a:lnTo>
                  <a:pt x="4277" y="1902"/>
                </a:lnTo>
                <a:lnTo>
                  <a:pt x="4273" y="1896"/>
                </a:lnTo>
                <a:lnTo>
                  <a:pt x="4268" y="1888"/>
                </a:lnTo>
                <a:lnTo>
                  <a:pt x="4264" y="1880"/>
                </a:lnTo>
                <a:lnTo>
                  <a:pt x="4261" y="1872"/>
                </a:lnTo>
                <a:lnTo>
                  <a:pt x="4257" y="1864"/>
                </a:lnTo>
                <a:lnTo>
                  <a:pt x="4254" y="1854"/>
                </a:lnTo>
                <a:lnTo>
                  <a:pt x="4248" y="1834"/>
                </a:lnTo>
                <a:lnTo>
                  <a:pt x="4244" y="1814"/>
                </a:lnTo>
                <a:lnTo>
                  <a:pt x="4242" y="1804"/>
                </a:lnTo>
                <a:lnTo>
                  <a:pt x="4240" y="1792"/>
                </a:lnTo>
                <a:lnTo>
                  <a:pt x="4237" y="1770"/>
                </a:lnTo>
                <a:lnTo>
                  <a:pt x="4236" y="1746"/>
                </a:lnTo>
                <a:lnTo>
                  <a:pt x="4235" y="1732"/>
                </a:lnTo>
                <a:lnTo>
                  <a:pt x="4235" y="1720"/>
                </a:lnTo>
                <a:lnTo>
                  <a:pt x="4298" y="1693"/>
                </a:lnTo>
                <a:lnTo>
                  <a:pt x="4298" y="1714"/>
                </a:lnTo>
                <a:lnTo>
                  <a:pt x="4299" y="1734"/>
                </a:lnTo>
                <a:lnTo>
                  <a:pt x="4301" y="1750"/>
                </a:lnTo>
                <a:lnTo>
                  <a:pt x="4303" y="1766"/>
                </a:lnTo>
                <a:lnTo>
                  <a:pt x="4305" y="1774"/>
                </a:lnTo>
                <a:lnTo>
                  <a:pt x="4306" y="1782"/>
                </a:lnTo>
                <a:lnTo>
                  <a:pt x="4310" y="1794"/>
                </a:lnTo>
                <a:lnTo>
                  <a:pt x="4314" y="1804"/>
                </a:lnTo>
                <a:lnTo>
                  <a:pt x="4318" y="1814"/>
                </a:lnTo>
                <a:lnTo>
                  <a:pt x="4324" y="1824"/>
                </a:lnTo>
                <a:lnTo>
                  <a:pt x="4330" y="1830"/>
                </a:lnTo>
                <a:lnTo>
                  <a:pt x="4336" y="1836"/>
                </a:lnTo>
                <a:lnTo>
                  <a:pt x="4343" y="1840"/>
                </a:lnTo>
                <a:lnTo>
                  <a:pt x="4350" y="1844"/>
                </a:lnTo>
                <a:lnTo>
                  <a:pt x="4357" y="1846"/>
                </a:lnTo>
                <a:lnTo>
                  <a:pt x="4365" y="1848"/>
                </a:lnTo>
                <a:lnTo>
                  <a:pt x="4374" y="1848"/>
                </a:lnTo>
                <a:lnTo>
                  <a:pt x="4381" y="1848"/>
                </a:lnTo>
                <a:lnTo>
                  <a:pt x="4388" y="1846"/>
                </a:lnTo>
                <a:lnTo>
                  <a:pt x="4395" y="1844"/>
                </a:lnTo>
                <a:lnTo>
                  <a:pt x="4401" y="1842"/>
                </a:lnTo>
                <a:lnTo>
                  <a:pt x="4407" y="1838"/>
                </a:lnTo>
                <a:lnTo>
                  <a:pt x="4413" y="1832"/>
                </a:lnTo>
                <a:lnTo>
                  <a:pt x="4418" y="1826"/>
                </a:lnTo>
                <a:lnTo>
                  <a:pt x="4423" y="1820"/>
                </a:lnTo>
                <a:lnTo>
                  <a:pt x="4427" y="1812"/>
                </a:lnTo>
                <a:lnTo>
                  <a:pt x="4431" y="1804"/>
                </a:lnTo>
                <a:lnTo>
                  <a:pt x="4434" y="1796"/>
                </a:lnTo>
                <a:lnTo>
                  <a:pt x="4437" y="1786"/>
                </a:lnTo>
                <a:lnTo>
                  <a:pt x="4439" y="1774"/>
                </a:lnTo>
                <a:lnTo>
                  <a:pt x="4440" y="1770"/>
                </a:lnTo>
                <a:lnTo>
                  <a:pt x="4441" y="1764"/>
                </a:lnTo>
                <a:lnTo>
                  <a:pt x="4442" y="1752"/>
                </a:lnTo>
                <a:lnTo>
                  <a:pt x="4442" y="1738"/>
                </a:lnTo>
                <a:lnTo>
                  <a:pt x="4442" y="1728"/>
                </a:lnTo>
                <a:lnTo>
                  <a:pt x="4442" y="1718"/>
                </a:lnTo>
                <a:lnTo>
                  <a:pt x="4441" y="1711"/>
                </a:lnTo>
                <a:lnTo>
                  <a:pt x="4439" y="1701"/>
                </a:lnTo>
                <a:lnTo>
                  <a:pt x="4437" y="1693"/>
                </a:lnTo>
                <a:lnTo>
                  <a:pt x="4435" y="1685"/>
                </a:lnTo>
                <a:lnTo>
                  <a:pt x="4433" y="1677"/>
                </a:lnTo>
                <a:lnTo>
                  <a:pt x="4430" y="1669"/>
                </a:lnTo>
                <a:lnTo>
                  <a:pt x="4422" y="1653"/>
                </a:lnTo>
                <a:lnTo>
                  <a:pt x="4418" y="1645"/>
                </a:lnTo>
                <a:lnTo>
                  <a:pt x="4413" y="1639"/>
                </a:lnTo>
                <a:lnTo>
                  <a:pt x="4402" y="1625"/>
                </a:lnTo>
                <a:lnTo>
                  <a:pt x="4389" y="1613"/>
                </a:lnTo>
                <a:lnTo>
                  <a:pt x="4325" y="1555"/>
                </a:lnTo>
                <a:lnTo>
                  <a:pt x="4315" y="1547"/>
                </a:lnTo>
                <a:lnTo>
                  <a:pt x="4305" y="1537"/>
                </a:lnTo>
                <a:lnTo>
                  <a:pt x="4289" y="1517"/>
                </a:lnTo>
                <a:lnTo>
                  <a:pt x="4275" y="1497"/>
                </a:lnTo>
                <a:lnTo>
                  <a:pt x="4270" y="1485"/>
                </a:lnTo>
                <a:lnTo>
                  <a:pt x="4264" y="1473"/>
                </a:lnTo>
                <a:lnTo>
                  <a:pt x="4260" y="1461"/>
                </a:lnTo>
                <a:lnTo>
                  <a:pt x="4255" y="1447"/>
                </a:lnTo>
                <a:lnTo>
                  <a:pt x="4252" y="1433"/>
                </a:lnTo>
                <a:lnTo>
                  <a:pt x="4249" y="1417"/>
                </a:lnTo>
                <a:lnTo>
                  <a:pt x="4247" y="1401"/>
                </a:lnTo>
                <a:lnTo>
                  <a:pt x="4246" y="1393"/>
                </a:lnTo>
                <a:lnTo>
                  <a:pt x="4245" y="1385"/>
                </a:lnTo>
                <a:lnTo>
                  <a:pt x="4244" y="1367"/>
                </a:lnTo>
                <a:lnTo>
                  <a:pt x="4244" y="1347"/>
                </a:lnTo>
                <a:lnTo>
                  <a:pt x="4244" y="1335"/>
                </a:lnTo>
                <a:lnTo>
                  <a:pt x="4245" y="1323"/>
                </a:lnTo>
                <a:lnTo>
                  <a:pt x="4246" y="1311"/>
                </a:lnTo>
                <a:lnTo>
                  <a:pt x="4247" y="1299"/>
                </a:lnTo>
                <a:lnTo>
                  <a:pt x="4248" y="1289"/>
                </a:lnTo>
                <a:lnTo>
                  <a:pt x="4250" y="1279"/>
                </a:lnTo>
                <a:lnTo>
                  <a:pt x="4254" y="1259"/>
                </a:lnTo>
                <a:lnTo>
                  <a:pt x="4257" y="1249"/>
                </a:lnTo>
                <a:lnTo>
                  <a:pt x="4260" y="1241"/>
                </a:lnTo>
                <a:lnTo>
                  <a:pt x="4266" y="1225"/>
                </a:lnTo>
                <a:lnTo>
                  <a:pt x="4273" y="1210"/>
                </a:lnTo>
                <a:lnTo>
                  <a:pt x="4277" y="1204"/>
                </a:lnTo>
                <a:lnTo>
                  <a:pt x="4282" y="1198"/>
                </a:lnTo>
                <a:lnTo>
                  <a:pt x="4291" y="1186"/>
                </a:lnTo>
                <a:lnTo>
                  <a:pt x="4301" y="1176"/>
                </a:lnTo>
                <a:lnTo>
                  <a:pt x="4311" y="1166"/>
                </a:lnTo>
                <a:lnTo>
                  <a:pt x="4323" y="1160"/>
                </a:lnTo>
                <a:lnTo>
                  <a:pt x="4335" y="1154"/>
                </a:lnTo>
                <a:lnTo>
                  <a:pt x="4347" y="1150"/>
                </a:lnTo>
                <a:lnTo>
                  <a:pt x="4360" y="1148"/>
                </a:lnTo>
                <a:lnTo>
                  <a:pt x="4373" y="1148"/>
                </a:lnTo>
                <a:lnTo>
                  <a:pt x="4388" y="1150"/>
                </a:lnTo>
                <a:lnTo>
                  <a:pt x="4403" y="1152"/>
                </a:lnTo>
                <a:lnTo>
                  <a:pt x="4416" y="1158"/>
                </a:lnTo>
                <a:lnTo>
                  <a:pt x="4422" y="1162"/>
                </a:lnTo>
                <a:lnTo>
                  <a:pt x="4428" y="1166"/>
                </a:lnTo>
                <a:lnTo>
                  <a:pt x="4440" y="1174"/>
                </a:lnTo>
                <a:lnTo>
                  <a:pt x="4450" y="1186"/>
                </a:lnTo>
                <a:lnTo>
                  <a:pt x="4459" y="1198"/>
                </a:lnTo>
                <a:lnTo>
                  <a:pt x="4467" y="1212"/>
                </a:lnTo>
                <a:lnTo>
                  <a:pt x="4471" y="1218"/>
                </a:lnTo>
                <a:lnTo>
                  <a:pt x="4474" y="1225"/>
                </a:lnTo>
                <a:lnTo>
                  <a:pt x="4477" y="1233"/>
                </a:lnTo>
                <a:lnTo>
                  <a:pt x="4480" y="1241"/>
                </a:lnTo>
                <a:lnTo>
                  <a:pt x="4485" y="1259"/>
                </a:lnTo>
                <a:lnTo>
                  <a:pt x="4490" y="1275"/>
                </a:lnTo>
                <a:lnTo>
                  <a:pt x="4493" y="1293"/>
                </a:lnTo>
                <a:lnTo>
                  <a:pt x="4495" y="1313"/>
                </a:lnTo>
                <a:lnTo>
                  <a:pt x="4497" y="1331"/>
                </a:lnTo>
                <a:lnTo>
                  <a:pt x="4497" y="1349"/>
                </a:lnTo>
                <a:lnTo>
                  <a:pt x="4435" y="1375"/>
                </a:lnTo>
                <a:lnTo>
                  <a:pt x="4435" y="1359"/>
                </a:lnTo>
                <a:lnTo>
                  <a:pt x="4433" y="1345"/>
                </a:lnTo>
                <a:lnTo>
                  <a:pt x="4432" y="1331"/>
                </a:lnTo>
                <a:lnTo>
                  <a:pt x="4430" y="1319"/>
                </a:lnTo>
                <a:lnTo>
                  <a:pt x="4427" y="1309"/>
                </a:lnTo>
                <a:lnTo>
                  <a:pt x="4426" y="1303"/>
                </a:lnTo>
                <a:lnTo>
                  <a:pt x="4424" y="1299"/>
                </a:lnTo>
                <a:lnTo>
                  <a:pt x="4421" y="1289"/>
                </a:lnTo>
                <a:lnTo>
                  <a:pt x="4417" y="1281"/>
                </a:lnTo>
                <a:lnTo>
                  <a:pt x="4413" y="1275"/>
                </a:lnTo>
                <a:lnTo>
                  <a:pt x="4408" y="1269"/>
                </a:lnTo>
                <a:lnTo>
                  <a:pt x="4403" y="1265"/>
                </a:lnTo>
                <a:lnTo>
                  <a:pt x="4397" y="1261"/>
                </a:lnTo>
                <a:lnTo>
                  <a:pt x="4391" y="1257"/>
                </a:lnTo>
                <a:lnTo>
                  <a:pt x="4385" y="1255"/>
                </a:lnTo>
                <a:lnTo>
                  <a:pt x="4378" y="1255"/>
                </a:lnTo>
                <a:lnTo>
                  <a:pt x="4370" y="1253"/>
                </a:lnTo>
                <a:lnTo>
                  <a:pt x="4358" y="1255"/>
                </a:lnTo>
                <a:lnTo>
                  <a:pt x="4346" y="1259"/>
                </a:lnTo>
                <a:lnTo>
                  <a:pt x="4341" y="1263"/>
                </a:lnTo>
                <a:lnTo>
                  <a:pt x="4336" y="1267"/>
                </a:lnTo>
                <a:lnTo>
                  <a:pt x="4331" y="1271"/>
                </a:lnTo>
                <a:lnTo>
                  <a:pt x="4327" y="1275"/>
                </a:lnTo>
                <a:lnTo>
                  <a:pt x="4323" y="1281"/>
                </a:lnTo>
                <a:lnTo>
                  <a:pt x="4319" y="1287"/>
                </a:lnTo>
                <a:lnTo>
                  <a:pt x="4316" y="1295"/>
                </a:lnTo>
                <a:lnTo>
                  <a:pt x="4313" y="1303"/>
                </a:lnTo>
                <a:lnTo>
                  <a:pt x="4311" y="1311"/>
                </a:lnTo>
                <a:lnTo>
                  <a:pt x="4310" y="1321"/>
                </a:lnTo>
                <a:lnTo>
                  <a:pt x="4309" y="1331"/>
                </a:lnTo>
                <a:lnTo>
                  <a:pt x="4308" y="1341"/>
                </a:lnTo>
                <a:lnTo>
                  <a:pt x="4309" y="1351"/>
                </a:lnTo>
                <a:lnTo>
                  <a:pt x="4309" y="1361"/>
                </a:lnTo>
                <a:lnTo>
                  <a:pt x="4310" y="1371"/>
                </a:lnTo>
                <a:lnTo>
                  <a:pt x="4311" y="1379"/>
                </a:lnTo>
                <a:lnTo>
                  <a:pt x="4313" y="1387"/>
                </a:lnTo>
                <a:lnTo>
                  <a:pt x="4315" y="1395"/>
                </a:lnTo>
                <a:lnTo>
                  <a:pt x="4318" y="1403"/>
                </a:lnTo>
                <a:lnTo>
                  <a:pt x="4321" y="1409"/>
                </a:lnTo>
                <a:lnTo>
                  <a:pt x="4325" y="1415"/>
                </a:lnTo>
                <a:lnTo>
                  <a:pt x="4328" y="1421"/>
                </a:lnTo>
                <a:lnTo>
                  <a:pt x="4337" y="1433"/>
                </a:lnTo>
                <a:lnTo>
                  <a:pt x="4347" y="1445"/>
                </a:lnTo>
                <a:lnTo>
                  <a:pt x="4359" y="1457"/>
                </a:lnTo>
                <a:lnTo>
                  <a:pt x="4421" y="1511"/>
                </a:lnTo>
                <a:lnTo>
                  <a:pt x="4431" y="1521"/>
                </a:lnTo>
                <a:lnTo>
                  <a:pt x="4442" y="1531"/>
                </a:lnTo>
                <a:lnTo>
                  <a:pt x="4451" y="1541"/>
                </a:lnTo>
                <a:lnTo>
                  <a:pt x="4459" y="1553"/>
                </a:lnTo>
                <a:lnTo>
                  <a:pt x="4467" y="1565"/>
                </a:lnTo>
                <a:lnTo>
                  <a:pt x="4474" y="1575"/>
                </a:lnTo>
                <a:lnTo>
                  <a:pt x="4480" y="1589"/>
                </a:lnTo>
                <a:lnTo>
                  <a:pt x="4486" y="1601"/>
                </a:lnTo>
                <a:lnTo>
                  <a:pt x="4491" y="1615"/>
                </a:lnTo>
                <a:lnTo>
                  <a:pt x="4495" y="1629"/>
                </a:lnTo>
                <a:lnTo>
                  <a:pt x="4499" y="1643"/>
                </a:lnTo>
                <a:lnTo>
                  <a:pt x="4502" y="1659"/>
                </a:lnTo>
                <a:lnTo>
                  <a:pt x="4504" y="1675"/>
                </a:lnTo>
                <a:lnTo>
                  <a:pt x="4505" y="1685"/>
                </a:lnTo>
                <a:lnTo>
                  <a:pt x="4505" y="1693"/>
                </a:lnTo>
                <a:lnTo>
                  <a:pt x="4506" y="1711"/>
                </a:lnTo>
                <a:lnTo>
                  <a:pt x="4507" y="1730"/>
                </a:lnTo>
                <a:lnTo>
                  <a:pt x="4506" y="1756"/>
                </a:lnTo>
                <a:lnTo>
                  <a:pt x="4504" y="1780"/>
                </a:lnTo>
                <a:lnTo>
                  <a:pt x="4503" y="1792"/>
                </a:lnTo>
                <a:lnTo>
                  <a:pt x="4501" y="1802"/>
                </a:lnTo>
                <a:lnTo>
                  <a:pt x="4499" y="1814"/>
                </a:lnTo>
                <a:lnTo>
                  <a:pt x="4497" y="1824"/>
                </a:lnTo>
                <a:lnTo>
                  <a:pt x="4494" y="1834"/>
                </a:lnTo>
                <a:lnTo>
                  <a:pt x="4492" y="1844"/>
                </a:lnTo>
                <a:lnTo>
                  <a:pt x="4485" y="1862"/>
                </a:lnTo>
                <a:lnTo>
                  <a:pt x="4482" y="1870"/>
                </a:lnTo>
                <a:lnTo>
                  <a:pt x="4478" y="1880"/>
                </a:lnTo>
                <a:lnTo>
                  <a:pt x="4470" y="1894"/>
                </a:lnTo>
                <a:lnTo>
                  <a:pt x="4465" y="1902"/>
                </a:lnTo>
                <a:lnTo>
                  <a:pt x="4460" y="1908"/>
                </a:lnTo>
                <a:lnTo>
                  <a:pt x="4455" y="1914"/>
                </a:lnTo>
                <a:lnTo>
                  <a:pt x="4450" y="1920"/>
                </a:lnTo>
                <a:lnTo>
                  <a:pt x="4439" y="1930"/>
                </a:lnTo>
                <a:lnTo>
                  <a:pt x="4427" y="1938"/>
                </a:lnTo>
                <a:lnTo>
                  <a:pt x="4414" y="1946"/>
                </a:lnTo>
                <a:lnTo>
                  <a:pt x="4400" y="1950"/>
                </a:lnTo>
                <a:lnTo>
                  <a:pt x="4393" y="1952"/>
                </a:lnTo>
                <a:lnTo>
                  <a:pt x="4386" y="1952"/>
                </a:lnTo>
                <a:lnTo>
                  <a:pt x="4370" y="19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7DE48D-705B-612C-7DFA-B303012D79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98587" y="5517232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F5A17A4-EA2D-AFFF-38DF-9699B925DC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98587" y="5805264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638583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6924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oitusdia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89437-0A9F-6907-E834-ECE3DB6251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1700" cy="2304529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BA9B7E5-3139-76AA-C2C3-60620F1D9B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4509120"/>
            <a:ext cx="9791700" cy="864096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98F4D-E89B-8263-EB37-8F8B305D4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89FA983-2B88-420C-ABFF-8398E4440B08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B5C31-D7B7-0A4A-9FF1-A8910751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9B765-A518-625F-2D82-59131FF13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CD5646D-347F-0693-85B7-82EEFAEE1F7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07368" y="333375"/>
            <a:ext cx="2325003" cy="504000"/>
          </a:xfrm>
          <a:custGeom>
            <a:avLst/>
            <a:gdLst>
              <a:gd name="T0" fmla="*/ 11 w 4507"/>
              <a:gd name="T1" fmla="*/ 18 h 1954"/>
              <a:gd name="T2" fmla="*/ 659 w 4507"/>
              <a:gd name="T3" fmla="*/ 297 h 1954"/>
              <a:gd name="T4" fmla="*/ 666 w 4507"/>
              <a:gd name="T5" fmla="*/ 916 h 1954"/>
              <a:gd name="T6" fmla="*/ 347 w 4507"/>
              <a:gd name="T7" fmla="*/ 880 h 1954"/>
              <a:gd name="T8" fmla="*/ 471 w 4507"/>
              <a:gd name="T9" fmla="*/ 675 h 1954"/>
              <a:gd name="T10" fmla="*/ 375 w 4507"/>
              <a:gd name="T11" fmla="*/ 401 h 1954"/>
              <a:gd name="T12" fmla="*/ 1722 w 4507"/>
              <a:gd name="T13" fmla="*/ 26 h 1954"/>
              <a:gd name="T14" fmla="*/ 1804 w 4507"/>
              <a:gd name="T15" fmla="*/ 309 h 1954"/>
              <a:gd name="T16" fmla="*/ 1741 w 4507"/>
              <a:gd name="T17" fmla="*/ 269 h 1954"/>
              <a:gd name="T18" fmla="*/ 1854 w 4507"/>
              <a:gd name="T19" fmla="*/ 788 h 1954"/>
              <a:gd name="T20" fmla="*/ 2410 w 4507"/>
              <a:gd name="T21" fmla="*/ 18 h 1954"/>
              <a:gd name="T22" fmla="*/ 3053 w 4507"/>
              <a:gd name="T23" fmla="*/ 553 h 1954"/>
              <a:gd name="T24" fmla="*/ 3419 w 4507"/>
              <a:gd name="T25" fmla="*/ 539 h 1954"/>
              <a:gd name="T26" fmla="*/ 3595 w 4507"/>
              <a:gd name="T27" fmla="*/ 659 h 1954"/>
              <a:gd name="T28" fmla="*/ 3699 w 4507"/>
              <a:gd name="T29" fmla="*/ 697 h 1954"/>
              <a:gd name="T30" fmla="*/ 3842 w 4507"/>
              <a:gd name="T31" fmla="*/ 595 h 1954"/>
              <a:gd name="T32" fmla="*/ 3700 w 4507"/>
              <a:gd name="T33" fmla="*/ 806 h 1954"/>
              <a:gd name="T34" fmla="*/ 3943 w 4507"/>
              <a:gd name="T35" fmla="*/ 725 h 1954"/>
              <a:gd name="T36" fmla="*/ 4018 w 4507"/>
              <a:gd name="T37" fmla="*/ 689 h 1954"/>
              <a:gd name="T38" fmla="*/ 4124 w 4507"/>
              <a:gd name="T39" fmla="*/ 581 h 1954"/>
              <a:gd name="T40" fmla="*/ 3931 w 4507"/>
              <a:gd name="T41" fmla="*/ 269 h 1954"/>
              <a:gd name="T42" fmla="*/ 4017 w 4507"/>
              <a:gd name="T43" fmla="*/ 6 h 1954"/>
              <a:gd name="T44" fmla="*/ 4117 w 4507"/>
              <a:gd name="T45" fmla="*/ 228 h 1954"/>
              <a:gd name="T46" fmla="*/ 4005 w 4507"/>
              <a:gd name="T47" fmla="*/ 134 h 1954"/>
              <a:gd name="T48" fmla="*/ 4123 w 4507"/>
              <a:gd name="T49" fmla="*/ 383 h 1954"/>
              <a:gd name="T50" fmla="*/ 4174 w 4507"/>
              <a:gd name="T51" fmla="*/ 697 h 1954"/>
              <a:gd name="T52" fmla="*/ 1767 w 4507"/>
              <a:gd name="T53" fmla="*/ 1273 h 1954"/>
              <a:gd name="T54" fmla="*/ 2197 w 4507"/>
              <a:gd name="T55" fmla="*/ 1926 h 1954"/>
              <a:gd name="T56" fmla="*/ 2114 w 4507"/>
              <a:gd name="T57" fmla="*/ 1551 h 1954"/>
              <a:gd name="T58" fmla="*/ 2226 w 4507"/>
              <a:gd name="T59" fmla="*/ 1156 h 1954"/>
              <a:gd name="T60" fmla="*/ 2385 w 4507"/>
              <a:gd name="T61" fmla="*/ 1313 h 1954"/>
              <a:gd name="T62" fmla="*/ 2373 w 4507"/>
              <a:gd name="T63" fmla="*/ 1834 h 1954"/>
              <a:gd name="T64" fmla="*/ 2227 w 4507"/>
              <a:gd name="T65" fmla="*/ 1271 h 1954"/>
              <a:gd name="T66" fmla="*/ 2192 w 4507"/>
              <a:gd name="T67" fmla="*/ 1738 h 1954"/>
              <a:gd name="T68" fmla="*/ 2323 w 4507"/>
              <a:gd name="T69" fmla="*/ 1760 h 1954"/>
              <a:gd name="T70" fmla="*/ 2273 w 4507"/>
              <a:gd name="T71" fmla="*/ 1259 h 1954"/>
              <a:gd name="T72" fmla="*/ 3321 w 4507"/>
              <a:gd name="T73" fmla="*/ 1954 h 1954"/>
              <a:gd name="T74" fmla="*/ 3265 w 4507"/>
              <a:gd name="T75" fmla="*/ 1693 h 1954"/>
              <a:gd name="T76" fmla="*/ 3380 w 4507"/>
              <a:gd name="T77" fmla="*/ 1832 h 1954"/>
              <a:gd name="T78" fmla="*/ 3369 w 4507"/>
              <a:gd name="T79" fmla="*/ 1625 h 1954"/>
              <a:gd name="T80" fmla="*/ 3218 w 4507"/>
              <a:gd name="T81" fmla="*/ 1279 h 1954"/>
              <a:gd name="T82" fmla="*/ 3426 w 4507"/>
              <a:gd name="T83" fmla="*/ 1198 h 1954"/>
              <a:gd name="T84" fmla="*/ 3370 w 4507"/>
              <a:gd name="T85" fmla="*/ 1265 h 1954"/>
              <a:gd name="T86" fmla="*/ 3279 w 4507"/>
              <a:gd name="T87" fmla="*/ 1379 h 1954"/>
              <a:gd name="T88" fmla="*/ 3471 w 4507"/>
              <a:gd name="T89" fmla="*/ 1675 h 1954"/>
              <a:gd name="T90" fmla="*/ 3381 w 4507"/>
              <a:gd name="T91" fmla="*/ 1946 h 1954"/>
              <a:gd name="T92" fmla="*/ 3620 w 4507"/>
              <a:gd name="T93" fmla="*/ 1772 h 1954"/>
              <a:gd name="T94" fmla="*/ 3736 w 4507"/>
              <a:gd name="T95" fmla="*/ 1772 h 1954"/>
              <a:gd name="T96" fmla="*/ 3756 w 4507"/>
              <a:gd name="T97" fmla="*/ 1914 h 1954"/>
              <a:gd name="T98" fmla="*/ 3915 w 4507"/>
              <a:gd name="T99" fmla="*/ 1828 h 1954"/>
              <a:gd name="T100" fmla="*/ 4005 w 4507"/>
              <a:gd name="T101" fmla="*/ 1838 h 1954"/>
              <a:gd name="T102" fmla="*/ 4160 w 4507"/>
              <a:gd name="T103" fmla="*/ 1697 h 1954"/>
              <a:gd name="T104" fmla="*/ 4039 w 4507"/>
              <a:gd name="T105" fmla="*/ 1954 h 1954"/>
              <a:gd name="T106" fmla="*/ 4268 w 4507"/>
              <a:gd name="T107" fmla="*/ 1888 h 1954"/>
              <a:gd name="T108" fmla="*/ 4324 w 4507"/>
              <a:gd name="T109" fmla="*/ 1824 h 1954"/>
              <a:gd name="T110" fmla="*/ 4442 w 4507"/>
              <a:gd name="T111" fmla="*/ 1752 h 1954"/>
              <a:gd name="T112" fmla="*/ 4255 w 4507"/>
              <a:gd name="T113" fmla="*/ 1447 h 1954"/>
              <a:gd name="T114" fmla="*/ 4311 w 4507"/>
              <a:gd name="T115" fmla="*/ 1166 h 1954"/>
              <a:gd name="T116" fmla="*/ 4497 w 4507"/>
              <a:gd name="T117" fmla="*/ 1331 h 1954"/>
              <a:gd name="T118" fmla="*/ 4336 w 4507"/>
              <a:gd name="T119" fmla="*/ 1267 h 1954"/>
              <a:gd name="T120" fmla="*/ 4359 w 4507"/>
              <a:gd name="T121" fmla="*/ 1457 h 1954"/>
              <a:gd name="T122" fmla="*/ 4499 w 4507"/>
              <a:gd name="T123" fmla="*/ 1814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507" h="1954">
                <a:moveTo>
                  <a:pt x="4307" y="327"/>
                </a:moveTo>
                <a:lnTo>
                  <a:pt x="4377" y="327"/>
                </a:lnTo>
                <a:lnTo>
                  <a:pt x="4377" y="463"/>
                </a:lnTo>
                <a:lnTo>
                  <a:pt x="4307" y="463"/>
                </a:lnTo>
                <a:lnTo>
                  <a:pt x="4307" y="327"/>
                </a:lnTo>
                <a:close/>
                <a:moveTo>
                  <a:pt x="1248" y="18"/>
                </a:moveTo>
                <a:lnTo>
                  <a:pt x="1248" y="473"/>
                </a:lnTo>
                <a:lnTo>
                  <a:pt x="1051" y="473"/>
                </a:lnTo>
                <a:lnTo>
                  <a:pt x="1051" y="1936"/>
                </a:lnTo>
                <a:lnTo>
                  <a:pt x="821" y="1936"/>
                </a:lnTo>
                <a:lnTo>
                  <a:pt x="821" y="473"/>
                </a:lnTo>
                <a:lnTo>
                  <a:pt x="655" y="18"/>
                </a:lnTo>
                <a:lnTo>
                  <a:pt x="1248" y="18"/>
                </a:lnTo>
                <a:close/>
                <a:moveTo>
                  <a:pt x="0" y="1481"/>
                </a:moveTo>
                <a:lnTo>
                  <a:pt x="230" y="1481"/>
                </a:lnTo>
                <a:lnTo>
                  <a:pt x="230" y="1936"/>
                </a:lnTo>
                <a:lnTo>
                  <a:pt x="0" y="1936"/>
                </a:lnTo>
                <a:lnTo>
                  <a:pt x="0" y="1481"/>
                </a:lnTo>
                <a:close/>
                <a:moveTo>
                  <a:pt x="487" y="1186"/>
                </a:moveTo>
                <a:lnTo>
                  <a:pt x="752" y="1936"/>
                </a:lnTo>
                <a:lnTo>
                  <a:pt x="495" y="1936"/>
                </a:lnTo>
                <a:lnTo>
                  <a:pt x="11" y="559"/>
                </a:lnTo>
                <a:lnTo>
                  <a:pt x="11" y="18"/>
                </a:lnTo>
                <a:lnTo>
                  <a:pt x="309" y="18"/>
                </a:lnTo>
                <a:lnTo>
                  <a:pt x="335" y="18"/>
                </a:lnTo>
                <a:lnTo>
                  <a:pt x="359" y="20"/>
                </a:lnTo>
                <a:lnTo>
                  <a:pt x="382" y="24"/>
                </a:lnTo>
                <a:lnTo>
                  <a:pt x="404" y="30"/>
                </a:lnTo>
                <a:lnTo>
                  <a:pt x="426" y="36"/>
                </a:lnTo>
                <a:lnTo>
                  <a:pt x="447" y="44"/>
                </a:lnTo>
                <a:lnTo>
                  <a:pt x="467" y="52"/>
                </a:lnTo>
                <a:lnTo>
                  <a:pt x="476" y="58"/>
                </a:lnTo>
                <a:lnTo>
                  <a:pt x="486" y="62"/>
                </a:lnTo>
                <a:lnTo>
                  <a:pt x="504" y="74"/>
                </a:lnTo>
                <a:lnTo>
                  <a:pt x="521" y="88"/>
                </a:lnTo>
                <a:lnTo>
                  <a:pt x="538" y="102"/>
                </a:lnTo>
                <a:lnTo>
                  <a:pt x="553" y="116"/>
                </a:lnTo>
                <a:lnTo>
                  <a:pt x="569" y="132"/>
                </a:lnTo>
                <a:lnTo>
                  <a:pt x="583" y="150"/>
                </a:lnTo>
                <a:lnTo>
                  <a:pt x="596" y="168"/>
                </a:lnTo>
                <a:lnTo>
                  <a:pt x="609" y="188"/>
                </a:lnTo>
                <a:lnTo>
                  <a:pt x="620" y="208"/>
                </a:lnTo>
                <a:lnTo>
                  <a:pt x="631" y="230"/>
                </a:lnTo>
                <a:lnTo>
                  <a:pt x="641" y="251"/>
                </a:lnTo>
                <a:lnTo>
                  <a:pt x="650" y="273"/>
                </a:lnTo>
                <a:lnTo>
                  <a:pt x="659" y="297"/>
                </a:lnTo>
                <a:lnTo>
                  <a:pt x="666" y="323"/>
                </a:lnTo>
                <a:lnTo>
                  <a:pt x="673" y="349"/>
                </a:lnTo>
                <a:lnTo>
                  <a:pt x="680" y="375"/>
                </a:lnTo>
                <a:lnTo>
                  <a:pt x="685" y="401"/>
                </a:lnTo>
                <a:lnTo>
                  <a:pt x="690" y="429"/>
                </a:lnTo>
                <a:lnTo>
                  <a:pt x="694" y="459"/>
                </a:lnTo>
                <a:lnTo>
                  <a:pt x="697" y="487"/>
                </a:lnTo>
                <a:lnTo>
                  <a:pt x="699" y="517"/>
                </a:lnTo>
                <a:lnTo>
                  <a:pt x="701" y="547"/>
                </a:lnTo>
                <a:lnTo>
                  <a:pt x="702" y="579"/>
                </a:lnTo>
                <a:lnTo>
                  <a:pt x="703" y="611"/>
                </a:lnTo>
                <a:lnTo>
                  <a:pt x="702" y="661"/>
                </a:lnTo>
                <a:lnTo>
                  <a:pt x="701" y="687"/>
                </a:lnTo>
                <a:lnTo>
                  <a:pt x="699" y="711"/>
                </a:lnTo>
                <a:lnTo>
                  <a:pt x="697" y="735"/>
                </a:lnTo>
                <a:lnTo>
                  <a:pt x="695" y="758"/>
                </a:lnTo>
                <a:lnTo>
                  <a:pt x="692" y="782"/>
                </a:lnTo>
                <a:lnTo>
                  <a:pt x="689" y="806"/>
                </a:lnTo>
                <a:lnTo>
                  <a:pt x="685" y="830"/>
                </a:lnTo>
                <a:lnTo>
                  <a:pt x="681" y="852"/>
                </a:lnTo>
                <a:lnTo>
                  <a:pt x="677" y="874"/>
                </a:lnTo>
                <a:lnTo>
                  <a:pt x="672" y="896"/>
                </a:lnTo>
                <a:lnTo>
                  <a:pt x="666" y="916"/>
                </a:lnTo>
                <a:lnTo>
                  <a:pt x="661" y="938"/>
                </a:lnTo>
                <a:lnTo>
                  <a:pt x="655" y="958"/>
                </a:lnTo>
                <a:lnTo>
                  <a:pt x="648" y="976"/>
                </a:lnTo>
                <a:lnTo>
                  <a:pt x="641" y="996"/>
                </a:lnTo>
                <a:lnTo>
                  <a:pt x="634" y="1014"/>
                </a:lnTo>
                <a:lnTo>
                  <a:pt x="626" y="1030"/>
                </a:lnTo>
                <a:lnTo>
                  <a:pt x="618" y="1048"/>
                </a:lnTo>
                <a:lnTo>
                  <a:pt x="609" y="1064"/>
                </a:lnTo>
                <a:lnTo>
                  <a:pt x="600" y="1080"/>
                </a:lnTo>
                <a:lnTo>
                  <a:pt x="591" y="1094"/>
                </a:lnTo>
                <a:lnTo>
                  <a:pt x="581" y="1108"/>
                </a:lnTo>
                <a:lnTo>
                  <a:pt x="571" y="1120"/>
                </a:lnTo>
                <a:lnTo>
                  <a:pt x="559" y="1132"/>
                </a:lnTo>
                <a:lnTo>
                  <a:pt x="548" y="1144"/>
                </a:lnTo>
                <a:lnTo>
                  <a:pt x="537" y="1154"/>
                </a:lnTo>
                <a:lnTo>
                  <a:pt x="525" y="1164"/>
                </a:lnTo>
                <a:lnTo>
                  <a:pt x="513" y="1172"/>
                </a:lnTo>
                <a:lnTo>
                  <a:pt x="500" y="1180"/>
                </a:lnTo>
                <a:lnTo>
                  <a:pt x="487" y="1186"/>
                </a:lnTo>
                <a:close/>
                <a:moveTo>
                  <a:pt x="239" y="391"/>
                </a:moveTo>
                <a:lnTo>
                  <a:pt x="239" y="880"/>
                </a:lnTo>
                <a:lnTo>
                  <a:pt x="337" y="880"/>
                </a:lnTo>
                <a:lnTo>
                  <a:pt x="347" y="880"/>
                </a:lnTo>
                <a:lnTo>
                  <a:pt x="357" y="880"/>
                </a:lnTo>
                <a:lnTo>
                  <a:pt x="367" y="878"/>
                </a:lnTo>
                <a:lnTo>
                  <a:pt x="376" y="874"/>
                </a:lnTo>
                <a:lnTo>
                  <a:pt x="384" y="872"/>
                </a:lnTo>
                <a:lnTo>
                  <a:pt x="392" y="868"/>
                </a:lnTo>
                <a:lnTo>
                  <a:pt x="400" y="862"/>
                </a:lnTo>
                <a:lnTo>
                  <a:pt x="407" y="858"/>
                </a:lnTo>
                <a:lnTo>
                  <a:pt x="413" y="852"/>
                </a:lnTo>
                <a:lnTo>
                  <a:pt x="419" y="844"/>
                </a:lnTo>
                <a:lnTo>
                  <a:pt x="425" y="838"/>
                </a:lnTo>
                <a:lnTo>
                  <a:pt x="430" y="830"/>
                </a:lnTo>
                <a:lnTo>
                  <a:pt x="435" y="822"/>
                </a:lnTo>
                <a:lnTo>
                  <a:pt x="440" y="814"/>
                </a:lnTo>
                <a:lnTo>
                  <a:pt x="444" y="806"/>
                </a:lnTo>
                <a:lnTo>
                  <a:pt x="448" y="796"/>
                </a:lnTo>
                <a:lnTo>
                  <a:pt x="451" y="788"/>
                </a:lnTo>
                <a:lnTo>
                  <a:pt x="454" y="778"/>
                </a:lnTo>
                <a:lnTo>
                  <a:pt x="457" y="768"/>
                </a:lnTo>
                <a:lnTo>
                  <a:pt x="460" y="758"/>
                </a:lnTo>
                <a:lnTo>
                  <a:pt x="464" y="738"/>
                </a:lnTo>
                <a:lnTo>
                  <a:pt x="467" y="717"/>
                </a:lnTo>
                <a:lnTo>
                  <a:pt x="470" y="697"/>
                </a:lnTo>
                <a:lnTo>
                  <a:pt x="471" y="675"/>
                </a:lnTo>
                <a:lnTo>
                  <a:pt x="472" y="655"/>
                </a:lnTo>
                <a:lnTo>
                  <a:pt x="472" y="635"/>
                </a:lnTo>
                <a:lnTo>
                  <a:pt x="472" y="615"/>
                </a:lnTo>
                <a:lnTo>
                  <a:pt x="470" y="593"/>
                </a:lnTo>
                <a:lnTo>
                  <a:pt x="468" y="573"/>
                </a:lnTo>
                <a:lnTo>
                  <a:pt x="464" y="551"/>
                </a:lnTo>
                <a:lnTo>
                  <a:pt x="462" y="541"/>
                </a:lnTo>
                <a:lnTo>
                  <a:pt x="459" y="531"/>
                </a:lnTo>
                <a:lnTo>
                  <a:pt x="457" y="521"/>
                </a:lnTo>
                <a:lnTo>
                  <a:pt x="454" y="511"/>
                </a:lnTo>
                <a:lnTo>
                  <a:pt x="447" y="491"/>
                </a:lnTo>
                <a:lnTo>
                  <a:pt x="443" y="483"/>
                </a:lnTo>
                <a:lnTo>
                  <a:pt x="439" y="473"/>
                </a:lnTo>
                <a:lnTo>
                  <a:pt x="435" y="465"/>
                </a:lnTo>
                <a:lnTo>
                  <a:pt x="430" y="457"/>
                </a:lnTo>
                <a:lnTo>
                  <a:pt x="420" y="441"/>
                </a:lnTo>
                <a:lnTo>
                  <a:pt x="414" y="433"/>
                </a:lnTo>
                <a:lnTo>
                  <a:pt x="408" y="427"/>
                </a:lnTo>
                <a:lnTo>
                  <a:pt x="402" y="421"/>
                </a:lnTo>
                <a:lnTo>
                  <a:pt x="396" y="415"/>
                </a:lnTo>
                <a:lnTo>
                  <a:pt x="389" y="409"/>
                </a:lnTo>
                <a:lnTo>
                  <a:pt x="382" y="405"/>
                </a:lnTo>
                <a:lnTo>
                  <a:pt x="375" y="401"/>
                </a:lnTo>
                <a:lnTo>
                  <a:pt x="367" y="397"/>
                </a:lnTo>
                <a:lnTo>
                  <a:pt x="359" y="395"/>
                </a:lnTo>
                <a:lnTo>
                  <a:pt x="351" y="393"/>
                </a:lnTo>
                <a:lnTo>
                  <a:pt x="333" y="391"/>
                </a:lnTo>
                <a:lnTo>
                  <a:pt x="239" y="391"/>
                </a:lnTo>
                <a:close/>
                <a:moveTo>
                  <a:pt x="1780" y="395"/>
                </a:moveTo>
                <a:lnTo>
                  <a:pt x="1776" y="403"/>
                </a:lnTo>
                <a:lnTo>
                  <a:pt x="1772" y="411"/>
                </a:lnTo>
                <a:lnTo>
                  <a:pt x="1763" y="423"/>
                </a:lnTo>
                <a:lnTo>
                  <a:pt x="1754" y="433"/>
                </a:lnTo>
                <a:lnTo>
                  <a:pt x="1743" y="443"/>
                </a:lnTo>
                <a:lnTo>
                  <a:pt x="1814" y="788"/>
                </a:lnTo>
                <a:lnTo>
                  <a:pt x="1742" y="788"/>
                </a:lnTo>
                <a:lnTo>
                  <a:pt x="1683" y="465"/>
                </a:lnTo>
                <a:lnTo>
                  <a:pt x="1607" y="465"/>
                </a:lnTo>
                <a:lnTo>
                  <a:pt x="1607" y="788"/>
                </a:lnTo>
                <a:lnTo>
                  <a:pt x="1543" y="788"/>
                </a:lnTo>
                <a:lnTo>
                  <a:pt x="1543" y="18"/>
                </a:lnTo>
                <a:lnTo>
                  <a:pt x="1681" y="18"/>
                </a:lnTo>
                <a:lnTo>
                  <a:pt x="1696" y="18"/>
                </a:lnTo>
                <a:lnTo>
                  <a:pt x="1703" y="20"/>
                </a:lnTo>
                <a:lnTo>
                  <a:pt x="1710" y="22"/>
                </a:lnTo>
                <a:lnTo>
                  <a:pt x="1722" y="26"/>
                </a:lnTo>
                <a:lnTo>
                  <a:pt x="1734" y="32"/>
                </a:lnTo>
                <a:lnTo>
                  <a:pt x="1745" y="40"/>
                </a:lnTo>
                <a:lnTo>
                  <a:pt x="1755" y="50"/>
                </a:lnTo>
                <a:lnTo>
                  <a:pt x="1765" y="62"/>
                </a:lnTo>
                <a:lnTo>
                  <a:pt x="1769" y="68"/>
                </a:lnTo>
                <a:lnTo>
                  <a:pt x="1773" y="76"/>
                </a:lnTo>
                <a:lnTo>
                  <a:pt x="1781" y="92"/>
                </a:lnTo>
                <a:lnTo>
                  <a:pt x="1788" y="108"/>
                </a:lnTo>
                <a:lnTo>
                  <a:pt x="1791" y="118"/>
                </a:lnTo>
                <a:lnTo>
                  <a:pt x="1794" y="126"/>
                </a:lnTo>
                <a:lnTo>
                  <a:pt x="1799" y="146"/>
                </a:lnTo>
                <a:lnTo>
                  <a:pt x="1803" y="168"/>
                </a:lnTo>
                <a:lnTo>
                  <a:pt x="1805" y="178"/>
                </a:lnTo>
                <a:lnTo>
                  <a:pt x="1806" y="190"/>
                </a:lnTo>
                <a:lnTo>
                  <a:pt x="1807" y="200"/>
                </a:lnTo>
                <a:lnTo>
                  <a:pt x="1808" y="212"/>
                </a:lnTo>
                <a:lnTo>
                  <a:pt x="1808" y="224"/>
                </a:lnTo>
                <a:lnTo>
                  <a:pt x="1808" y="236"/>
                </a:lnTo>
                <a:lnTo>
                  <a:pt x="1808" y="263"/>
                </a:lnTo>
                <a:lnTo>
                  <a:pt x="1807" y="275"/>
                </a:lnTo>
                <a:lnTo>
                  <a:pt x="1806" y="287"/>
                </a:lnTo>
                <a:lnTo>
                  <a:pt x="1805" y="299"/>
                </a:lnTo>
                <a:lnTo>
                  <a:pt x="1804" y="309"/>
                </a:lnTo>
                <a:lnTo>
                  <a:pt x="1801" y="331"/>
                </a:lnTo>
                <a:lnTo>
                  <a:pt x="1797" y="349"/>
                </a:lnTo>
                <a:lnTo>
                  <a:pt x="1792" y="367"/>
                </a:lnTo>
                <a:lnTo>
                  <a:pt x="1786" y="381"/>
                </a:lnTo>
                <a:lnTo>
                  <a:pt x="1780" y="395"/>
                </a:lnTo>
                <a:close/>
                <a:moveTo>
                  <a:pt x="1678" y="122"/>
                </a:moveTo>
                <a:lnTo>
                  <a:pt x="1607" y="122"/>
                </a:lnTo>
                <a:lnTo>
                  <a:pt x="1607" y="365"/>
                </a:lnTo>
                <a:lnTo>
                  <a:pt x="1678" y="365"/>
                </a:lnTo>
                <a:lnTo>
                  <a:pt x="1686" y="363"/>
                </a:lnTo>
                <a:lnTo>
                  <a:pt x="1694" y="361"/>
                </a:lnTo>
                <a:lnTo>
                  <a:pt x="1700" y="359"/>
                </a:lnTo>
                <a:lnTo>
                  <a:pt x="1707" y="355"/>
                </a:lnTo>
                <a:lnTo>
                  <a:pt x="1712" y="351"/>
                </a:lnTo>
                <a:lnTo>
                  <a:pt x="1717" y="345"/>
                </a:lnTo>
                <a:lnTo>
                  <a:pt x="1722" y="339"/>
                </a:lnTo>
                <a:lnTo>
                  <a:pt x="1726" y="331"/>
                </a:lnTo>
                <a:lnTo>
                  <a:pt x="1730" y="323"/>
                </a:lnTo>
                <a:lnTo>
                  <a:pt x="1733" y="313"/>
                </a:lnTo>
                <a:lnTo>
                  <a:pt x="1736" y="303"/>
                </a:lnTo>
                <a:lnTo>
                  <a:pt x="1738" y="293"/>
                </a:lnTo>
                <a:lnTo>
                  <a:pt x="1740" y="281"/>
                </a:lnTo>
                <a:lnTo>
                  <a:pt x="1741" y="269"/>
                </a:lnTo>
                <a:lnTo>
                  <a:pt x="1742" y="257"/>
                </a:lnTo>
                <a:lnTo>
                  <a:pt x="1742" y="244"/>
                </a:lnTo>
                <a:lnTo>
                  <a:pt x="1742" y="230"/>
                </a:lnTo>
                <a:lnTo>
                  <a:pt x="1742" y="218"/>
                </a:lnTo>
                <a:lnTo>
                  <a:pt x="1740" y="206"/>
                </a:lnTo>
                <a:lnTo>
                  <a:pt x="1739" y="194"/>
                </a:lnTo>
                <a:lnTo>
                  <a:pt x="1737" y="184"/>
                </a:lnTo>
                <a:lnTo>
                  <a:pt x="1734" y="174"/>
                </a:lnTo>
                <a:lnTo>
                  <a:pt x="1731" y="164"/>
                </a:lnTo>
                <a:lnTo>
                  <a:pt x="1728" y="156"/>
                </a:lnTo>
                <a:lnTo>
                  <a:pt x="1723" y="148"/>
                </a:lnTo>
                <a:lnTo>
                  <a:pt x="1719" y="142"/>
                </a:lnTo>
                <a:lnTo>
                  <a:pt x="1713" y="136"/>
                </a:lnTo>
                <a:lnTo>
                  <a:pt x="1708" y="132"/>
                </a:lnTo>
                <a:lnTo>
                  <a:pt x="1701" y="128"/>
                </a:lnTo>
                <a:lnTo>
                  <a:pt x="1694" y="124"/>
                </a:lnTo>
                <a:lnTo>
                  <a:pt x="1686" y="122"/>
                </a:lnTo>
                <a:lnTo>
                  <a:pt x="1678" y="122"/>
                </a:lnTo>
                <a:close/>
                <a:moveTo>
                  <a:pt x="2090" y="788"/>
                </a:moveTo>
                <a:lnTo>
                  <a:pt x="2069" y="635"/>
                </a:lnTo>
                <a:lnTo>
                  <a:pt x="1942" y="635"/>
                </a:lnTo>
                <a:lnTo>
                  <a:pt x="1921" y="788"/>
                </a:lnTo>
                <a:lnTo>
                  <a:pt x="1854" y="788"/>
                </a:lnTo>
                <a:lnTo>
                  <a:pt x="1975" y="18"/>
                </a:lnTo>
                <a:lnTo>
                  <a:pt x="2037" y="18"/>
                </a:lnTo>
                <a:lnTo>
                  <a:pt x="2160" y="788"/>
                </a:lnTo>
                <a:lnTo>
                  <a:pt x="2090" y="788"/>
                </a:lnTo>
                <a:close/>
                <a:moveTo>
                  <a:pt x="2026" y="323"/>
                </a:moveTo>
                <a:lnTo>
                  <a:pt x="2015" y="250"/>
                </a:lnTo>
                <a:lnTo>
                  <a:pt x="2010" y="210"/>
                </a:lnTo>
                <a:lnTo>
                  <a:pt x="2006" y="170"/>
                </a:lnTo>
                <a:lnTo>
                  <a:pt x="2001" y="210"/>
                </a:lnTo>
                <a:lnTo>
                  <a:pt x="1996" y="250"/>
                </a:lnTo>
                <a:lnTo>
                  <a:pt x="1986" y="325"/>
                </a:lnTo>
                <a:lnTo>
                  <a:pt x="1957" y="529"/>
                </a:lnTo>
                <a:lnTo>
                  <a:pt x="2053" y="529"/>
                </a:lnTo>
                <a:lnTo>
                  <a:pt x="2026" y="323"/>
                </a:lnTo>
                <a:close/>
                <a:moveTo>
                  <a:pt x="2419" y="788"/>
                </a:moveTo>
                <a:lnTo>
                  <a:pt x="2323" y="431"/>
                </a:lnTo>
                <a:lnTo>
                  <a:pt x="2285" y="527"/>
                </a:lnTo>
                <a:lnTo>
                  <a:pt x="2285" y="788"/>
                </a:lnTo>
                <a:lnTo>
                  <a:pt x="2220" y="788"/>
                </a:lnTo>
                <a:lnTo>
                  <a:pt x="2220" y="18"/>
                </a:lnTo>
                <a:lnTo>
                  <a:pt x="2285" y="18"/>
                </a:lnTo>
                <a:lnTo>
                  <a:pt x="2285" y="347"/>
                </a:lnTo>
                <a:lnTo>
                  <a:pt x="2410" y="18"/>
                </a:lnTo>
                <a:lnTo>
                  <a:pt x="2492" y="18"/>
                </a:lnTo>
                <a:lnTo>
                  <a:pt x="2363" y="333"/>
                </a:lnTo>
                <a:lnTo>
                  <a:pt x="2498" y="788"/>
                </a:lnTo>
                <a:lnTo>
                  <a:pt x="2419" y="788"/>
                </a:lnTo>
                <a:close/>
                <a:moveTo>
                  <a:pt x="2558" y="788"/>
                </a:moveTo>
                <a:lnTo>
                  <a:pt x="2558" y="18"/>
                </a:lnTo>
                <a:lnTo>
                  <a:pt x="2786" y="18"/>
                </a:lnTo>
                <a:lnTo>
                  <a:pt x="2786" y="126"/>
                </a:lnTo>
                <a:lnTo>
                  <a:pt x="2623" y="126"/>
                </a:lnTo>
                <a:lnTo>
                  <a:pt x="2623" y="341"/>
                </a:lnTo>
                <a:lnTo>
                  <a:pt x="2756" y="341"/>
                </a:lnTo>
                <a:lnTo>
                  <a:pt x="2756" y="445"/>
                </a:lnTo>
                <a:lnTo>
                  <a:pt x="2623" y="445"/>
                </a:lnTo>
                <a:lnTo>
                  <a:pt x="2623" y="683"/>
                </a:lnTo>
                <a:lnTo>
                  <a:pt x="2786" y="683"/>
                </a:lnTo>
                <a:lnTo>
                  <a:pt x="2786" y="788"/>
                </a:lnTo>
                <a:lnTo>
                  <a:pt x="2558" y="788"/>
                </a:lnTo>
                <a:close/>
                <a:moveTo>
                  <a:pt x="2939" y="18"/>
                </a:moveTo>
                <a:lnTo>
                  <a:pt x="3030" y="439"/>
                </a:lnTo>
                <a:lnTo>
                  <a:pt x="3038" y="477"/>
                </a:lnTo>
                <a:lnTo>
                  <a:pt x="3042" y="495"/>
                </a:lnTo>
                <a:lnTo>
                  <a:pt x="3046" y="515"/>
                </a:lnTo>
                <a:lnTo>
                  <a:pt x="3053" y="553"/>
                </a:lnTo>
                <a:lnTo>
                  <a:pt x="3060" y="595"/>
                </a:lnTo>
                <a:lnTo>
                  <a:pt x="3060" y="509"/>
                </a:lnTo>
                <a:lnTo>
                  <a:pt x="3059" y="421"/>
                </a:lnTo>
                <a:lnTo>
                  <a:pt x="3059" y="18"/>
                </a:lnTo>
                <a:lnTo>
                  <a:pt x="3124" y="18"/>
                </a:lnTo>
                <a:lnTo>
                  <a:pt x="3124" y="788"/>
                </a:lnTo>
                <a:lnTo>
                  <a:pt x="3046" y="788"/>
                </a:lnTo>
                <a:lnTo>
                  <a:pt x="2954" y="369"/>
                </a:lnTo>
                <a:lnTo>
                  <a:pt x="2946" y="331"/>
                </a:lnTo>
                <a:lnTo>
                  <a:pt x="2938" y="293"/>
                </a:lnTo>
                <a:lnTo>
                  <a:pt x="2931" y="255"/>
                </a:lnTo>
                <a:lnTo>
                  <a:pt x="2923" y="214"/>
                </a:lnTo>
                <a:lnTo>
                  <a:pt x="2924" y="389"/>
                </a:lnTo>
                <a:lnTo>
                  <a:pt x="2924" y="790"/>
                </a:lnTo>
                <a:lnTo>
                  <a:pt x="2859" y="790"/>
                </a:lnTo>
                <a:lnTo>
                  <a:pt x="2859" y="18"/>
                </a:lnTo>
                <a:lnTo>
                  <a:pt x="2939" y="18"/>
                </a:lnTo>
                <a:close/>
                <a:moveTo>
                  <a:pt x="3306" y="18"/>
                </a:moveTo>
                <a:lnTo>
                  <a:pt x="3396" y="425"/>
                </a:lnTo>
                <a:lnTo>
                  <a:pt x="3404" y="463"/>
                </a:lnTo>
                <a:lnTo>
                  <a:pt x="3408" y="481"/>
                </a:lnTo>
                <a:lnTo>
                  <a:pt x="3412" y="501"/>
                </a:lnTo>
                <a:lnTo>
                  <a:pt x="3419" y="539"/>
                </a:lnTo>
                <a:lnTo>
                  <a:pt x="3426" y="581"/>
                </a:lnTo>
                <a:lnTo>
                  <a:pt x="3426" y="495"/>
                </a:lnTo>
                <a:lnTo>
                  <a:pt x="3426" y="407"/>
                </a:lnTo>
                <a:lnTo>
                  <a:pt x="3426" y="18"/>
                </a:lnTo>
                <a:lnTo>
                  <a:pt x="3491" y="18"/>
                </a:lnTo>
                <a:lnTo>
                  <a:pt x="3491" y="788"/>
                </a:lnTo>
                <a:lnTo>
                  <a:pt x="3412" y="788"/>
                </a:lnTo>
                <a:lnTo>
                  <a:pt x="3320" y="383"/>
                </a:lnTo>
                <a:lnTo>
                  <a:pt x="3312" y="345"/>
                </a:lnTo>
                <a:lnTo>
                  <a:pt x="3305" y="307"/>
                </a:lnTo>
                <a:lnTo>
                  <a:pt x="3297" y="269"/>
                </a:lnTo>
                <a:lnTo>
                  <a:pt x="3290" y="228"/>
                </a:lnTo>
                <a:lnTo>
                  <a:pt x="3290" y="403"/>
                </a:lnTo>
                <a:lnTo>
                  <a:pt x="3290" y="788"/>
                </a:lnTo>
                <a:lnTo>
                  <a:pt x="3226" y="788"/>
                </a:lnTo>
                <a:lnTo>
                  <a:pt x="3226" y="18"/>
                </a:lnTo>
                <a:lnTo>
                  <a:pt x="3306" y="18"/>
                </a:lnTo>
                <a:close/>
                <a:moveTo>
                  <a:pt x="3618" y="735"/>
                </a:moveTo>
                <a:lnTo>
                  <a:pt x="3611" y="719"/>
                </a:lnTo>
                <a:lnTo>
                  <a:pt x="3605" y="701"/>
                </a:lnTo>
                <a:lnTo>
                  <a:pt x="3599" y="681"/>
                </a:lnTo>
                <a:lnTo>
                  <a:pt x="3597" y="669"/>
                </a:lnTo>
                <a:lnTo>
                  <a:pt x="3595" y="659"/>
                </a:lnTo>
                <a:lnTo>
                  <a:pt x="3591" y="635"/>
                </a:lnTo>
                <a:lnTo>
                  <a:pt x="3589" y="609"/>
                </a:lnTo>
                <a:lnTo>
                  <a:pt x="3588" y="595"/>
                </a:lnTo>
                <a:lnTo>
                  <a:pt x="3587" y="581"/>
                </a:lnTo>
                <a:lnTo>
                  <a:pt x="3587" y="549"/>
                </a:lnTo>
                <a:lnTo>
                  <a:pt x="3587" y="18"/>
                </a:lnTo>
                <a:lnTo>
                  <a:pt x="3652" y="18"/>
                </a:lnTo>
                <a:lnTo>
                  <a:pt x="3652" y="543"/>
                </a:lnTo>
                <a:lnTo>
                  <a:pt x="3652" y="563"/>
                </a:lnTo>
                <a:lnTo>
                  <a:pt x="3652" y="581"/>
                </a:lnTo>
                <a:lnTo>
                  <a:pt x="3653" y="597"/>
                </a:lnTo>
                <a:lnTo>
                  <a:pt x="3655" y="611"/>
                </a:lnTo>
                <a:lnTo>
                  <a:pt x="3657" y="625"/>
                </a:lnTo>
                <a:lnTo>
                  <a:pt x="3659" y="637"/>
                </a:lnTo>
                <a:lnTo>
                  <a:pt x="3662" y="649"/>
                </a:lnTo>
                <a:lnTo>
                  <a:pt x="3665" y="659"/>
                </a:lnTo>
                <a:lnTo>
                  <a:pt x="3669" y="667"/>
                </a:lnTo>
                <a:lnTo>
                  <a:pt x="3674" y="675"/>
                </a:lnTo>
                <a:lnTo>
                  <a:pt x="3679" y="683"/>
                </a:lnTo>
                <a:lnTo>
                  <a:pt x="3685" y="689"/>
                </a:lnTo>
                <a:lnTo>
                  <a:pt x="3688" y="691"/>
                </a:lnTo>
                <a:lnTo>
                  <a:pt x="3692" y="693"/>
                </a:lnTo>
                <a:lnTo>
                  <a:pt x="3699" y="697"/>
                </a:lnTo>
                <a:lnTo>
                  <a:pt x="3706" y="699"/>
                </a:lnTo>
                <a:lnTo>
                  <a:pt x="3715" y="699"/>
                </a:lnTo>
                <a:lnTo>
                  <a:pt x="3723" y="699"/>
                </a:lnTo>
                <a:lnTo>
                  <a:pt x="3731" y="697"/>
                </a:lnTo>
                <a:lnTo>
                  <a:pt x="3738" y="693"/>
                </a:lnTo>
                <a:lnTo>
                  <a:pt x="3744" y="689"/>
                </a:lnTo>
                <a:lnTo>
                  <a:pt x="3750" y="683"/>
                </a:lnTo>
                <a:lnTo>
                  <a:pt x="3755" y="675"/>
                </a:lnTo>
                <a:lnTo>
                  <a:pt x="3760" y="667"/>
                </a:lnTo>
                <a:lnTo>
                  <a:pt x="3764" y="659"/>
                </a:lnTo>
                <a:lnTo>
                  <a:pt x="3768" y="649"/>
                </a:lnTo>
                <a:lnTo>
                  <a:pt x="3770" y="637"/>
                </a:lnTo>
                <a:lnTo>
                  <a:pt x="3773" y="625"/>
                </a:lnTo>
                <a:lnTo>
                  <a:pt x="3775" y="613"/>
                </a:lnTo>
                <a:lnTo>
                  <a:pt x="3776" y="597"/>
                </a:lnTo>
                <a:lnTo>
                  <a:pt x="3777" y="581"/>
                </a:lnTo>
                <a:lnTo>
                  <a:pt x="3778" y="563"/>
                </a:lnTo>
                <a:lnTo>
                  <a:pt x="3778" y="543"/>
                </a:lnTo>
                <a:lnTo>
                  <a:pt x="3778" y="18"/>
                </a:lnTo>
                <a:lnTo>
                  <a:pt x="3843" y="18"/>
                </a:lnTo>
                <a:lnTo>
                  <a:pt x="3843" y="549"/>
                </a:lnTo>
                <a:lnTo>
                  <a:pt x="3843" y="581"/>
                </a:lnTo>
                <a:lnTo>
                  <a:pt x="3842" y="595"/>
                </a:lnTo>
                <a:lnTo>
                  <a:pt x="3841" y="609"/>
                </a:lnTo>
                <a:lnTo>
                  <a:pt x="3838" y="635"/>
                </a:lnTo>
                <a:lnTo>
                  <a:pt x="3835" y="659"/>
                </a:lnTo>
                <a:lnTo>
                  <a:pt x="3833" y="669"/>
                </a:lnTo>
                <a:lnTo>
                  <a:pt x="3830" y="681"/>
                </a:lnTo>
                <a:lnTo>
                  <a:pt x="3825" y="701"/>
                </a:lnTo>
                <a:lnTo>
                  <a:pt x="3822" y="709"/>
                </a:lnTo>
                <a:lnTo>
                  <a:pt x="3819" y="719"/>
                </a:lnTo>
                <a:lnTo>
                  <a:pt x="3815" y="727"/>
                </a:lnTo>
                <a:lnTo>
                  <a:pt x="3812" y="735"/>
                </a:lnTo>
                <a:lnTo>
                  <a:pt x="3807" y="744"/>
                </a:lnTo>
                <a:lnTo>
                  <a:pt x="3802" y="752"/>
                </a:lnTo>
                <a:lnTo>
                  <a:pt x="3792" y="766"/>
                </a:lnTo>
                <a:lnTo>
                  <a:pt x="3781" y="778"/>
                </a:lnTo>
                <a:lnTo>
                  <a:pt x="3775" y="784"/>
                </a:lnTo>
                <a:lnTo>
                  <a:pt x="3769" y="788"/>
                </a:lnTo>
                <a:lnTo>
                  <a:pt x="3757" y="796"/>
                </a:lnTo>
                <a:lnTo>
                  <a:pt x="3750" y="800"/>
                </a:lnTo>
                <a:lnTo>
                  <a:pt x="3743" y="802"/>
                </a:lnTo>
                <a:lnTo>
                  <a:pt x="3729" y="806"/>
                </a:lnTo>
                <a:lnTo>
                  <a:pt x="3722" y="806"/>
                </a:lnTo>
                <a:lnTo>
                  <a:pt x="3715" y="806"/>
                </a:lnTo>
                <a:lnTo>
                  <a:pt x="3700" y="806"/>
                </a:lnTo>
                <a:lnTo>
                  <a:pt x="3686" y="802"/>
                </a:lnTo>
                <a:lnTo>
                  <a:pt x="3679" y="800"/>
                </a:lnTo>
                <a:lnTo>
                  <a:pt x="3673" y="796"/>
                </a:lnTo>
                <a:lnTo>
                  <a:pt x="3660" y="788"/>
                </a:lnTo>
                <a:lnTo>
                  <a:pt x="3648" y="778"/>
                </a:lnTo>
                <a:lnTo>
                  <a:pt x="3637" y="766"/>
                </a:lnTo>
                <a:lnTo>
                  <a:pt x="3627" y="750"/>
                </a:lnTo>
                <a:lnTo>
                  <a:pt x="3623" y="742"/>
                </a:lnTo>
                <a:lnTo>
                  <a:pt x="3618" y="735"/>
                </a:lnTo>
                <a:close/>
                <a:moveTo>
                  <a:pt x="4052" y="806"/>
                </a:moveTo>
                <a:lnTo>
                  <a:pt x="4036" y="806"/>
                </a:lnTo>
                <a:lnTo>
                  <a:pt x="4020" y="802"/>
                </a:lnTo>
                <a:lnTo>
                  <a:pt x="4006" y="796"/>
                </a:lnTo>
                <a:lnTo>
                  <a:pt x="4000" y="792"/>
                </a:lnTo>
                <a:lnTo>
                  <a:pt x="3993" y="788"/>
                </a:lnTo>
                <a:lnTo>
                  <a:pt x="3981" y="780"/>
                </a:lnTo>
                <a:lnTo>
                  <a:pt x="3975" y="774"/>
                </a:lnTo>
                <a:lnTo>
                  <a:pt x="3970" y="768"/>
                </a:lnTo>
                <a:lnTo>
                  <a:pt x="3960" y="756"/>
                </a:lnTo>
                <a:lnTo>
                  <a:pt x="3956" y="748"/>
                </a:lnTo>
                <a:lnTo>
                  <a:pt x="3951" y="740"/>
                </a:lnTo>
                <a:lnTo>
                  <a:pt x="3947" y="733"/>
                </a:lnTo>
                <a:lnTo>
                  <a:pt x="3943" y="725"/>
                </a:lnTo>
                <a:lnTo>
                  <a:pt x="3939" y="717"/>
                </a:lnTo>
                <a:lnTo>
                  <a:pt x="3936" y="707"/>
                </a:lnTo>
                <a:lnTo>
                  <a:pt x="3930" y="687"/>
                </a:lnTo>
                <a:lnTo>
                  <a:pt x="3926" y="667"/>
                </a:lnTo>
                <a:lnTo>
                  <a:pt x="3924" y="657"/>
                </a:lnTo>
                <a:lnTo>
                  <a:pt x="3922" y="645"/>
                </a:lnTo>
                <a:lnTo>
                  <a:pt x="3919" y="623"/>
                </a:lnTo>
                <a:lnTo>
                  <a:pt x="3918" y="599"/>
                </a:lnTo>
                <a:lnTo>
                  <a:pt x="3917" y="585"/>
                </a:lnTo>
                <a:lnTo>
                  <a:pt x="3917" y="573"/>
                </a:lnTo>
                <a:lnTo>
                  <a:pt x="3980" y="545"/>
                </a:lnTo>
                <a:lnTo>
                  <a:pt x="3981" y="567"/>
                </a:lnTo>
                <a:lnTo>
                  <a:pt x="3982" y="587"/>
                </a:lnTo>
                <a:lnTo>
                  <a:pt x="3984" y="603"/>
                </a:lnTo>
                <a:lnTo>
                  <a:pt x="3986" y="619"/>
                </a:lnTo>
                <a:lnTo>
                  <a:pt x="3988" y="627"/>
                </a:lnTo>
                <a:lnTo>
                  <a:pt x="3989" y="635"/>
                </a:lnTo>
                <a:lnTo>
                  <a:pt x="3993" y="647"/>
                </a:lnTo>
                <a:lnTo>
                  <a:pt x="3997" y="659"/>
                </a:lnTo>
                <a:lnTo>
                  <a:pt x="4001" y="667"/>
                </a:lnTo>
                <a:lnTo>
                  <a:pt x="4006" y="677"/>
                </a:lnTo>
                <a:lnTo>
                  <a:pt x="4012" y="683"/>
                </a:lnTo>
                <a:lnTo>
                  <a:pt x="4018" y="689"/>
                </a:lnTo>
                <a:lnTo>
                  <a:pt x="4025" y="693"/>
                </a:lnTo>
                <a:lnTo>
                  <a:pt x="4032" y="697"/>
                </a:lnTo>
                <a:lnTo>
                  <a:pt x="4039" y="699"/>
                </a:lnTo>
                <a:lnTo>
                  <a:pt x="4047" y="701"/>
                </a:lnTo>
                <a:lnTo>
                  <a:pt x="4056" y="701"/>
                </a:lnTo>
                <a:lnTo>
                  <a:pt x="4063" y="701"/>
                </a:lnTo>
                <a:lnTo>
                  <a:pt x="4070" y="699"/>
                </a:lnTo>
                <a:lnTo>
                  <a:pt x="4077" y="697"/>
                </a:lnTo>
                <a:lnTo>
                  <a:pt x="4083" y="695"/>
                </a:lnTo>
                <a:lnTo>
                  <a:pt x="4089" y="691"/>
                </a:lnTo>
                <a:lnTo>
                  <a:pt x="4095" y="685"/>
                </a:lnTo>
                <a:lnTo>
                  <a:pt x="4100" y="679"/>
                </a:lnTo>
                <a:lnTo>
                  <a:pt x="4105" y="673"/>
                </a:lnTo>
                <a:lnTo>
                  <a:pt x="4109" y="665"/>
                </a:lnTo>
                <a:lnTo>
                  <a:pt x="4113" y="657"/>
                </a:lnTo>
                <a:lnTo>
                  <a:pt x="4116" y="649"/>
                </a:lnTo>
                <a:lnTo>
                  <a:pt x="4119" y="639"/>
                </a:lnTo>
                <a:lnTo>
                  <a:pt x="4121" y="627"/>
                </a:lnTo>
                <a:lnTo>
                  <a:pt x="4122" y="623"/>
                </a:lnTo>
                <a:lnTo>
                  <a:pt x="4123" y="617"/>
                </a:lnTo>
                <a:lnTo>
                  <a:pt x="4124" y="605"/>
                </a:lnTo>
                <a:lnTo>
                  <a:pt x="4124" y="591"/>
                </a:lnTo>
                <a:lnTo>
                  <a:pt x="4124" y="581"/>
                </a:lnTo>
                <a:lnTo>
                  <a:pt x="4123" y="571"/>
                </a:lnTo>
                <a:lnTo>
                  <a:pt x="4122" y="563"/>
                </a:lnTo>
                <a:lnTo>
                  <a:pt x="4121" y="553"/>
                </a:lnTo>
                <a:lnTo>
                  <a:pt x="4119" y="545"/>
                </a:lnTo>
                <a:lnTo>
                  <a:pt x="4117" y="537"/>
                </a:lnTo>
                <a:lnTo>
                  <a:pt x="4115" y="529"/>
                </a:lnTo>
                <a:lnTo>
                  <a:pt x="4112" y="521"/>
                </a:lnTo>
                <a:lnTo>
                  <a:pt x="4104" y="505"/>
                </a:lnTo>
                <a:lnTo>
                  <a:pt x="4100" y="497"/>
                </a:lnTo>
                <a:lnTo>
                  <a:pt x="4095" y="491"/>
                </a:lnTo>
                <a:lnTo>
                  <a:pt x="4084" y="477"/>
                </a:lnTo>
                <a:lnTo>
                  <a:pt x="4071" y="465"/>
                </a:lnTo>
                <a:lnTo>
                  <a:pt x="4007" y="407"/>
                </a:lnTo>
                <a:lnTo>
                  <a:pt x="3998" y="399"/>
                </a:lnTo>
                <a:lnTo>
                  <a:pt x="3988" y="389"/>
                </a:lnTo>
                <a:lnTo>
                  <a:pt x="3972" y="369"/>
                </a:lnTo>
                <a:lnTo>
                  <a:pt x="3958" y="349"/>
                </a:lnTo>
                <a:lnTo>
                  <a:pt x="3953" y="337"/>
                </a:lnTo>
                <a:lnTo>
                  <a:pt x="3947" y="325"/>
                </a:lnTo>
                <a:lnTo>
                  <a:pt x="3942" y="313"/>
                </a:lnTo>
                <a:lnTo>
                  <a:pt x="3937" y="299"/>
                </a:lnTo>
                <a:lnTo>
                  <a:pt x="3934" y="285"/>
                </a:lnTo>
                <a:lnTo>
                  <a:pt x="3931" y="269"/>
                </a:lnTo>
                <a:lnTo>
                  <a:pt x="3929" y="253"/>
                </a:lnTo>
                <a:lnTo>
                  <a:pt x="3928" y="246"/>
                </a:lnTo>
                <a:lnTo>
                  <a:pt x="3927" y="238"/>
                </a:lnTo>
                <a:lnTo>
                  <a:pt x="3927" y="220"/>
                </a:lnTo>
                <a:lnTo>
                  <a:pt x="3926" y="200"/>
                </a:lnTo>
                <a:lnTo>
                  <a:pt x="3926" y="188"/>
                </a:lnTo>
                <a:lnTo>
                  <a:pt x="3927" y="176"/>
                </a:lnTo>
                <a:lnTo>
                  <a:pt x="3928" y="164"/>
                </a:lnTo>
                <a:lnTo>
                  <a:pt x="3929" y="152"/>
                </a:lnTo>
                <a:lnTo>
                  <a:pt x="3930" y="142"/>
                </a:lnTo>
                <a:lnTo>
                  <a:pt x="3932" y="132"/>
                </a:lnTo>
                <a:lnTo>
                  <a:pt x="3936" y="112"/>
                </a:lnTo>
                <a:lnTo>
                  <a:pt x="3939" y="102"/>
                </a:lnTo>
                <a:lnTo>
                  <a:pt x="3942" y="94"/>
                </a:lnTo>
                <a:lnTo>
                  <a:pt x="3949" y="78"/>
                </a:lnTo>
                <a:lnTo>
                  <a:pt x="3957" y="62"/>
                </a:lnTo>
                <a:lnTo>
                  <a:pt x="3961" y="56"/>
                </a:lnTo>
                <a:lnTo>
                  <a:pt x="3965" y="50"/>
                </a:lnTo>
                <a:lnTo>
                  <a:pt x="3974" y="38"/>
                </a:lnTo>
                <a:lnTo>
                  <a:pt x="3984" y="28"/>
                </a:lnTo>
                <a:lnTo>
                  <a:pt x="3994" y="20"/>
                </a:lnTo>
                <a:lnTo>
                  <a:pt x="4005" y="12"/>
                </a:lnTo>
                <a:lnTo>
                  <a:pt x="4017" y="6"/>
                </a:lnTo>
                <a:lnTo>
                  <a:pt x="4029" y="4"/>
                </a:lnTo>
                <a:lnTo>
                  <a:pt x="4042" y="0"/>
                </a:lnTo>
                <a:lnTo>
                  <a:pt x="4055" y="0"/>
                </a:lnTo>
                <a:lnTo>
                  <a:pt x="4070" y="2"/>
                </a:lnTo>
                <a:lnTo>
                  <a:pt x="4085" y="4"/>
                </a:lnTo>
                <a:lnTo>
                  <a:pt x="4098" y="10"/>
                </a:lnTo>
                <a:lnTo>
                  <a:pt x="4104" y="14"/>
                </a:lnTo>
                <a:lnTo>
                  <a:pt x="4110" y="18"/>
                </a:lnTo>
                <a:lnTo>
                  <a:pt x="4122" y="26"/>
                </a:lnTo>
                <a:lnTo>
                  <a:pt x="4132" y="38"/>
                </a:lnTo>
                <a:lnTo>
                  <a:pt x="4141" y="50"/>
                </a:lnTo>
                <a:lnTo>
                  <a:pt x="4149" y="64"/>
                </a:lnTo>
                <a:lnTo>
                  <a:pt x="4153" y="72"/>
                </a:lnTo>
                <a:lnTo>
                  <a:pt x="4156" y="78"/>
                </a:lnTo>
                <a:lnTo>
                  <a:pt x="4159" y="86"/>
                </a:lnTo>
                <a:lnTo>
                  <a:pt x="4162" y="94"/>
                </a:lnTo>
                <a:lnTo>
                  <a:pt x="4167" y="112"/>
                </a:lnTo>
                <a:lnTo>
                  <a:pt x="4172" y="128"/>
                </a:lnTo>
                <a:lnTo>
                  <a:pt x="4175" y="146"/>
                </a:lnTo>
                <a:lnTo>
                  <a:pt x="4177" y="166"/>
                </a:lnTo>
                <a:lnTo>
                  <a:pt x="4179" y="184"/>
                </a:lnTo>
                <a:lnTo>
                  <a:pt x="4179" y="202"/>
                </a:lnTo>
                <a:lnTo>
                  <a:pt x="4117" y="228"/>
                </a:lnTo>
                <a:lnTo>
                  <a:pt x="4117" y="212"/>
                </a:lnTo>
                <a:lnTo>
                  <a:pt x="4115" y="198"/>
                </a:lnTo>
                <a:lnTo>
                  <a:pt x="4114" y="186"/>
                </a:lnTo>
                <a:lnTo>
                  <a:pt x="4112" y="172"/>
                </a:lnTo>
                <a:lnTo>
                  <a:pt x="4109" y="162"/>
                </a:lnTo>
                <a:lnTo>
                  <a:pt x="4106" y="152"/>
                </a:lnTo>
                <a:lnTo>
                  <a:pt x="4103" y="142"/>
                </a:lnTo>
                <a:lnTo>
                  <a:pt x="4099" y="136"/>
                </a:lnTo>
                <a:lnTo>
                  <a:pt x="4095" y="128"/>
                </a:lnTo>
                <a:lnTo>
                  <a:pt x="4090" y="122"/>
                </a:lnTo>
                <a:lnTo>
                  <a:pt x="4085" y="118"/>
                </a:lnTo>
                <a:lnTo>
                  <a:pt x="4079" y="114"/>
                </a:lnTo>
                <a:lnTo>
                  <a:pt x="4073" y="110"/>
                </a:lnTo>
                <a:lnTo>
                  <a:pt x="4067" y="108"/>
                </a:lnTo>
                <a:lnTo>
                  <a:pt x="4060" y="108"/>
                </a:lnTo>
                <a:lnTo>
                  <a:pt x="4052" y="106"/>
                </a:lnTo>
                <a:lnTo>
                  <a:pt x="4040" y="108"/>
                </a:lnTo>
                <a:lnTo>
                  <a:pt x="4028" y="112"/>
                </a:lnTo>
                <a:lnTo>
                  <a:pt x="4023" y="116"/>
                </a:lnTo>
                <a:lnTo>
                  <a:pt x="4018" y="120"/>
                </a:lnTo>
                <a:lnTo>
                  <a:pt x="4013" y="124"/>
                </a:lnTo>
                <a:lnTo>
                  <a:pt x="4009" y="128"/>
                </a:lnTo>
                <a:lnTo>
                  <a:pt x="4005" y="134"/>
                </a:lnTo>
                <a:lnTo>
                  <a:pt x="4002" y="140"/>
                </a:lnTo>
                <a:lnTo>
                  <a:pt x="3999" y="148"/>
                </a:lnTo>
                <a:lnTo>
                  <a:pt x="3996" y="156"/>
                </a:lnTo>
                <a:lnTo>
                  <a:pt x="3994" y="164"/>
                </a:lnTo>
                <a:lnTo>
                  <a:pt x="3993" y="174"/>
                </a:lnTo>
                <a:lnTo>
                  <a:pt x="3992" y="184"/>
                </a:lnTo>
                <a:lnTo>
                  <a:pt x="3992" y="194"/>
                </a:lnTo>
                <a:lnTo>
                  <a:pt x="3992" y="204"/>
                </a:lnTo>
                <a:lnTo>
                  <a:pt x="3992" y="214"/>
                </a:lnTo>
                <a:lnTo>
                  <a:pt x="3993" y="224"/>
                </a:lnTo>
                <a:lnTo>
                  <a:pt x="3994" y="232"/>
                </a:lnTo>
                <a:lnTo>
                  <a:pt x="3996" y="240"/>
                </a:lnTo>
                <a:lnTo>
                  <a:pt x="3998" y="248"/>
                </a:lnTo>
                <a:lnTo>
                  <a:pt x="4001" y="255"/>
                </a:lnTo>
                <a:lnTo>
                  <a:pt x="4003" y="261"/>
                </a:lnTo>
                <a:lnTo>
                  <a:pt x="4007" y="267"/>
                </a:lnTo>
                <a:lnTo>
                  <a:pt x="4010" y="273"/>
                </a:lnTo>
                <a:lnTo>
                  <a:pt x="4019" y="285"/>
                </a:lnTo>
                <a:lnTo>
                  <a:pt x="4029" y="297"/>
                </a:lnTo>
                <a:lnTo>
                  <a:pt x="4041" y="309"/>
                </a:lnTo>
                <a:lnTo>
                  <a:pt x="4103" y="363"/>
                </a:lnTo>
                <a:lnTo>
                  <a:pt x="4113" y="373"/>
                </a:lnTo>
                <a:lnTo>
                  <a:pt x="4123" y="383"/>
                </a:lnTo>
                <a:lnTo>
                  <a:pt x="4133" y="393"/>
                </a:lnTo>
                <a:lnTo>
                  <a:pt x="4141" y="405"/>
                </a:lnTo>
                <a:lnTo>
                  <a:pt x="4149" y="417"/>
                </a:lnTo>
                <a:lnTo>
                  <a:pt x="4156" y="427"/>
                </a:lnTo>
                <a:lnTo>
                  <a:pt x="4162" y="441"/>
                </a:lnTo>
                <a:lnTo>
                  <a:pt x="4168" y="453"/>
                </a:lnTo>
                <a:lnTo>
                  <a:pt x="4173" y="467"/>
                </a:lnTo>
                <a:lnTo>
                  <a:pt x="4177" y="481"/>
                </a:lnTo>
                <a:lnTo>
                  <a:pt x="4181" y="495"/>
                </a:lnTo>
                <a:lnTo>
                  <a:pt x="4184" y="511"/>
                </a:lnTo>
                <a:lnTo>
                  <a:pt x="4186" y="527"/>
                </a:lnTo>
                <a:lnTo>
                  <a:pt x="4187" y="537"/>
                </a:lnTo>
                <a:lnTo>
                  <a:pt x="4187" y="545"/>
                </a:lnTo>
                <a:lnTo>
                  <a:pt x="4188" y="563"/>
                </a:lnTo>
                <a:lnTo>
                  <a:pt x="4189" y="583"/>
                </a:lnTo>
                <a:lnTo>
                  <a:pt x="4188" y="609"/>
                </a:lnTo>
                <a:lnTo>
                  <a:pt x="4186" y="633"/>
                </a:lnTo>
                <a:lnTo>
                  <a:pt x="4185" y="645"/>
                </a:lnTo>
                <a:lnTo>
                  <a:pt x="4183" y="655"/>
                </a:lnTo>
                <a:lnTo>
                  <a:pt x="4181" y="667"/>
                </a:lnTo>
                <a:lnTo>
                  <a:pt x="4179" y="677"/>
                </a:lnTo>
                <a:lnTo>
                  <a:pt x="4177" y="687"/>
                </a:lnTo>
                <a:lnTo>
                  <a:pt x="4174" y="697"/>
                </a:lnTo>
                <a:lnTo>
                  <a:pt x="4167" y="715"/>
                </a:lnTo>
                <a:lnTo>
                  <a:pt x="4164" y="723"/>
                </a:lnTo>
                <a:lnTo>
                  <a:pt x="4160" y="733"/>
                </a:lnTo>
                <a:lnTo>
                  <a:pt x="4152" y="746"/>
                </a:lnTo>
                <a:lnTo>
                  <a:pt x="4147" y="754"/>
                </a:lnTo>
                <a:lnTo>
                  <a:pt x="4142" y="760"/>
                </a:lnTo>
                <a:lnTo>
                  <a:pt x="4137" y="766"/>
                </a:lnTo>
                <a:lnTo>
                  <a:pt x="4132" y="772"/>
                </a:lnTo>
                <a:lnTo>
                  <a:pt x="4121" y="782"/>
                </a:lnTo>
                <a:lnTo>
                  <a:pt x="4109" y="790"/>
                </a:lnTo>
                <a:lnTo>
                  <a:pt x="4096" y="798"/>
                </a:lnTo>
                <a:lnTo>
                  <a:pt x="4082" y="802"/>
                </a:lnTo>
                <a:lnTo>
                  <a:pt x="4075" y="804"/>
                </a:lnTo>
                <a:lnTo>
                  <a:pt x="4068" y="804"/>
                </a:lnTo>
                <a:lnTo>
                  <a:pt x="4052" y="806"/>
                </a:lnTo>
                <a:close/>
                <a:moveTo>
                  <a:pt x="1669" y="1273"/>
                </a:moveTo>
                <a:lnTo>
                  <a:pt x="1669" y="1936"/>
                </a:lnTo>
                <a:lnTo>
                  <a:pt x="1604" y="1936"/>
                </a:lnTo>
                <a:lnTo>
                  <a:pt x="1604" y="1273"/>
                </a:lnTo>
                <a:lnTo>
                  <a:pt x="1506" y="1273"/>
                </a:lnTo>
                <a:lnTo>
                  <a:pt x="1506" y="1166"/>
                </a:lnTo>
                <a:lnTo>
                  <a:pt x="1767" y="1166"/>
                </a:lnTo>
                <a:lnTo>
                  <a:pt x="1767" y="1273"/>
                </a:lnTo>
                <a:lnTo>
                  <a:pt x="1669" y="1273"/>
                </a:lnTo>
                <a:close/>
                <a:moveTo>
                  <a:pt x="1832" y="1936"/>
                </a:moveTo>
                <a:lnTo>
                  <a:pt x="1832" y="1166"/>
                </a:lnTo>
                <a:lnTo>
                  <a:pt x="2060" y="1166"/>
                </a:lnTo>
                <a:lnTo>
                  <a:pt x="2060" y="1273"/>
                </a:lnTo>
                <a:lnTo>
                  <a:pt x="1897" y="1273"/>
                </a:lnTo>
                <a:lnTo>
                  <a:pt x="1897" y="1489"/>
                </a:lnTo>
                <a:lnTo>
                  <a:pt x="2030" y="1489"/>
                </a:lnTo>
                <a:lnTo>
                  <a:pt x="2030" y="1593"/>
                </a:lnTo>
                <a:lnTo>
                  <a:pt x="1897" y="1593"/>
                </a:lnTo>
                <a:lnTo>
                  <a:pt x="1897" y="1828"/>
                </a:lnTo>
                <a:lnTo>
                  <a:pt x="2060" y="1828"/>
                </a:lnTo>
                <a:lnTo>
                  <a:pt x="2060" y="1936"/>
                </a:lnTo>
                <a:lnTo>
                  <a:pt x="1832" y="1936"/>
                </a:lnTo>
                <a:close/>
                <a:moveTo>
                  <a:pt x="2260" y="1954"/>
                </a:moveTo>
                <a:lnTo>
                  <a:pt x="2251" y="1954"/>
                </a:lnTo>
                <a:lnTo>
                  <a:pt x="2242" y="1952"/>
                </a:lnTo>
                <a:lnTo>
                  <a:pt x="2234" y="1950"/>
                </a:lnTo>
                <a:lnTo>
                  <a:pt x="2226" y="1948"/>
                </a:lnTo>
                <a:lnTo>
                  <a:pt x="2218" y="1944"/>
                </a:lnTo>
                <a:lnTo>
                  <a:pt x="2211" y="1938"/>
                </a:lnTo>
                <a:lnTo>
                  <a:pt x="2204" y="1932"/>
                </a:lnTo>
                <a:lnTo>
                  <a:pt x="2197" y="1926"/>
                </a:lnTo>
                <a:lnTo>
                  <a:pt x="2190" y="1920"/>
                </a:lnTo>
                <a:lnTo>
                  <a:pt x="2184" y="1912"/>
                </a:lnTo>
                <a:lnTo>
                  <a:pt x="2178" y="1902"/>
                </a:lnTo>
                <a:lnTo>
                  <a:pt x="2172" y="1892"/>
                </a:lnTo>
                <a:lnTo>
                  <a:pt x="2166" y="1882"/>
                </a:lnTo>
                <a:lnTo>
                  <a:pt x="2161" y="1872"/>
                </a:lnTo>
                <a:lnTo>
                  <a:pt x="2156" y="1860"/>
                </a:lnTo>
                <a:lnTo>
                  <a:pt x="2151" y="1846"/>
                </a:lnTo>
                <a:lnTo>
                  <a:pt x="2147" y="1834"/>
                </a:lnTo>
                <a:lnTo>
                  <a:pt x="2143" y="1820"/>
                </a:lnTo>
                <a:lnTo>
                  <a:pt x="2139" y="1804"/>
                </a:lnTo>
                <a:lnTo>
                  <a:pt x="2135" y="1788"/>
                </a:lnTo>
                <a:lnTo>
                  <a:pt x="2132" y="1772"/>
                </a:lnTo>
                <a:lnTo>
                  <a:pt x="2129" y="1756"/>
                </a:lnTo>
                <a:lnTo>
                  <a:pt x="2126" y="1738"/>
                </a:lnTo>
                <a:lnTo>
                  <a:pt x="2124" y="1720"/>
                </a:lnTo>
                <a:lnTo>
                  <a:pt x="2121" y="1701"/>
                </a:lnTo>
                <a:lnTo>
                  <a:pt x="2120" y="1681"/>
                </a:lnTo>
                <a:lnTo>
                  <a:pt x="2118" y="1661"/>
                </a:lnTo>
                <a:lnTo>
                  <a:pt x="2117" y="1641"/>
                </a:lnTo>
                <a:lnTo>
                  <a:pt x="2115" y="1597"/>
                </a:lnTo>
                <a:lnTo>
                  <a:pt x="2114" y="1575"/>
                </a:lnTo>
                <a:lnTo>
                  <a:pt x="2114" y="1551"/>
                </a:lnTo>
                <a:lnTo>
                  <a:pt x="2115" y="1505"/>
                </a:lnTo>
                <a:lnTo>
                  <a:pt x="2117" y="1461"/>
                </a:lnTo>
                <a:lnTo>
                  <a:pt x="2118" y="1441"/>
                </a:lnTo>
                <a:lnTo>
                  <a:pt x="2120" y="1421"/>
                </a:lnTo>
                <a:lnTo>
                  <a:pt x="2124" y="1383"/>
                </a:lnTo>
                <a:lnTo>
                  <a:pt x="2126" y="1363"/>
                </a:lnTo>
                <a:lnTo>
                  <a:pt x="2129" y="1347"/>
                </a:lnTo>
                <a:lnTo>
                  <a:pt x="2135" y="1313"/>
                </a:lnTo>
                <a:lnTo>
                  <a:pt x="2139" y="1297"/>
                </a:lnTo>
                <a:lnTo>
                  <a:pt x="2143" y="1283"/>
                </a:lnTo>
                <a:lnTo>
                  <a:pt x="2147" y="1269"/>
                </a:lnTo>
                <a:lnTo>
                  <a:pt x="2151" y="1255"/>
                </a:lnTo>
                <a:lnTo>
                  <a:pt x="2156" y="1243"/>
                </a:lnTo>
                <a:lnTo>
                  <a:pt x="2161" y="1231"/>
                </a:lnTo>
                <a:lnTo>
                  <a:pt x="2166" y="1220"/>
                </a:lnTo>
                <a:lnTo>
                  <a:pt x="2172" y="1210"/>
                </a:lnTo>
                <a:lnTo>
                  <a:pt x="2178" y="1200"/>
                </a:lnTo>
                <a:lnTo>
                  <a:pt x="2184" y="1192"/>
                </a:lnTo>
                <a:lnTo>
                  <a:pt x="2197" y="1176"/>
                </a:lnTo>
                <a:lnTo>
                  <a:pt x="2204" y="1170"/>
                </a:lnTo>
                <a:lnTo>
                  <a:pt x="2211" y="1164"/>
                </a:lnTo>
                <a:lnTo>
                  <a:pt x="2218" y="1160"/>
                </a:lnTo>
                <a:lnTo>
                  <a:pt x="2226" y="1156"/>
                </a:lnTo>
                <a:lnTo>
                  <a:pt x="2234" y="1152"/>
                </a:lnTo>
                <a:lnTo>
                  <a:pt x="2242" y="1150"/>
                </a:lnTo>
                <a:lnTo>
                  <a:pt x="2251" y="1148"/>
                </a:lnTo>
                <a:lnTo>
                  <a:pt x="2260" y="1148"/>
                </a:lnTo>
                <a:lnTo>
                  <a:pt x="2268" y="1148"/>
                </a:lnTo>
                <a:lnTo>
                  <a:pt x="2277" y="1150"/>
                </a:lnTo>
                <a:lnTo>
                  <a:pt x="2285" y="1152"/>
                </a:lnTo>
                <a:lnTo>
                  <a:pt x="2293" y="1156"/>
                </a:lnTo>
                <a:lnTo>
                  <a:pt x="2301" y="1160"/>
                </a:lnTo>
                <a:lnTo>
                  <a:pt x="2308" y="1164"/>
                </a:lnTo>
                <a:lnTo>
                  <a:pt x="2316" y="1170"/>
                </a:lnTo>
                <a:lnTo>
                  <a:pt x="2323" y="1176"/>
                </a:lnTo>
                <a:lnTo>
                  <a:pt x="2329" y="1184"/>
                </a:lnTo>
                <a:lnTo>
                  <a:pt x="2336" y="1192"/>
                </a:lnTo>
                <a:lnTo>
                  <a:pt x="2342" y="1200"/>
                </a:lnTo>
                <a:lnTo>
                  <a:pt x="2348" y="1210"/>
                </a:lnTo>
                <a:lnTo>
                  <a:pt x="2353" y="1220"/>
                </a:lnTo>
                <a:lnTo>
                  <a:pt x="2359" y="1229"/>
                </a:lnTo>
                <a:lnTo>
                  <a:pt x="2364" y="1241"/>
                </a:lnTo>
                <a:lnTo>
                  <a:pt x="2368" y="1255"/>
                </a:lnTo>
                <a:lnTo>
                  <a:pt x="2377" y="1283"/>
                </a:lnTo>
                <a:lnTo>
                  <a:pt x="2381" y="1297"/>
                </a:lnTo>
                <a:lnTo>
                  <a:pt x="2385" y="1313"/>
                </a:lnTo>
                <a:lnTo>
                  <a:pt x="2391" y="1345"/>
                </a:lnTo>
                <a:lnTo>
                  <a:pt x="2394" y="1363"/>
                </a:lnTo>
                <a:lnTo>
                  <a:pt x="2396" y="1381"/>
                </a:lnTo>
                <a:lnTo>
                  <a:pt x="2398" y="1401"/>
                </a:lnTo>
                <a:lnTo>
                  <a:pt x="2400" y="1421"/>
                </a:lnTo>
                <a:lnTo>
                  <a:pt x="2402" y="1441"/>
                </a:lnTo>
                <a:lnTo>
                  <a:pt x="2403" y="1461"/>
                </a:lnTo>
                <a:lnTo>
                  <a:pt x="2404" y="1483"/>
                </a:lnTo>
                <a:lnTo>
                  <a:pt x="2405" y="1505"/>
                </a:lnTo>
                <a:lnTo>
                  <a:pt x="2405" y="1527"/>
                </a:lnTo>
                <a:lnTo>
                  <a:pt x="2406" y="1551"/>
                </a:lnTo>
                <a:lnTo>
                  <a:pt x="2405" y="1597"/>
                </a:lnTo>
                <a:lnTo>
                  <a:pt x="2403" y="1641"/>
                </a:lnTo>
                <a:lnTo>
                  <a:pt x="2402" y="1663"/>
                </a:lnTo>
                <a:lnTo>
                  <a:pt x="2400" y="1683"/>
                </a:lnTo>
                <a:lnTo>
                  <a:pt x="2396" y="1720"/>
                </a:lnTo>
                <a:lnTo>
                  <a:pt x="2394" y="1738"/>
                </a:lnTo>
                <a:lnTo>
                  <a:pt x="2391" y="1756"/>
                </a:lnTo>
                <a:lnTo>
                  <a:pt x="2388" y="1772"/>
                </a:lnTo>
                <a:lnTo>
                  <a:pt x="2385" y="1790"/>
                </a:lnTo>
                <a:lnTo>
                  <a:pt x="2381" y="1804"/>
                </a:lnTo>
                <a:lnTo>
                  <a:pt x="2377" y="1820"/>
                </a:lnTo>
                <a:lnTo>
                  <a:pt x="2373" y="1834"/>
                </a:lnTo>
                <a:lnTo>
                  <a:pt x="2368" y="1846"/>
                </a:lnTo>
                <a:lnTo>
                  <a:pt x="2364" y="1860"/>
                </a:lnTo>
                <a:lnTo>
                  <a:pt x="2359" y="1872"/>
                </a:lnTo>
                <a:lnTo>
                  <a:pt x="2353" y="1882"/>
                </a:lnTo>
                <a:lnTo>
                  <a:pt x="2348" y="1894"/>
                </a:lnTo>
                <a:lnTo>
                  <a:pt x="2342" y="1902"/>
                </a:lnTo>
                <a:lnTo>
                  <a:pt x="2336" y="1912"/>
                </a:lnTo>
                <a:lnTo>
                  <a:pt x="2329" y="1920"/>
                </a:lnTo>
                <a:lnTo>
                  <a:pt x="2323" y="1926"/>
                </a:lnTo>
                <a:lnTo>
                  <a:pt x="2316" y="1934"/>
                </a:lnTo>
                <a:lnTo>
                  <a:pt x="2308" y="1938"/>
                </a:lnTo>
                <a:lnTo>
                  <a:pt x="2301" y="1944"/>
                </a:lnTo>
                <a:lnTo>
                  <a:pt x="2293" y="1948"/>
                </a:lnTo>
                <a:lnTo>
                  <a:pt x="2285" y="1950"/>
                </a:lnTo>
                <a:lnTo>
                  <a:pt x="2277" y="1952"/>
                </a:lnTo>
                <a:lnTo>
                  <a:pt x="2268" y="1954"/>
                </a:lnTo>
                <a:lnTo>
                  <a:pt x="2260" y="1954"/>
                </a:lnTo>
                <a:close/>
                <a:moveTo>
                  <a:pt x="2260" y="1257"/>
                </a:moveTo>
                <a:lnTo>
                  <a:pt x="2251" y="1257"/>
                </a:lnTo>
                <a:lnTo>
                  <a:pt x="2246" y="1259"/>
                </a:lnTo>
                <a:lnTo>
                  <a:pt x="2242" y="1259"/>
                </a:lnTo>
                <a:lnTo>
                  <a:pt x="2234" y="1265"/>
                </a:lnTo>
                <a:lnTo>
                  <a:pt x="2227" y="1271"/>
                </a:lnTo>
                <a:lnTo>
                  <a:pt x="2223" y="1275"/>
                </a:lnTo>
                <a:lnTo>
                  <a:pt x="2220" y="1281"/>
                </a:lnTo>
                <a:lnTo>
                  <a:pt x="2216" y="1287"/>
                </a:lnTo>
                <a:lnTo>
                  <a:pt x="2213" y="1293"/>
                </a:lnTo>
                <a:lnTo>
                  <a:pt x="2210" y="1299"/>
                </a:lnTo>
                <a:lnTo>
                  <a:pt x="2207" y="1307"/>
                </a:lnTo>
                <a:lnTo>
                  <a:pt x="2201" y="1323"/>
                </a:lnTo>
                <a:lnTo>
                  <a:pt x="2199" y="1331"/>
                </a:lnTo>
                <a:lnTo>
                  <a:pt x="2196" y="1341"/>
                </a:lnTo>
                <a:lnTo>
                  <a:pt x="2192" y="1363"/>
                </a:lnTo>
                <a:lnTo>
                  <a:pt x="2188" y="1387"/>
                </a:lnTo>
                <a:lnTo>
                  <a:pt x="2187" y="1399"/>
                </a:lnTo>
                <a:lnTo>
                  <a:pt x="2185" y="1413"/>
                </a:lnTo>
                <a:lnTo>
                  <a:pt x="2183" y="1443"/>
                </a:lnTo>
                <a:lnTo>
                  <a:pt x="2181" y="1477"/>
                </a:lnTo>
                <a:lnTo>
                  <a:pt x="2180" y="1513"/>
                </a:lnTo>
                <a:lnTo>
                  <a:pt x="2180" y="1551"/>
                </a:lnTo>
                <a:lnTo>
                  <a:pt x="2180" y="1591"/>
                </a:lnTo>
                <a:lnTo>
                  <a:pt x="2181" y="1627"/>
                </a:lnTo>
                <a:lnTo>
                  <a:pt x="2183" y="1659"/>
                </a:lnTo>
                <a:lnTo>
                  <a:pt x="2185" y="1689"/>
                </a:lnTo>
                <a:lnTo>
                  <a:pt x="2188" y="1714"/>
                </a:lnTo>
                <a:lnTo>
                  <a:pt x="2192" y="1738"/>
                </a:lnTo>
                <a:lnTo>
                  <a:pt x="2196" y="1760"/>
                </a:lnTo>
                <a:lnTo>
                  <a:pt x="2201" y="1780"/>
                </a:lnTo>
                <a:lnTo>
                  <a:pt x="2207" y="1796"/>
                </a:lnTo>
                <a:lnTo>
                  <a:pt x="2213" y="1810"/>
                </a:lnTo>
                <a:lnTo>
                  <a:pt x="2220" y="1820"/>
                </a:lnTo>
                <a:lnTo>
                  <a:pt x="2227" y="1830"/>
                </a:lnTo>
                <a:lnTo>
                  <a:pt x="2234" y="1836"/>
                </a:lnTo>
                <a:lnTo>
                  <a:pt x="2242" y="1842"/>
                </a:lnTo>
                <a:lnTo>
                  <a:pt x="2251" y="1844"/>
                </a:lnTo>
                <a:lnTo>
                  <a:pt x="2260" y="1846"/>
                </a:lnTo>
                <a:lnTo>
                  <a:pt x="2269" y="1844"/>
                </a:lnTo>
                <a:lnTo>
                  <a:pt x="2273" y="1844"/>
                </a:lnTo>
                <a:lnTo>
                  <a:pt x="2277" y="1842"/>
                </a:lnTo>
                <a:lnTo>
                  <a:pt x="2285" y="1836"/>
                </a:lnTo>
                <a:lnTo>
                  <a:pt x="2293" y="1830"/>
                </a:lnTo>
                <a:lnTo>
                  <a:pt x="2296" y="1826"/>
                </a:lnTo>
                <a:lnTo>
                  <a:pt x="2300" y="1820"/>
                </a:lnTo>
                <a:lnTo>
                  <a:pt x="2306" y="1808"/>
                </a:lnTo>
                <a:lnTo>
                  <a:pt x="2309" y="1802"/>
                </a:lnTo>
                <a:lnTo>
                  <a:pt x="2312" y="1796"/>
                </a:lnTo>
                <a:lnTo>
                  <a:pt x="2318" y="1778"/>
                </a:lnTo>
                <a:lnTo>
                  <a:pt x="2320" y="1770"/>
                </a:lnTo>
                <a:lnTo>
                  <a:pt x="2323" y="1760"/>
                </a:lnTo>
                <a:lnTo>
                  <a:pt x="2327" y="1738"/>
                </a:lnTo>
                <a:lnTo>
                  <a:pt x="2331" y="1714"/>
                </a:lnTo>
                <a:lnTo>
                  <a:pt x="2332" y="1703"/>
                </a:lnTo>
                <a:lnTo>
                  <a:pt x="2334" y="1689"/>
                </a:lnTo>
                <a:lnTo>
                  <a:pt x="2336" y="1659"/>
                </a:lnTo>
                <a:lnTo>
                  <a:pt x="2338" y="1625"/>
                </a:lnTo>
                <a:lnTo>
                  <a:pt x="2339" y="1591"/>
                </a:lnTo>
                <a:lnTo>
                  <a:pt x="2340" y="1551"/>
                </a:lnTo>
                <a:lnTo>
                  <a:pt x="2339" y="1513"/>
                </a:lnTo>
                <a:lnTo>
                  <a:pt x="2338" y="1477"/>
                </a:lnTo>
                <a:lnTo>
                  <a:pt x="2336" y="1443"/>
                </a:lnTo>
                <a:lnTo>
                  <a:pt x="2334" y="1415"/>
                </a:lnTo>
                <a:lnTo>
                  <a:pt x="2331" y="1387"/>
                </a:lnTo>
                <a:lnTo>
                  <a:pt x="2327" y="1363"/>
                </a:lnTo>
                <a:lnTo>
                  <a:pt x="2323" y="1341"/>
                </a:lnTo>
                <a:lnTo>
                  <a:pt x="2318" y="1323"/>
                </a:lnTo>
                <a:lnTo>
                  <a:pt x="2312" y="1307"/>
                </a:lnTo>
                <a:lnTo>
                  <a:pt x="2306" y="1293"/>
                </a:lnTo>
                <a:lnTo>
                  <a:pt x="2300" y="1281"/>
                </a:lnTo>
                <a:lnTo>
                  <a:pt x="2293" y="1271"/>
                </a:lnTo>
                <a:lnTo>
                  <a:pt x="2285" y="1265"/>
                </a:lnTo>
                <a:lnTo>
                  <a:pt x="2277" y="1259"/>
                </a:lnTo>
                <a:lnTo>
                  <a:pt x="2273" y="1259"/>
                </a:lnTo>
                <a:lnTo>
                  <a:pt x="2269" y="1257"/>
                </a:lnTo>
                <a:lnTo>
                  <a:pt x="2260" y="1257"/>
                </a:lnTo>
                <a:close/>
                <a:moveTo>
                  <a:pt x="2485" y="1936"/>
                </a:moveTo>
                <a:lnTo>
                  <a:pt x="2485" y="1166"/>
                </a:lnTo>
                <a:lnTo>
                  <a:pt x="2549" y="1166"/>
                </a:lnTo>
                <a:lnTo>
                  <a:pt x="2549" y="1828"/>
                </a:lnTo>
                <a:lnTo>
                  <a:pt x="2709" y="1828"/>
                </a:lnTo>
                <a:lnTo>
                  <a:pt x="2709" y="1936"/>
                </a:lnTo>
                <a:lnTo>
                  <a:pt x="2485" y="1936"/>
                </a:lnTo>
                <a:close/>
                <a:moveTo>
                  <a:pt x="2769" y="1936"/>
                </a:moveTo>
                <a:lnTo>
                  <a:pt x="2769" y="1166"/>
                </a:lnTo>
                <a:lnTo>
                  <a:pt x="2835" y="1166"/>
                </a:lnTo>
                <a:lnTo>
                  <a:pt x="2835" y="1828"/>
                </a:lnTo>
                <a:lnTo>
                  <a:pt x="2994" y="1828"/>
                </a:lnTo>
                <a:lnTo>
                  <a:pt x="2994" y="1936"/>
                </a:lnTo>
                <a:lnTo>
                  <a:pt x="2769" y="1936"/>
                </a:lnTo>
                <a:close/>
                <a:moveTo>
                  <a:pt x="3055" y="1166"/>
                </a:moveTo>
                <a:lnTo>
                  <a:pt x="3120" y="1166"/>
                </a:lnTo>
                <a:lnTo>
                  <a:pt x="3120" y="1936"/>
                </a:lnTo>
                <a:lnTo>
                  <a:pt x="3055" y="1936"/>
                </a:lnTo>
                <a:lnTo>
                  <a:pt x="3055" y="1166"/>
                </a:lnTo>
                <a:close/>
                <a:moveTo>
                  <a:pt x="3337" y="1954"/>
                </a:moveTo>
                <a:lnTo>
                  <a:pt x="3321" y="1954"/>
                </a:lnTo>
                <a:lnTo>
                  <a:pt x="3305" y="1950"/>
                </a:lnTo>
                <a:lnTo>
                  <a:pt x="3291" y="1944"/>
                </a:lnTo>
                <a:lnTo>
                  <a:pt x="3284" y="1940"/>
                </a:lnTo>
                <a:lnTo>
                  <a:pt x="3278" y="1936"/>
                </a:lnTo>
                <a:lnTo>
                  <a:pt x="3266" y="1928"/>
                </a:lnTo>
                <a:lnTo>
                  <a:pt x="3260" y="1922"/>
                </a:lnTo>
                <a:lnTo>
                  <a:pt x="3255" y="1916"/>
                </a:lnTo>
                <a:lnTo>
                  <a:pt x="3245" y="1902"/>
                </a:lnTo>
                <a:lnTo>
                  <a:pt x="3241" y="1896"/>
                </a:lnTo>
                <a:lnTo>
                  <a:pt x="3236" y="1888"/>
                </a:lnTo>
                <a:lnTo>
                  <a:pt x="3232" y="1880"/>
                </a:lnTo>
                <a:lnTo>
                  <a:pt x="3229" y="1872"/>
                </a:lnTo>
                <a:lnTo>
                  <a:pt x="3225" y="1864"/>
                </a:lnTo>
                <a:lnTo>
                  <a:pt x="3222" y="1854"/>
                </a:lnTo>
                <a:lnTo>
                  <a:pt x="3216" y="1834"/>
                </a:lnTo>
                <a:lnTo>
                  <a:pt x="3211" y="1814"/>
                </a:lnTo>
                <a:lnTo>
                  <a:pt x="3210" y="1804"/>
                </a:lnTo>
                <a:lnTo>
                  <a:pt x="3208" y="1792"/>
                </a:lnTo>
                <a:lnTo>
                  <a:pt x="3205" y="1770"/>
                </a:lnTo>
                <a:lnTo>
                  <a:pt x="3203" y="1746"/>
                </a:lnTo>
                <a:lnTo>
                  <a:pt x="3203" y="1732"/>
                </a:lnTo>
                <a:lnTo>
                  <a:pt x="3203" y="1720"/>
                </a:lnTo>
                <a:lnTo>
                  <a:pt x="3265" y="1693"/>
                </a:lnTo>
                <a:lnTo>
                  <a:pt x="3266" y="1714"/>
                </a:lnTo>
                <a:lnTo>
                  <a:pt x="3267" y="1734"/>
                </a:lnTo>
                <a:lnTo>
                  <a:pt x="3269" y="1750"/>
                </a:lnTo>
                <a:lnTo>
                  <a:pt x="3271" y="1766"/>
                </a:lnTo>
                <a:lnTo>
                  <a:pt x="3273" y="1774"/>
                </a:lnTo>
                <a:lnTo>
                  <a:pt x="3274" y="1782"/>
                </a:lnTo>
                <a:lnTo>
                  <a:pt x="3278" y="1794"/>
                </a:lnTo>
                <a:lnTo>
                  <a:pt x="3282" y="1804"/>
                </a:lnTo>
                <a:lnTo>
                  <a:pt x="3286" y="1814"/>
                </a:lnTo>
                <a:lnTo>
                  <a:pt x="3291" y="1824"/>
                </a:lnTo>
                <a:lnTo>
                  <a:pt x="3297" y="1830"/>
                </a:lnTo>
                <a:lnTo>
                  <a:pt x="3303" y="1836"/>
                </a:lnTo>
                <a:lnTo>
                  <a:pt x="3310" y="1840"/>
                </a:lnTo>
                <a:lnTo>
                  <a:pt x="3317" y="1844"/>
                </a:lnTo>
                <a:lnTo>
                  <a:pt x="3324" y="1846"/>
                </a:lnTo>
                <a:lnTo>
                  <a:pt x="3332" y="1848"/>
                </a:lnTo>
                <a:lnTo>
                  <a:pt x="3341" y="1848"/>
                </a:lnTo>
                <a:lnTo>
                  <a:pt x="3348" y="1848"/>
                </a:lnTo>
                <a:lnTo>
                  <a:pt x="3355" y="1846"/>
                </a:lnTo>
                <a:lnTo>
                  <a:pt x="3362" y="1844"/>
                </a:lnTo>
                <a:lnTo>
                  <a:pt x="3368" y="1842"/>
                </a:lnTo>
                <a:lnTo>
                  <a:pt x="3374" y="1838"/>
                </a:lnTo>
                <a:lnTo>
                  <a:pt x="3380" y="1832"/>
                </a:lnTo>
                <a:lnTo>
                  <a:pt x="3385" y="1826"/>
                </a:lnTo>
                <a:lnTo>
                  <a:pt x="3390" y="1820"/>
                </a:lnTo>
                <a:lnTo>
                  <a:pt x="3394" y="1812"/>
                </a:lnTo>
                <a:lnTo>
                  <a:pt x="3398" y="1804"/>
                </a:lnTo>
                <a:lnTo>
                  <a:pt x="3401" y="1796"/>
                </a:lnTo>
                <a:lnTo>
                  <a:pt x="3404" y="1786"/>
                </a:lnTo>
                <a:lnTo>
                  <a:pt x="3406" y="1774"/>
                </a:lnTo>
                <a:lnTo>
                  <a:pt x="3407" y="1770"/>
                </a:lnTo>
                <a:lnTo>
                  <a:pt x="3408" y="1764"/>
                </a:lnTo>
                <a:lnTo>
                  <a:pt x="3409" y="1752"/>
                </a:lnTo>
                <a:lnTo>
                  <a:pt x="3409" y="1738"/>
                </a:lnTo>
                <a:lnTo>
                  <a:pt x="3409" y="1728"/>
                </a:lnTo>
                <a:lnTo>
                  <a:pt x="3408" y="1718"/>
                </a:lnTo>
                <a:lnTo>
                  <a:pt x="3407" y="1711"/>
                </a:lnTo>
                <a:lnTo>
                  <a:pt x="3406" y="1701"/>
                </a:lnTo>
                <a:lnTo>
                  <a:pt x="3404" y="1693"/>
                </a:lnTo>
                <a:lnTo>
                  <a:pt x="3402" y="1685"/>
                </a:lnTo>
                <a:lnTo>
                  <a:pt x="3400" y="1677"/>
                </a:lnTo>
                <a:lnTo>
                  <a:pt x="3396" y="1669"/>
                </a:lnTo>
                <a:lnTo>
                  <a:pt x="3389" y="1653"/>
                </a:lnTo>
                <a:lnTo>
                  <a:pt x="3385" y="1645"/>
                </a:lnTo>
                <a:lnTo>
                  <a:pt x="3380" y="1639"/>
                </a:lnTo>
                <a:lnTo>
                  <a:pt x="3369" y="1625"/>
                </a:lnTo>
                <a:lnTo>
                  <a:pt x="3356" y="1613"/>
                </a:lnTo>
                <a:lnTo>
                  <a:pt x="3292" y="1555"/>
                </a:lnTo>
                <a:lnTo>
                  <a:pt x="3282" y="1547"/>
                </a:lnTo>
                <a:lnTo>
                  <a:pt x="3273" y="1537"/>
                </a:lnTo>
                <a:lnTo>
                  <a:pt x="3257" y="1517"/>
                </a:lnTo>
                <a:lnTo>
                  <a:pt x="3243" y="1497"/>
                </a:lnTo>
                <a:lnTo>
                  <a:pt x="3237" y="1485"/>
                </a:lnTo>
                <a:lnTo>
                  <a:pt x="3232" y="1473"/>
                </a:lnTo>
                <a:lnTo>
                  <a:pt x="3227" y="1461"/>
                </a:lnTo>
                <a:lnTo>
                  <a:pt x="3223" y="1447"/>
                </a:lnTo>
                <a:lnTo>
                  <a:pt x="3220" y="1433"/>
                </a:lnTo>
                <a:lnTo>
                  <a:pt x="3217" y="1417"/>
                </a:lnTo>
                <a:lnTo>
                  <a:pt x="3215" y="1401"/>
                </a:lnTo>
                <a:lnTo>
                  <a:pt x="3214" y="1393"/>
                </a:lnTo>
                <a:lnTo>
                  <a:pt x="3213" y="1385"/>
                </a:lnTo>
                <a:lnTo>
                  <a:pt x="3212" y="1367"/>
                </a:lnTo>
                <a:lnTo>
                  <a:pt x="3212" y="1347"/>
                </a:lnTo>
                <a:lnTo>
                  <a:pt x="3212" y="1335"/>
                </a:lnTo>
                <a:lnTo>
                  <a:pt x="3213" y="1323"/>
                </a:lnTo>
                <a:lnTo>
                  <a:pt x="3214" y="1311"/>
                </a:lnTo>
                <a:lnTo>
                  <a:pt x="3215" y="1299"/>
                </a:lnTo>
                <a:lnTo>
                  <a:pt x="3216" y="1289"/>
                </a:lnTo>
                <a:lnTo>
                  <a:pt x="3218" y="1279"/>
                </a:lnTo>
                <a:lnTo>
                  <a:pt x="3222" y="1259"/>
                </a:lnTo>
                <a:lnTo>
                  <a:pt x="3225" y="1249"/>
                </a:lnTo>
                <a:lnTo>
                  <a:pt x="3228" y="1241"/>
                </a:lnTo>
                <a:lnTo>
                  <a:pt x="3234" y="1225"/>
                </a:lnTo>
                <a:lnTo>
                  <a:pt x="3241" y="1210"/>
                </a:lnTo>
                <a:lnTo>
                  <a:pt x="3245" y="1204"/>
                </a:lnTo>
                <a:lnTo>
                  <a:pt x="3250" y="1198"/>
                </a:lnTo>
                <a:lnTo>
                  <a:pt x="3259" y="1186"/>
                </a:lnTo>
                <a:lnTo>
                  <a:pt x="3269" y="1176"/>
                </a:lnTo>
                <a:lnTo>
                  <a:pt x="3279" y="1166"/>
                </a:lnTo>
                <a:lnTo>
                  <a:pt x="3290" y="1160"/>
                </a:lnTo>
                <a:lnTo>
                  <a:pt x="3302" y="1154"/>
                </a:lnTo>
                <a:lnTo>
                  <a:pt x="3314" y="1150"/>
                </a:lnTo>
                <a:lnTo>
                  <a:pt x="3327" y="1148"/>
                </a:lnTo>
                <a:lnTo>
                  <a:pt x="3340" y="1148"/>
                </a:lnTo>
                <a:lnTo>
                  <a:pt x="3355" y="1150"/>
                </a:lnTo>
                <a:lnTo>
                  <a:pt x="3370" y="1152"/>
                </a:lnTo>
                <a:lnTo>
                  <a:pt x="3383" y="1158"/>
                </a:lnTo>
                <a:lnTo>
                  <a:pt x="3389" y="1162"/>
                </a:lnTo>
                <a:lnTo>
                  <a:pt x="3395" y="1166"/>
                </a:lnTo>
                <a:lnTo>
                  <a:pt x="3407" y="1174"/>
                </a:lnTo>
                <a:lnTo>
                  <a:pt x="3417" y="1186"/>
                </a:lnTo>
                <a:lnTo>
                  <a:pt x="3426" y="1198"/>
                </a:lnTo>
                <a:lnTo>
                  <a:pt x="3434" y="1212"/>
                </a:lnTo>
                <a:lnTo>
                  <a:pt x="3438" y="1218"/>
                </a:lnTo>
                <a:lnTo>
                  <a:pt x="3441" y="1225"/>
                </a:lnTo>
                <a:lnTo>
                  <a:pt x="3444" y="1233"/>
                </a:lnTo>
                <a:lnTo>
                  <a:pt x="3447" y="1241"/>
                </a:lnTo>
                <a:lnTo>
                  <a:pt x="3452" y="1259"/>
                </a:lnTo>
                <a:lnTo>
                  <a:pt x="3457" y="1275"/>
                </a:lnTo>
                <a:lnTo>
                  <a:pt x="3460" y="1293"/>
                </a:lnTo>
                <a:lnTo>
                  <a:pt x="3462" y="1313"/>
                </a:lnTo>
                <a:lnTo>
                  <a:pt x="3464" y="1331"/>
                </a:lnTo>
                <a:lnTo>
                  <a:pt x="3464" y="1349"/>
                </a:lnTo>
                <a:lnTo>
                  <a:pt x="3402" y="1375"/>
                </a:lnTo>
                <a:lnTo>
                  <a:pt x="3402" y="1359"/>
                </a:lnTo>
                <a:lnTo>
                  <a:pt x="3400" y="1345"/>
                </a:lnTo>
                <a:lnTo>
                  <a:pt x="3399" y="1331"/>
                </a:lnTo>
                <a:lnTo>
                  <a:pt x="3397" y="1319"/>
                </a:lnTo>
                <a:lnTo>
                  <a:pt x="3394" y="1309"/>
                </a:lnTo>
                <a:lnTo>
                  <a:pt x="3391" y="1299"/>
                </a:lnTo>
                <a:lnTo>
                  <a:pt x="3388" y="1289"/>
                </a:lnTo>
                <a:lnTo>
                  <a:pt x="3384" y="1281"/>
                </a:lnTo>
                <a:lnTo>
                  <a:pt x="3380" y="1275"/>
                </a:lnTo>
                <a:lnTo>
                  <a:pt x="3375" y="1269"/>
                </a:lnTo>
                <a:lnTo>
                  <a:pt x="3370" y="1265"/>
                </a:lnTo>
                <a:lnTo>
                  <a:pt x="3364" y="1261"/>
                </a:lnTo>
                <a:lnTo>
                  <a:pt x="3358" y="1257"/>
                </a:lnTo>
                <a:lnTo>
                  <a:pt x="3352" y="1255"/>
                </a:lnTo>
                <a:lnTo>
                  <a:pt x="3345" y="1255"/>
                </a:lnTo>
                <a:lnTo>
                  <a:pt x="3337" y="1253"/>
                </a:lnTo>
                <a:lnTo>
                  <a:pt x="3325" y="1255"/>
                </a:lnTo>
                <a:lnTo>
                  <a:pt x="3313" y="1259"/>
                </a:lnTo>
                <a:lnTo>
                  <a:pt x="3308" y="1263"/>
                </a:lnTo>
                <a:lnTo>
                  <a:pt x="3303" y="1267"/>
                </a:lnTo>
                <a:lnTo>
                  <a:pt x="3298" y="1271"/>
                </a:lnTo>
                <a:lnTo>
                  <a:pt x="3294" y="1275"/>
                </a:lnTo>
                <a:lnTo>
                  <a:pt x="3290" y="1281"/>
                </a:lnTo>
                <a:lnTo>
                  <a:pt x="3287" y="1287"/>
                </a:lnTo>
                <a:lnTo>
                  <a:pt x="3284" y="1295"/>
                </a:lnTo>
                <a:lnTo>
                  <a:pt x="3281" y="1303"/>
                </a:lnTo>
                <a:lnTo>
                  <a:pt x="3279" y="1311"/>
                </a:lnTo>
                <a:lnTo>
                  <a:pt x="3278" y="1321"/>
                </a:lnTo>
                <a:lnTo>
                  <a:pt x="3277" y="1331"/>
                </a:lnTo>
                <a:lnTo>
                  <a:pt x="3276" y="1341"/>
                </a:lnTo>
                <a:lnTo>
                  <a:pt x="3277" y="1351"/>
                </a:lnTo>
                <a:lnTo>
                  <a:pt x="3277" y="1361"/>
                </a:lnTo>
                <a:lnTo>
                  <a:pt x="3278" y="1371"/>
                </a:lnTo>
                <a:lnTo>
                  <a:pt x="3279" y="1379"/>
                </a:lnTo>
                <a:lnTo>
                  <a:pt x="3281" y="1387"/>
                </a:lnTo>
                <a:lnTo>
                  <a:pt x="3283" y="1395"/>
                </a:lnTo>
                <a:lnTo>
                  <a:pt x="3286" y="1403"/>
                </a:lnTo>
                <a:lnTo>
                  <a:pt x="3288" y="1409"/>
                </a:lnTo>
                <a:lnTo>
                  <a:pt x="3292" y="1415"/>
                </a:lnTo>
                <a:lnTo>
                  <a:pt x="3295" y="1421"/>
                </a:lnTo>
                <a:lnTo>
                  <a:pt x="3304" y="1433"/>
                </a:lnTo>
                <a:lnTo>
                  <a:pt x="3314" y="1445"/>
                </a:lnTo>
                <a:lnTo>
                  <a:pt x="3326" y="1457"/>
                </a:lnTo>
                <a:lnTo>
                  <a:pt x="3388" y="1511"/>
                </a:lnTo>
                <a:lnTo>
                  <a:pt x="3398" y="1521"/>
                </a:lnTo>
                <a:lnTo>
                  <a:pt x="3408" y="1531"/>
                </a:lnTo>
                <a:lnTo>
                  <a:pt x="3418" y="1541"/>
                </a:lnTo>
                <a:lnTo>
                  <a:pt x="3426" y="1553"/>
                </a:lnTo>
                <a:lnTo>
                  <a:pt x="3434" y="1565"/>
                </a:lnTo>
                <a:lnTo>
                  <a:pt x="3441" y="1575"/>
                </a:lnTo>
                <a:lnTo>
                  <a:pt x="3447" y="1589"/>
                </a:lnTo>
                <a:lnTo>
                  <a:pt x="3453" y="1601"/>
                </a:lnTo>
                <a:lnTo>
                  <a:pt x="3458" y="1615"/>
                </a:lnTo>
                <a:lnTo>
                  <a:pt x="3462" y="1629"/>
                </a:lnTo>
                <a:lnTo>
                  <a:pt x="3466" y="1643"/>
                </a:lnTo>
                <a:lnTo>
                  <a:pt x="3469" y="1659"/>
                </a:lnTo>
                <a:lnTo>
                  <a:pt x="3471" y="1675"/>
                </a:lnTo>
                <a:lnTo>
                  <a:pt x="3472" y="1685"/>
                </a:lnTo>
                <a:lnTo>
                  <a:pt x="3472" y="1693"/>
                </a:lnTo>
                <a:lnTo>
                  <a:pt x="3473" y="1711"/>
                </a:lnTo>
                <a:lnTo>
                  <a:pt x="3474" y="1730"/>
                </a:lnTo>
                <a:lnTo>
                  <a:pt x="3473" y="1756"/>
                </a:lnTo>
                <a:lnTo>
                  <a:pt x="3471" y="1780"/>
                </a:lnTo>
                <a:lnTo>
                  <a:pt x="3470" y="1792"/>
                </a:lnTo>
                <a:lnTo>
                  <a:pt x="3468" y="1802"/>
                </a:lnTo>
                <a:lnTo>
                  <a:pt x="3466" y="1814"/>
                </a:lnTo>
                <a:lnTo>
                  <a:pt x="3464" y="1824"/>
                </a:lnTo>
                <a:lnTo>
                  <a:pt x="3461" y="1834"/>
                </a:lnTo>
                <a:lnTo>
                  <a:pt x="3459" y="1844"/>
                </a:lnTo>
                <a:lnTo>
                  <a:pt x="3452" y="1862"/>
                </a:lnTo>
                <a:lnTo>
                  <a:pt x="3449" y="1870"/>
                </a:lnTo>
                <a:lnTo>
                  <a:pt x="3445" y="1880"/>
                </a:lnTo>
                <a:lnTo>
                  <a:pt x="3437" y="1894"/>
                </a:lnTo>
                <a:lnTo>
                  <a:pt x="3432" y="1902"/>
                </a:lnTo>
                <a:lnTo>
                  <a:pt x="3427" y="1908"/>
                </a:lnTo>
                <a:lnTo>
                  <a:pt x="3422" y="1914"/>
                </a:lnTo>
                <a:lnTo>
                  <a:pt x="3417" y="1920"/>
                </a:lnTo>
                <a:lnTo>
                  <a:pt x="3406" y="1930"/>
                </a:lnTo>
                <a:lnTo>
                  <a:pt x="3394" y="1938"/>
                </a:lnTo>
                <a:lnTo>
                  <a:pt x="3381" y="1946"/>
                </a:lnTo>
                <a:lnTo>
                  <a:pt x="3367" y="1950"/>
                </a:lnTo>
                <a:lnTo>
                  <a:pt x="3360" y="1952"/>
                </a:lnTo>
                <a:lnTo>
                  <a:pt x="3353" y="1952"/>
                </a:lnTo>
                <a:lnTo>
                  <a:pt x="3337" y="1954"/>
                </a:lnTo>
                <a:close/>
                <a:moveTo>
                  <a:pt x="3582" y="1882"/>
                </a:moveTo>
                <a:lnTo>
                  <a:pt x="3574" y="1866"/>
                </a:lnTo>
                <a:lnTo>
                  <a:pt x="3567" y="1848"/>
                </a:lnTo>
                <a:lnTo>
                  <a:pt x="3562" y="1828"/>
                </a:lnTo>
                <a:lnTo>
                  <a:pt x="3559" y="1816"/>
                </a:lnTo>
                <a:lnTo>
                  <a:pt x="3557" y="1806"/>
                </a:lnTo>
                <a:lnTo>
                  <a:pt x="3554" y="1782"/>
                </a:lnTo>
                <a:lnTo>
                  <a:pt x="3551" y="1756"/>
                </a:lnTo>
                <a:lnTo>
                  <a:pt x="3550" y="1742"/>
                </a:lnTo>
                <a:lnTo>
                  <a:pt x="3550" y="1726"/>
                </a:lnTo>
                <a:lnTo>
                  <a:pt x="3549" y="1697"/>
                </a:lnTo>
                <a:lnTo>
                  <a:pt x="3549" y="1166"/>
                </a:lnTo>
                <a:lnTo>
                  <a:pt x="3615" y="1166"/>
                </a:lnTo>
                <a:lnTo>
                  <a:pt x="3615" y="1691"/>
                </a:lnTo>
                <a:lnTo>
                  <a:pt x="3615" y="1711"/>
                </a:lnTo>
                <a:lnTo>
                  <a:pt x="3616" y="1728"/>
                </a:lnTo>
                <a:lnTo>
                  <a:pt x="3617" y="1744"/>
                </a:lnTo>
                <a:lnTo>
                  <a:pt x="3618" y="1758"/>
                </a:lnTo>
                <a:lnTo>
                  <a:pt x="3620" y="1772"/>
                </a:lnTo>
                <a:lnTo>
                  <a:pt x="3623" y="1784"/>
                </a:lnTo>
                <a:lnTo>
                  <a:pt x="3625" y="1796"/>
                </a:lnTo>
                <a:lnTo>
                  <a:pt x="3629" y="1804"/>
                </a:lnTo>
                <a:lnTo>
                  <a:pt x="3633" y="1814"/>
                </a:lnTo>
                <a:lnTo>
                  <a:pt x="3637" y="1822"/>
                </a:lnTo>
                <a:lnTo>
                  <a:pt x="3643" y="1830"/>
                </a:lnTo>
                <a:lnTo>
                  <a:pt x="3649" y="1836"/>
                </a:lnTo>
                <a:lnTo>
                  <a:pt x="3652" y="1838"/>
                </a:lnTo>
                <a:lnTo>
                  <a:pt x="3655" y="1840"/>
                </a:lnTo>
                <a:lnTo>
                  <a:pt x="3662" y="1844"/>
                </a:lnTo>
                <a:lnTo>
                  <a:pt x="3670" y="1846"/>
                </a:lnTo>
                <a:lnTo>
                  <a:pt x="3678" y="1846"/>
                </a:lnTo>
                <a:lnTo>
                  <a:pt x="3686" y="1846"/>
                </a:lnTo>
                <a:lnTo>
                  <a:pt x="3694" y="1844"/>
                </a:lnTo>
                <a:lnTo>
                  <a:pt x="3701" y="1840"/>
                </a:lnTo>
                <a:lnTo>
                  <a:pt x="3708" y="1836"/>
                </a:lnTo>
                <a:lnTo>
                  <a:pt x="3713" y="1830"/>
                </a:lnTo>
                <a:lnTo>
                  <a:pt x="3719" y="1822"/>
                </a:lnTo>
                <a:lnTo>
                  <a:pt x="3723" y="1814"/>
                </a:lnTo>
                <a:lnTo>
                  <a:pt x="3728" y="1804"/>
                </a:lnTo>
                <a:lnTo>
                  <a:pt x="3731" y="1796"/>
                </a:lnTo>
                <a:lnTo>
                  <a:pt x="3734" y="1784"/>
                </a:lnTo>
                <a:lnTo>
                  <a:pt x="3736" y="1772"/>
                </a:lnTo>
                <a:lnTo>
                  <a:pt x="3738" y="1758"/>
                </a:lnTo>
                <a:lnTo>
                  <a:pt x="3740" y="1744"/>
                </a:lnTo>
                <a:lnTo>
                  <a:pt x="3741" y="1728"/>
                </a:lnTo>
                <a:lnTo>
                  <a:pt x="3741" y="1711"/>
                </a:lnTo>
                <a:lnTo>
                  <a:pt x="3741" y="1691"/>
                </a:lnTo>
                <a:lnTo>
                  <a:pt x="3741" y="1166"/>
                </a:lnTo>
                <a:lnTo>
                  <a:pt x="3807" y="1166"/>
                </a:lnTo>
                <a:lnTo>
                  <a:pt x="3807" y="1697"/>
                </a:lnTo>
                <a:lnTo>
                  <a:pt x="3806" y="1726"/>
                </a:lnTo>
                <a:lnTo>
                  <a:pt x="3805" y="1742"/>
                </a:lnTo>
                <a:lnTo>
                  <a:pt x="3805" y="1756"/>
                </a:lnTo>
                <a:lnTo>
                  <a:pt x="3802" y="1782"/>
                </a:lnTo>
                <a:lnTo>
                  <a:pt x="3798" y="1806"/>
                </a:lnTo>
                <a:lnTo>
                  <a:pt x="3796" y="1816"/>
                </a:lnTo>
                <a:lnTo>
                  <a:pt x="3794" y="1828"/>
                </a:lnTo>
                <a:lnTo>
                  <a:pt x="3788" y="1848"/>
                </a:lnTo>
                <a:lnTo>
                  <a:pt x="3785" y="1856"/>
                </a:lnTo>
                <a:lnTo>
                  <a:pt x="3782" y="1866"/>
                </a:lnTo>
                <a:lnTo>
                  <a:pt x="3779" y="1874"/>
                </a:lnTo>
                <a:lnTo>
                  <a:pt x="3775" y="1882"/>
                </a:lnTo>
                <a:lnTo>
                  <a:pt x="3771" y="1890"/>
                </a:lnTo>
                <a:lnTo>
                  <a:pt x="3766" y="1898"/>
                </a:lnTo>
                <a:lnTo>
                  <a:pt x="3756" y="1914"/>
                </a:lnTo>
                <a:lnTo>
                  <a:pt x="3745" y="1926"/>
                </a:lnTo>
                <a:lnTo>
                  <a:pt x="3739" y="1930"/>
                </a:lnTo>
                <a:lnTo>
                  <a:pt x="3733" y="1936"/>
                </a:lnTo>
                <a:lnTo>
                  <a:pt x="3720" y="1944"/>
                </a:lnTo>
                <a:lnTo>
                  <a:pt x="3714" y="1946"/>
                </a:lnTo>
                <a:lnTo>
                  <a:pt x="3707" y="1950"/>
                </a:lnTo>
                <a:lnTo>
                  <a:pt x="3693" y="1952"/>
                </a:lnTo>
                <a:lnTo>
                  <a:pt x="3685" y="1954"/>
                </a:lnTo>
                <a:lnTo>
                  <a:pt x="3678" y="1954"/>
                </a:lnTo>
                <a:lnTo>
                  <a:pt x="3663" y="1952"/>
                </a:lnTo>
                <a:lnTo>
                  <a:pt x="3649" y="1950"/>
                </a:lnTo>
                <a:lnTo>
                  <a:pt x="3643" y="1946"/>
                </a:lnTo>
                <a:lnTo>
                  <a:pt x="3636" y="1944"/>
                </a:lnTo>
                <a:lnTo>
                  <a:pt x="3624" y="1936"/>
                </a:lnTo>
                <a:lnTo>
                  <a:pt x="3612" y="1926"/>
                </a:lnTo>
                <a:lnTo>
                  <a:pt x="3601" y="1914"/>
                </a:lnTo>
                <a:lnTo>
                  <a:pt x="3591" y="1898"/>
                </a:lnTo>
                <a:lnTo>
                  <a:pt x="3586" y="1890"/>
                </a:lnTo>
                <a:lnTo>
                  <a:pt x="3582" y="1882"/>
                </a:lnTo>
                <a:close/>
                <a:moveTo>
                  <a:pt x="3934" y="1882"/>
                </a:moveTo>
                <a:lnTo>
                  <a:pt x="3927" y="1866"/>
                </a:lnTo>
                <a:lnTo>
                  <a:pt x="3920" y="1848"/>
                </a:lnTo>
                <a:lnTo>
                  <a:pt x="3915" y="1828"/>
                </a:lnTo>
                <a:lnTo>
                  <a:pt x="3912" y="1816"/>
                </a:lnTo>
                <a:lnTo>
                  <a:pt x="3910" y="1806"/>
                </a:lnTo>
                <a:lnTo>
                  <a:pt x="3907" y="1782"/>
                </a:lnTo>
                <a:lnTo>
                  <a:pt x="3904" y="1756"/>
                </a:lnTo>
                <a:lnTo>
                  <a:pt x="3903" y="1742"/>
                </a:lnTo>
                <a:lnTo>
                  <a:pt x="3903" y="1726"/>
                </a:lnTo>
                <a:lnTo>
                  <a:pt x="3902" y="1697"/>
                </a:lnTo>
                <a:lnTo>
                  <a:pt x="3902" y="1166"/>
                </a:lnTo>
                <a:lnTo>
                  <a:pt x="3968" y="1166"/>
                </a:lnTo>
                <a:lnTo>
                  <a:pt x="3968" y="1691"/>
                </a:lnTo>
                <a:lnTo>
                  <a:pt x="3968" y="1711"/>
                </a:lnTo>
                <a:lnTo>
                  <a:pt x="3969" y="1728"/>
                </a:lnTo>
                <a:lnTo>
                  <a:pt x="3970" y="1744"/>
                </a:lnTo>
                <a:lnTo>
                  <a:pt x="3972" y="1758"/>
                </a:lnTo>
                <a:lnTo>
                  <a:pt x="3973" y="1772"/>
                </a:lnTo>
                <a:lnTo>
                  <a:pt x="3976" y="1784"/>
                </a:lnTo>
                <a:lnTo>
                  <a:pt x="3979" y="1796"/>
                </a:lnTo>
                <a:lnTo>
                  <a:pt x="3982" y="1804"/>
                </a:lnTo>
                <a:lnTo>
                  <a:pt x="3986" y="1814"/>
                </a:lnTo>
                <a:lnTo>
                  <a:pt x="3991" y="1822"/>
                </a:lnTo>
                <a:lnTo>
                  <a:pt x="3996" y="1830"/>
                </a:lnTo>
                <a:lnTo>
                  <a:pt x="4002" y="1836"/>
                </a:lnTo>
                <a:lnTo>
                  <a:pt x="4005" y="1838"/>
                </a:lnTo>
                <a:lnTo>
                  <a:pt x="4008" y="1840"/>
                </a:lnTo>
                <a:lnTo>
                  <a:pt x="4015" y="1844"/>
                </a:lnTo>
                <a:lnTo>
                  <a:pt x="4023" y="1846"/>
                </a:lnTo>
                <a:lnTo>
                  <a:pt x="4031" y="1846"/>
                </a:lnTo>
                <a:lnTo>
                  <a:pt x="4040" y="1846"/>
                </a:lnTo>
                <a:lnTo>
                  <a:pt x="4047" y="1844"/>
                </a:lnTo>
                <a:lnTo>
                  <a:pt x="4054" y="1840"/>
                </a:lnTo>
                <a:lnTo>
                  <a:pt x="4061" y="1836"/>
                </a:lnTo>
                <a:lnTo>
                  <a:pt x="4067" y="1830"/>
                </a:lnTo>
                <a:lnTo>
                  <a:pt x="4072" y="1822"/>
                </a:lnTo>
                <a:lnTo>
                  <a:pt x="4077" y="1814"/>
                </a:lnTo>
                <a:lnTo>
                  <a:pt x="4081" y="1804"/>
                </a:lnTo>
                <a:lnTo>
                  <a:pt x="4084" y="1796"/>
                </a:lnTo>
                <a:lnTo>
                  <a:pt x="4087" y="1784"/>
                </a:lnTo>
                <a:lnTo>
                  <a:pt x="4090" y="1772"/>
                </a:lnTo>
                <a:lnTo>
                  <a:pt x="4091" y="1758"/>
                </a:lnTo>
                <a:lnTo>
                  <a:pt x="4093" y="1744"/>
                </a:lnTo>
                <a:lnTo>
                  <a:pt x="4094" y="1728"/>
                </a:lnTo>
                <a:lnTo>
                  <a:pt x="4094" y="1711"/>
                </a:lnTo>
                <a:lnTo>
                  <a:pt x="4094" y="1691"/>
                </a:lnTo>
                <a:lnTo>
                  <a:pt x="4094" y="1166"/>
                </a:lnTo>
                <a:lnTo>
                  <a:pt x="4160" y="1166"/>
                </a:lnTo>
                <a:lnTo>
                  <a:pt x="4160" y="1697"/>
                </a:lnTo>
                <a:lnTo>
                  <a:pt x="4159" y="1726"/>
                </a:lnTo>
                <a:lnTo>
                  <a:pt x="4159" y="1742"/>
                </a:lnTo>
                <a:lnTo>
                  <a:pt x="4158" y="1756"/>
                </a:lnTo>
                <a:lnTo>
                  <a:pt x="4155" y="1782"/>
                </a:lnTo>
                <a:lnTo>
                  <a:pt x="4152" y="1806"/>
                </a:lnTo>
                <a:lnTo>
                  <a:pt x="4149" y="1816"/>
                </a:lnTo>
                <a:lnTo>
                  <a:pt x="4147" y="1828"/>
                </a:lnTo>
                <a:lnTo>
                  <a:pt x="4142" y="1848"/>
                </a:lnTo>
                <a:lnTo>
                  <a:pt x="4139" y="1856"/>
                </a:lnTo>
                <a:lnTo>
                  <a:pt x="4135" y="1866"/>
                </a:lnTo>
                <a:lnTo>
                  <a:pt x="4132" y="1874"/>
                </a:lnTo>
                <a:lnTo>
                  <a:pt x="4128" y="1882"/>
                </a:lnTo>
                <a:lnTo>
                  <a:pt x="4124" y="1890"/>
                </a:lnTo>
                <a:lnTo>
                  <a:pt x="4119" y="1898"/>
                </a:lnTo>
                <a:lnTo>
                  <a:pt x="4109" y="1914"/>
                </a:lnTo>
                <a:lnTo>
                  <a:pt x="4098" y="1926"/>
                </a:lnTo>
                <a:lnTo>
                  <a:pt x="4092" y="1930"/>
                </a:lnTo>
                <a:lnTo>
                  <a:pt x="4086" y="1936"/>
                </a:lnTo>
                <a:lnTo>
                  <a:pt x="4073" y="1944"/>
                </a:lnTo>
                <a:lnTo>
                  <a:pt x="4067" y="1946"/>
                </a:lnTo>
                <a:lnTo>
                  <a:pt x="4060" y="1950"/>
                </a:lnTo>
                <a:lnTo>
                  <a:pt x="4046" y="1952"/>
                </a:lnTo>
                <a:lnTo>
                  <a:pt x="4039" y="1954"/>
                </a:lnTo>
                <a:lnTo>
                  <a:pt x="4031" y="1954"/>
                </a:lnTo>
                <a:lnTo>
                  <a:pt x="4017" y="1952"/>
                </a:lnTo>
                <a:lnTo>
                  <a:pt x="4003" y="1950"/>
                </a:lnTo>
                <a:lnTo>
                  <a:pt x="3996" y="1946"/>
                </a:lnTo>
                <a:lnTo>
                  <a:pt x="3989" y="1944"/>
                </a:lnTo>
                <a:lnTo>
                  <a:pt x="3977" y="1936"/>
                </a:lnTo>
                <a:lnTo>
                  <a:pt x="3965" y="1926"/>
                </a:lnTo>
                <a:lnTo>
                  <a:pt x="3954" y="1914"/>
                </a:lnTo>
                <a:lnTo>
                  <a:pt x="3943" y="1898"/>
                </a:lnTo>
                <a:lnTo>
                  <a:pt x="3938" y="1890"/>
                </a:lnTo>
                <a:lnTo>
                  <a:pt x="3934" y="1882"/>
                </a:lnTo>
                <a:close/>
                <a:moveTo>
                  <a:pt x="4370" y="1954"/>
                </a:moveTo>
                <a:lnTo>
                  <a:pt x="4354" y="1954"/>
                </a:lnTo>
                <a:lnTo>
                  <a:pt x="4339" y="1950"/>
                </a:lnTo>
                <a:lnTo>
                  <a:pt x="4324" y="1944"/>
                </a:lnTo>
                <a:lnTo>
                  <a:pt x="4317" y="1940"/>
                </a:lnTo>
                <a:lnTo>
                  <a:pt x="4310" y="1936"/>
                </a:lnTo>
                <a:lnTo>
                  <a:pt x="4298" y="1928"/>
                </a:lnTo>
                <a:lnTo>
                  <a:pt x="4292" y="1922"/>
                </a:lnTo>
                <a:lnTo>
                  <a:pt x="4287" y="1916"/>
                </a:lnTo>
                <a:lnTo>
                  <a:pt x="4277" y="1902"/>
                </a:lnTo>
                <a:lnTo>
                  <a:pt x="4273" y="1896"/>
                </a:lnTo>
                <a:lnTo>
                  <a:pt x="4268" y="1888"/>
                </a:lnTo>
                <a:lnTo>
                  <a:pt x="4264" y="1880"/>
                </a:lnTo>
                <a:lnTo>
                  <a:pt x="4261" y="1872"/>
                </a:lnTo>
                <a:lnTo>
                  <a:pt x="4257" y="1864"/>
                </a:lnTo>
                <a:lnTo>
                  <a:pt x="4254" y="1854"/>
                </a:lnTo>
                <a:lnTo>
                  <a:pt x="4248" y="1834"/>
                </a:lnTo>
                <a:lnTo>
                  <a:pt x="4244" y="1814"/>
                </a:lnTo>
                <a:lnTo>
                  <a:pt x="4242" y="1804"/>
                </a:lnTo>
                <a:lnTo>
                  <a:pt x="4240" y="1792"/>
                </a:lnTo>
                <a:lnTo>
                  <a:pt x="4237" y="1770"/>
                </a:lnTo>
                <a:lnTo>
                  <a:pt x="4236" y="1746"/>
                </a:lnTo>
                <a:lnTo>
                  <a:pt x="4235" y="1732"/>
                </a:lnTo>
                <a:lnTo>
                  <a:pt x="4235" y="1720"/>
                </a:lnTo>
                <a:lnTo>
                  <a:pt x="4298" y="1693"/>
                </a:lnTo>
                <a:lnTo>
                  <a:pt x="4298" y="1714"/>
                </a:lnTo>
                <a:lnTo>
                  <a:pt x="4299" y="1734"/>
                </a:lnTo>
                <a:lnTo>
                  <a:pt x="4301" y="1750"/>
                </a:lnTo>
                <a:lnTo>
                  <a:pt x="4303" y="1766"/>
                </a:lnTo>
                <a:lnTo>
                  <a:pt x="4305" y="1774"/>
                </a:lnTo>
                <a:lnTo>
                  <a:pt x="4306" y="1782"/>
                </a:lnTo>
                <a:lnTo>
                  <a:pt x="4310" y="1794"/>
                </a:lnTo>
                <a:lnTo>
                  <a:pt x="4314" y="1804"/>
                </a:lnTo>
                <a:lnTo>
                  <a:pt x="4318" y="1814"/>
                </a:lnTo>
                <a:lnTo>
                  <a:pt x="4324" y="1824"/>
                </a:lnTo>
                <a:lnTo>
                  <a:pt x="4330" y="1830"/>
                </a:lnTo>
                <a:lnTo>
                  <a:pt x="4336" y="1836"/>
                </a:lnTo>
                <a:lnTo>
                  <a:pt x="4343" y="1840"/>
                </a:lnTo>
                <a:lnTo>
                  <a:pt x="4350" y="1844"/>
                </a:lnTo>
                <a:lnTo>
                  <a:pt x="4357" y="1846"/>
                </a:lnTo>
                <a:lnTo>
                  <a:pt x="4365" y="1848"/>
                </a:lnTo>
                <a:lnTo>
                  <a:pt x="4374" y="1848"/>
                </a:lnTo>
                <a:lnTo>
                  <a:pt x="4381" y="1848"/>
                </a:lnTo>
                <a:lnTo>
                  <a:pt x="4388" y="1846"/>
                </a:lnTo>
                <a:lnTo>
                  <a:pt x="4395" y="1844"/>
                </a:lnTo>
                <a:lnTo>
                  <a:pt x="4401" y="1842"/>
                </a:lnTo>
                <a:lnTo>
                  <a:pt x="4407" y="1838"/>
                </a:lnTo>
                <a:lnTo>
                  <a:pt x="4413" y="1832"/>
                </a:lnTo>
                <a:lnTo>
                  <a:pt x="4418" y="1826"/>
                </a:lnTo>
                <a:lnTo>
                  <a:pt x="4423" y="1820"/>
                </a:lnTo>
                <a:lnTo>
                  <a:pt x="4427" y="1812"/>
                </a:lnTo>
                <a:lnTo>
                  <a:pt x="4431" y="1804"/>
                </a:lnTo>
                <a:lnTo>
                  <a:pt x="4434" y="1796"/>
                </a:lnTo>
                <a:lnTo>
                  <a:pt x="4437" y="1786"/>
                </a:lnTo>
                <a:lnTo>
                  <a:pt x="4439" y="1774"/>
                </a:lnTo>
                <a:lnTo>
                  <a:pt x="4440" y="1770"/>
                </a:lnTo>
                <a:lnTo>
                  <a:pt x="4441" y="1764"/>
                </a:lnTo>
                <a:lnTo>
                  <a:pt x="4442" y="1752"/>
                </a:lnTo>
                <a:lnTo>
                  <a:pt x="4442" y="1738"/>
                </a:lnTo>
                <a:lnTo>
                  <a:pt x="4442" y="1728"/>
                </a:lnTo>
                <a:lnTo>
                  <a:pt x="4442" y="1718"/>
                </a:lnTo>
                <a:lnTo>
                  <a:pt x="4441" y="1711"/>
                </a:lnTo>
                <a:lnTo>
                  <a:pt x="4439" y="1701"/>
                </a:lnTo>
                <a:lnTo>
                  <a:pt x="4437" y="1693"/>
                </a:lnTo>
                <a:lnTo>
                  <a:pt x="4435" y="1685"/>
                </a:lnTo>
                <a:lnTo>
                  <a:pt x="4433" y="1677"/>
                </a:lnTo>
                <a:lnTo>
                  <a:pt x="4430" y="1669"/>
                </a:lnTo>
                <a:lnTo>
                  <a:pt x="4422" y="1653"/>
                </a:lnTo>
                <a:lnTo>
                  <a:pt x="4418" y="1645"/>
                </a:lnTo>
                <a:lnTo>
                  <a:pt x="4413" y="1639"/>
                </a:lnTo>
                <a:lnTo>
                  <a:pt x="4402" y="1625"/>
                </a:lnTo>
                <a:lnTo>
                  <a:pt x="4389" y="1613"/>
                </a:lnTo>
                <a:lnTo>
                  <a:pt x="4325" y="1555"/>
                </a:lnTo>
                <a:lnTo>
                  <a:pt x="4315" y="1547"/>
                </a:lnTo>
                <a:lnTo>
                  <a:pt x="4305" y="1537"/>
                </a:lnTo>
                <a:lnTo>
                  <a:pt x="4289" y="1517"/>
                </a:lnTo>
                <a:lnTo>
                  <a:pt x="4275" y="1497"/>
                </a:lnTo>
                <a:lnTo>
                  <a:pt x="4270" y="1485"/>
                </a:lnTo>
                <a:lnTo>
                  <a:pt x="4264" y="1473"/>
                </a:lnTo>
                <a:lnTo>
                  <a:pt x="4260" y="1461"/>
                </a:lnTo>
                <a:lnTo>
                  <a:pt x="4255" y="1447"/>
                </a:lnTo>
                <a:lnTo>
                  <a:pt x="4252" y="1433"/>
                </a:lnTo>
                <a:lnTo>
                  <a:pt x="4249" y="1417"/>
                </a:lnTo>
                <a:lnTo>
                  <a:pt x="4247" y="1401"/>
                </a:lnTo>
                <a:lnTo>
                  <a:pt x="4246" y="1393"/>
                </a:lnTo>
                <a:lnTo>
                  <a:pt x="4245" y="1385"/>
                </a:lnTo>
                <a:lnTo>
                  <a:pt x="4244" y="1367"/>
                </a:lnTo>
                <a:lnTo>
                  <a:pt x="4244" y="1347"/>
                </a:lnTo>
                <a:lnTo>
                  <a:pt x="4244" y="1335"/>
                </a:lnTo>
                <a:lnTo>
                  <a:pt x="4245" y="1323"/>
                </a:lnTo>
                <a:lnTo>
                  <a:pt x="4246" y="1311"/>
                </a:lnTo>
                <a:lnTo>
                  <a:pt x="4247" y="1299"/>
                </a:lnTo>
                <a:lnTo>
                  <a:pt x="4248" y="1289"/>
                </a:lnTo>
                <a:lnTo>
                  <a:pt x="4250" y="1279"/>
                </a:lnTo>
                <a:lnTo>
                  <a:pt x="4254" y="1259"/>
                </a:lnTo>
                <a:lnTo>
                  <a:pt x="4257" y="1249"/>
                </a:lnTo>
                <a:lnTo>
                  <a:pt x="4260" y="1241"/>
                </a:lnTo>
                <a:lnTo>
                  <a:pt x="4266" y="1225"/>
                </a:lnTo>
                <a:lnTo>
                  <a:pt x="4273" y="1210"/>
                </a:lnTo>
                <a:lnTo>
                  <a:pt x="4277" y="1204"/>
                </a:lnTo>
                <a:lnTo>
                  <a:pt x="4282" y="1198"/>
                </a:lnTo>
                <a:lnTo>
                  <a:pt x="4291" y="1186"/>
                </a:lnTo>
                <a:lnTo>
                  <a:pt x="4301" y="1176"/>
                </a:lnTo>
                <a:lnTo>
                  <a:pt x="4311" y="1166"/>
                </a:lnTo>
                <a:lnTo>
                  <a:pt x="4323" y="1160"/>
                </a:lnTo>
                <a:lnTo>
                  <a:pt x="4335" y="1154"/>
                </a:lnTo>
                <a:lnTo>
                  <a:pt x="4347" y="1150"/>
                </a:lnTo>
                <a:lnTo>
                  <a:pt x="4360" y="1148"/>
                </a:lnTo>
                <a:lnTo>
                  <a:pt x="4373" y="1148"/>
                </a:lnTo>
                <a:lnTo>
                  <a:pt x="4388" y="1150"/>
                </a:lnTo>
                <a:lnTo>
                  <a:pt x="4403" y="1152"/>
                </a:lnTo>
                <a:lnTo>
                  <a:pt x="4416" y="1158"/>
                </a:lnTo>
                <a:lnTo>
                  <a:pt x="4422" y="1162"/>
                </a:lnTo>
                <a:lnTo>
                  <a:pt x="4428" y="1166"/>
                </a:lnTo>
                <a:lnTo>
                  <a:pt x="4440" y="1174"/>
                </a:lnTo>
                <a:lnTo>
                  <a:pt x="4450" y="1186"/>
                </a:lnTo>
                <a:lnTo>
                  <a:pt x="4459" y="1198"/>
                </a:lnTo>
                <a:lnTo>
                  <a:pt x="4467" y="1212"/>
                </a:lnTo>
                <a:lnTo>
                  <a:pt x="4471" y="1218"/>
                </a:lnTo>
                <a:lnTo>
                  <a:pt x="4474" y="1225"/>
                </a:lnTo>
                <a:lnTo>
                  <a:pt x="4477" y="1233"/>
                </a:lnTo>
                <a:lnTo>
                  <a:pt x="4480" y="1241"/>
                </a:lnTo>
                <a:lnTo>
                  <a:pt x="4485" y="1259"/>
                </a:lnTo>
                <a:lnTo>
                  <a:pt x="4490" y="1275"/>
                </a:lnTo>
                <a:lnTo>
                  <a:pt x="4493" y="1293"/>
                </a:lnTo>
                <a:lnTo>
                  <a:pt x="4495" y="1313"/>
                </a:lnTo>
                <a:lnTo>
                  <a:pt x="4497" y="1331"/>
                </a:lnTo>
                <a:lnTo>
                  <a:pt x="4497" y="1349"/>
                </a:lnTo>
                <a:lnTo>
                  <a:pt x="4435" y="1375"/>
                </a:lnTo>
                <a:lnTo>
                  <a:pt x="4435" y="1359"/>
                </a:lnTo>
                <a:lnTo>
                  <a:pt x="4433" y="1345"/>
                </a:lnTo>
                <a:lnTo>
                  <a:pt x="4432" y="1331"/>
                </a:lnTo>
                <a:lnTo>
                  <a:pt x="4430" y="1319"/>
                </a:lnTo>
                <a:lnTo>
                  <a:pt x="4427" y="1309"/>
                </a:lnTo>
                <a:lnTo>
                  <a:pt x="4426" y="1303"/>
                </a:lnTo>
                <a:lnTo>
                  <a:pt x="4424" y="1299"/>
                </a:lnTo>
                <a:lnTo>
                  <a:pt x="4421" y="1289"/>
                </a:lnTo>
                <a:lnTo>
                  <a:pt x="4417" y="1281"/>
                </a:lnTo>
                <a:lnTo>
                  <a:pt x="4413" y="1275"/>
                </a:lnTo>
                <a:lnTo>
                  <a:pt x="4408" y="1269"/>
                </a:lnTo>
                <a:lnTo>
                  <a:pt x="4403" y="1265"/>
                </a:lnTo>
                <a:lnTo>
                  <a:pt x="4397" y="1261"/>
                </a:lnTo>
                <a:lnTo>
                  <a:pt x="4391" y="1257"/>
                </a:lnTo>
                <a:lnTo>
                  <a:pt x="4385" y="1255"/>
                </a:lnTo>
                <a:lnTo>
                  <a:pt x="4378" y="1255"/>
                </a:lnTo>
                <a:lnTo>
                  <a:pt x="4370" y="1253"/>
                </a:lnTo>
                <a:lnTo>
                  <a:pt x="4358" y="1255"/>
                </a:lnTo>
                <a:lnTo>
                  <a:pt x="4346" y="1259"/>
                </a:lnTo>
                <a:lnTo>
                  <a:pt x="4341" y="1263"/>
                </a:lnTo>
                <a:lnTo>
                  <a:pt x="4336" y="1267"/>
                </a:lnTo>
                <a:lnTo>
                  <a:pt x="4331" y="1271"/>
                </a:lnTo>
                <a:lnTo>
                  <a:pt x="4327" y="1275"/>
                </a:lnTo>
                <a:lnTo>
                  <a:pt x="4323" y="1281"/>
                </a:lnTo>
                <a:lnTo>
                  <a:pt x="4319" y="1287"/>
                </a:lnTo>
                <a:lnTo>
                  <a:pt x="4316" y="1295"/>
                </a:lnTo>
                <a:lnTo>
                  <a:pt x="4313" y="1303"/>
                </a:lnTo>
                <a:lnTo>
                  <a:pt x="4311" y="1311"/>
                </a:lnTo>
                <a:lnTo>
                  <a:pt x="4310" y="1321"/>
                </a:lnTo>
                <a:lnTo>
                  <a:pt x="4309" y="1331"/>
                </a:lnTo>
                <a:lnTo>
                  <a:pt x="4308" y="1341"/>
                </a:lnTo>
                <a:lnTo>
                  <a:pt x="4309" y="1351"/>
                </a:lnTo>
                <a:lnTo>
                  <a:pt x="4309" y="1361"/>
                </a:lnTo>
                <a:lnTo>
                  <a:pt x="4310" y="1371"/>
                </a:lnTo>
                <a:lnTo>
                  <a:pt x="4311" y="1379"/>
                </a:lnTo>
                <a:lnTo>
                  <a:pt x="4313" y="1387"/>
                </a:lnTo>
                <a:lnTo>
                  <a:pt x="4315" y="1395"/>
                </a:lnTo>
                <a:lnTo>
                  <a:pt x="4318" y="1403"/>
                </a:lnTo>
                <a:lnTo>
                  <a:pt x="4321" y="1409"/>
                </a:lnTo>
                <a:lnTo>
                  <a:pt x="4325" y="1415"/>
                </a:lnTo>
                <a:lnTo>
                  <a:pt x="4328" y="1421"/>
                </a:lnTo>
                <a:lnTo>
                  <a:pt x="4337" y="1433"/>
                </a:lnTo>
                <a:lnTo>
                  <a:pt x="4347" y="1445"/>
                </a:lnTo>
                <a:lnTo>
                  <a:pt x="4359" y="1457"/>
                </a:lnTo>
                <a:lnTo>
                  <a:pt x="4421" y="1511"/>
                </a:lnTo>
                <a:lnTo>
                  <a:pt x="4431" y="1521"/>
                </a:lnTo>
                <a:lnTo>
                  <a:pt x="4442" y="1531"/>
                </a:lnTo>
                <a:lnTo>
                  <a:pt x="4451" y="1541"/>
                </a:lnTo>
                <a:lnTo>
                  <a:pt x="4459" y="1553"/>
                </a:lnTo>
                <a:lnTo>
                  <a:pt x="4467" y="1565"/>
                </a:lnTo>
                <a:lnTo>
                  <a:pt x="4474" y="1575"/>
                </a:lnTo>
                <a:lnTo>
                  <a:pt x="4480" y="1589"/>
                </a:lnTo>
                <a:lnTo>
                  <a:pt x="4486" y="1601"/>
                </a:lnTo>
                <a:lnTo>
                  <a:pt x="4491" y="1615"/>
                </a:lnTo>
                <a:lnTo>
                  <a:pt x="4495" y="1629"/>
                </a:lnTo>
                <a:lnTo>
                  <a:pt x="4499" y="1643"/>
                </a:lnTo>
                <a:lnTo>
                  <a:pt x="4502" y="1659"/>
                </a:lnTo>
                <a:lnTo>
                  <a:pt x="4504" y="1675"/>
                </a:lnTo>
                <a:lnTo>
                  <a:pt x="4505" y="1685"/>
                </a:lnTo>
                <a:lnTo>
                  <a:pt x="4505" y="1693"/>
                </a:lnTo>
                <a:lnTo>
                  <a:pt x="4506" y="1711"/>
                </a:lnTo>
                <a:lnTo>
                  <a:pt x="4507" y="1730"/>
                </a:lnTo>
                <a:lnTo>
                  <a:pt x="4506" y="1756"/>
                </a:lnTo>
                <a:lnTo>
                  <a:pt x="4504" y="1780"/>
                </a:lnTo>
                <a:lnTo>
                  <a:pt x="4503" y="1792"/>
                </a:lnTo>
                <a:lnTo>
                  <a:pt x="4501" y="1802"/>
                </a:lnTo>
                <a:lnTo>
                  <a:pt x="4499" y="1814"/>
                </a:lnTo>
                <a:lnTo>
                  <a:pt x="4497" y="1824"/>
                </a:lnTo>
                <a:lnTo>
                  <a:pt x="4494" y="1834"/>
                </a:lnTo>
                <a:lnTo>
                  <a:pt x="4492" y="1844"/>
                </a:lnTo>
                <a:lnTo>
                  <a:pt x="4485" y="1862"/>
                </a:lnTo>
                <a:lnTo>
                  <a:pt x="4482" y="1870"/>
                </a:lnTo>
                <a:lnTo>
                  <a:pt x="4478" y="1880"/>
                </a:lnTo>
                <a:lnTo>
                  <a:pt x="4470" y="1894"/>
                </a:lnTo>
                <a:lnTo>
                  <a:pt x="4465" y="1902"/>
                </a:lnTo>
                <a:lnTo>
                  <a:pt x="4460" y="1908"/>
                </a:lnTo>
                <a:lnTo>
                  <a:pt x="4455" y="1914"/>
                </a:lnTo>
                <a:lnTo>
                  <a:pt x="4450" y="1920"/>
                </a:lnTo>
                <a:lnTo>
                  <a:pt x="4439" y="1930"/>
                </a:lnTo>
                <a:lnTo>
                  <a:pt x="4427" y="1938"/>
                </a:lnTo>
                <a:lnTo>
                  <a:pt x="4414" y="1946"/>
                </a:lnTo>
                <a:lnTo>
                  <a:pt x="4400" y="1950"/>
                </a:lnTo>
                <a:lnTo>
                  <a:pt x="4393" y="1952"/>
                </a:lnTo>
                <a:lnTo>
                  <a:pt x="4386" y="1952"/>
                </a:lnTo>
                <a:lnTo>
                  <a:pt x="4370" y="19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7DE48D-705B-612C-7DFA-B303012D79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98587" y="5517232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F5A17A4-EA2D-AFFF-38DF-9699B925DC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98587" y="5805264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4053291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6924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oitusdia Kuvall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39931121-A866-0128-FA48-AD9BBB41210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" y="0"/>
            <a:ext cx="12192000" cy="6858000"/>
          </a:xfrm>
          <a:solidFill>
            <a:schemeClr val="tx2"/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en-GB" dirty="0" err="1"/>
              <a:t>Lisää</a:t>
            </a:r>
            <a:r>
              <a:rPr lang="en-GB" dirty="0"/>
              <a:t> </a:t>
            </a:r>
            <a:r>
              <a:rPr lang="en-GB" dirty="0" err="1"/>
              <a:t>kuva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C89437-0A9F-6907-E834-ECE3DB6251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1700" cy="738664"/>
          </a:xfrm>
        </p:spPr>
        <p:txBody>
          <a:bodyPr anchor="t" anchorCtr="0">
            <a:sp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BA9B7E5-3139-76AA-C2C3-60620F1D9B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4509120"/>
            <a:ext cx="9791700" cy="864096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98F4D-E89B-8263-EB37-8F8B305D4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DF7B2DB-D9D7-43C6-B3E4-578DA59BDE61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B5C31-D7B7-0A4A-9FF1-A8910751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9B765-A518-625F-2D82-59131FF13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7DE48D-705B-612C-7DFA-B303012D79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98587" y="5517232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F5A17A4-EA2D-AFFF-38DF-9699B925DC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98587" y="5805264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0398102-3604-6A5F-7F35-09904E7C9F3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07988" y="333375"/>
            <a:ext cx="2325600" cy="504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4017894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6924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oitusdia Sinin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89437-0A9F-6907-E834-ECE3DB6251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1700" cy="2304529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BA9B7E5-3139-76AA-C2C3-60620F1D9B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4509120"/>
            <a:ext cx="9791700" cy="864096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98F4D-E89B-8263-EB37-8F8B305D4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014823D-9B9B-4803-B420-A6A4C9AA1FBC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B5C31-D7B7-0A4A-9FF1-A8910751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9B765-A518-625F-2D82-59131FF13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CD5646D-347F-0693-85B7-82EEFAEE1F7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07368" y="333375"/>
            <a:ext cx="2325003" cy="504000"/>
          </a:xfrm>
          <a:custGeom>
            <a:avLst/>
            <a:gdLst>
              <a:gd name="T0" fmla="*/ 11 w 4507"/>
              <a:gd name="T1" fmla="*/ 18 h 1954"/>
              <a:gd name="T2" fmla="*/ 659 w 4507"/>
              <a:gd name="T3" fmla="*/ 297 h 1954"/>
              <a:gd name="T4" fmla="*/ 666 w 4507"/>
              <a:gd name="T5" fmla="*/ 916 h 1954"/>
              <a:gd name="T6" fmla="*/ 347 w 4507"/>
              <a:gd name="T7" fmla="*/ 880 h 1954"/>
              <a:gd name="T8" fmla="*/ 471 w 4507"/>
              <a:gd name="T9" fmla="*/ 675 h 1954"/>
              <a:gd name="T10" fmla="*/ 375 w 4507"/>
              <a:gd name="T11" fmla="*/ 401 h 1954"/>
              <a:gd name="T12" fmla="*/ 1722 w 4507"/>
              <a:gd name="T13" fmla="*/ 26 h 1954"/>
              <a:gd name="T14" fmla="*/ 1804 w 4507"/>
              <a:gd name="T15" fmla="*/ 309 h 1954"/>
              <a:gd name="T16" fmla="*/ 1741 w 4507"/>
              <a:gd name="T17" fmla="*/ 269 h 1954"/>
              <a:gd name="T18" fmla="*/ 1854 w 4507"/>
              <a:gd name="T19" fmla="*/ 788 h 1954"/>
              <a:gd name="T20" fmla="*/ 2410 w 4507"/>
              <a:gd name="T21" fmla="*/ 18 h 1954"/>
              <a:gd name="T22" fmla="*/ 3053 w 4507"/>
              <a:gd name="T23" fmla="*/ 553 h 1954"/>
              <a:gd name="T24" fmla="*/ 3419 w 4507"/>
              <a:gd name="T25" fmla="*/ 539 h 1954"/>
              <a:gd name="T26" fmla="*/ 3595 w 4507"/>
              <a:gd name="T27" fmla="*/ 659 h 1954"/>
              <a:gd name="T28" fmla="*/ 3699 w 4507"/>
              <a:gd name="T29" fmla="*/ 697 h 1954"/>
              <a:gd name="T30" fmla="*/ 3842 w 4507"/>
              <a:gd name="T31" fmla="*/ 595 h 1954"/>
              <a:gd name="T32" fmla="*/ 3700 w 4507"/>
              <a:gd name="T33" fmla="*/ 806 h 1954"/>
              <a:gd name="T34" fmla="*/ 3943 w 4507"/>
              <a:gd name="T35" fmla="*/ 725 h 1954"/>
              <a:gd name="T36" fmla="*/ 4018 w 4507"/>
              <a:gd name="T37" fmla="*/ 689 h 1954"/>
              <a:gd name="T38" fmla="*/ 4124 w 4507"/>
              <a:gd name="T39" fmla="*/ 581 h 1954"/>
              <a:gd name="T40" fmla="*/ 3931 w 4507"/>
              <a:gd name="T41" fmla="*/ 269 h 1954"/>
              <a:gd name="T42" fmla="*/ 4017 w 4507"/>
              <a:gd name="T43" fmla="*/ 6 h 1954"/>
              <a:gd name="T44" fmla="*/ 4117 w 4507"/>
              <a:gd name="T45" fmla="*/ 228 h 1954"/>
              <a:gd name="T46" fmla="*/ 4005 w 4507"/>
              <a:gd name="T47" fmla="*/ 134 h 1954"/>
              <a:gd name="T48" fmla="*/ 4123 w 4507"/>
              <a:gd name="T49" fmla="*/ 383 h 1954"/>
              <a:gd name="T50" fmla="*/ 4174 w 4507"/>
              <a:gd name="T51" fmla="*/ 697 h 1954"/>
              <a:gd name="T52" fmla="*/ 1767 w 4507"/>
              <a:gd name="T53" fmla="*/ 1273 h 1954"/>
              <a:gd name="T54" fmla="*/ 2197 w 4507"/>
              <a:gd name="T55" fmla="*/ 1926 h 1954"/>
              <a:gd name="T56" fmla="*/ 2114 w 4507"/>
              <a:gd name="T57" fmla="*/ 1551 h 1954"/>
              <a:gd name="T58" fmla="*/ 2226 w 4507"/>
              <a:gd name="T59" fmla="*/ 1156 h 1954"/>
              <a:gd name="T60" fmla="*/ 2385 w 4507"/>
              <a:gd name="T61" fmla="*/ 1313 h 1954"/>
              <a:gd name="T62" fmla="*/ 2373 w 4507"/>
              <a:gd name="T63" fmla="*/ 1834 h 1954"/>
              <a:gd name="T64" fmla="*/ 2227 w 4507"/>
              <a:gd name="T65" fmla="*/ 1271 h 1954"/>
              <a:gd name="T66" fmla="*/ 2192 w 4507"/>
              <a:gd name="T67" fmla="*/ 1738 h 1954"/>
              <a:gd name="T68" fmla="*/ 2323 w 4507"/>
              <a:gd name="T69" fmla="*/ 1760 h 1954"/>
              <a:gd name="T70" fmla="*/ 2273 w 4507"/>
              <a:gd name="T71" fmla="*/ 1259 h 1954"/>
              <a:gd name="T72" fmla="*/ 3321 w 4507"/>
              <a:gd name="T73" fmla="*/ 1954 h 1954"/>
              <a:gd name="T74" fmla="*/ 3265 w 4507"/>
              <a:gd name="T75" fmla="*/ 1693 h 1954"/>
              <a:gd name="T76" fmla="*/ 3380 w 4507"/>
              <a:gd name="T77" fmla="*/ 1832 h 1954"/>
              <a:gd name="T78" fmla="*/ 3369 w 4507"/>
              <a:gd name="T79" fmla="*/ 1625 h 1954"/>
              <a:gd name="T80" fmla="*/ 3218 w 4507"/>
              <a:gd name="T81" fmla="*/ 1279 h 1954"/>
              <a:gd name="T82" fmla="*/ 3426 w 4507"/>
              <a:gd name="T83" fmla="*/ 1198 h 1954"/>
              <a:gd name="T84" fmla="*/ 3370 w 4507"/>
              <a:gd name="T85" fmla="*/ 1265 h 1954"/>
              <a:gd name="T86" fmla="*/ 3279 w 4507"/>
              <a:gd name="T87" fmla="*/ 1379 h 1954"/>
              <a:gd name="T88" fmla="*/ 3471 w 4507"/>
              <a:gd name="T89" fmla="*/ 1675 h 1954"/>
              <a:gd name="T90" fmla="*/ 3381 w 4507"/>
              <a:gd name="T91" fmla="*/ 1946 h 1954"/>
              <a:gd name="T92" fmla="*/ 3620 w 4507"/>
              <a:gd name="T93" fmla="*/ 1772 h 1954"/>
              <a:gd name="T94" fmla="*/ 3736 w 4507"/>
              <a:gd name="T95" fmla="*/ 1772 h 1954"/>
              <a:gd name="T96" fmla="*/ 3756 w 4507"/>
              <a:gd name="T97" fmla="*/ 1914 h 1954"/>
              <a:gd name="T98" fmla="*/ 3915 w 4507"/>
              <a:gd name="T99" fmla="*/ 1828 h 1954"/>
              <a:gd name="T100" fmla="*/ 4005 w 4507"/>
              <a:gd name="T101" fmla="*/ 1838 h 1954"/>
              <a:gd name="T102" fmla="*/ 4160 w 4507"/>
              <a:gd name="T103" fmla="*/ 1697 h 1954"/>
              <a:gd name="T104" fmla="*/ 4039 w 4507"/>
              <a:gd name="T105" fmla="*/ 1954 h 1954"/>
              <a:gd name="T106" fmla="*/ 4268 w 4507"/>
              <a:gd name="T107" fmla="*/ 1888 h 1954"/>
              <a:gd name="T108" fmla="*/ 4324 w 4507"/>
              <a:gd name="T109" fmla="*/ 1824 h 1954"/>
              <a:gd name="T110" fmla="*/ 4442 w 4507"/>
              <a:gd name="T111" fmla="*/ 1752 h 1954"/>
              <a:gd name="T112" fmla="*/ 4255 w 4507"/>
              <a:gd name="T113" fmla="*/ 1447 h 1954"/>
              <a:gd name="T114" fmla="*/ 4311 w 4507"/>
              <a:gd name="T115" fmla="*/ 1166 h 1954"/>
              <a:gd name="T116" fmla="*/ 4497 w 4507"/>
              <a:gd name="T117" fmla="*/ 1331 h 1954"/>
              <a:gd name="T118" fmla="*/ 4336 w 4507"/>
              <a:gd name="T119" fmla="*/ 1267 h 1954"/>
              <a:gd name="T120" fmla="*/ 4359 w 4507"/>
              <a:gd name="T121" fmla="*/ 1457 h 1954"/>
              <a:gd name="T122" fmla="*/ 4499 w 4507"/>
              <a:gd name="T123" fmla="*/ 1814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507" h="1954">
                <a:moveTo>
                  <a:pt x="4307" y="327"/>
                </a:moveTo>
                <a:lnTo>
                  <a:pt x="4377" y="327"/>
                </a:lnTo>
                <a:lnTo>
                  <a:pt x="4377" y="463"/>
                </a:lnTo>
                <a:lnTo>
                  <a:pt x="4307" y="463"/>
                </a:lnTo>
                <a:lnTo>
                  <a:pt x="4307" y="327"/>
                </a:lnTo>
                <a:close/>
                <a:moveTo>
                  <a:pt x="1248" y="18"/>
                </a:moveTo>
                <a:lnTo>
                  <a:pt x="1248" y="473"/>
                </a:lnTo>
                <a:lnTo>
                  <a:pt x="1051" y="473"/>
                </a:lnTo>
                <a:lnTo>
                  <a:pt x="1051" y="1936"/>
                </a:lnTo>
                <a:lnTo>
                  <a:pt x="821" y="1936"/>
                </a:lnTo>
                <a:lnTo>
                  <a:pt x="821" y="473"/>
                </a:lnTo>
                <a:lnTo>
                  <a:pt x="655" y="18"/>
                </a:lnTo>
                <a:lnTo>
                  <a:pt x="1248" y="18"/>
                </a:lnTo>
                <a:close/>
                <a:moveTo>
                  <a:pt x="0" y="1481"/>
                </a:moveTo>
                <a:lnTo>
                  <a:pt x="230" y="1481"/>
                </a:lnTo>
                <a:lnTo>
                  <a:pt x="230" y="1936"/>
                </a:lnTo>
                <a:lnTo>
                  <a:pt x="0" y="1936"/>
                </a:lnTo>
                <a:lnTo>
                  <a:pt x="0" y="1481"/>
                </a:lnTo>
                <a:close/>
                <a:moveTo>
                  <a:pt x="487" y="1186"/>
                </a:moveTo>
                <a:lnTo>
                  <a:pt x="752" y="1936"/>
                </a:lnTo>
                <a:lnTo>
                  <a:pt x="495" y="1936"/>
                </a:lnTo>
                <a:lnTo>
                  <a:pt x="11" y="559"/>
                </a:lnTo>
                <a:lnTo>
                  <a:pt x="11" y="18"/>
                </a:lnTo>
                <a:lnTo>
                  <a:pt x="309" y="18"/>
                </a:lnTo>
                <a:lnTo>
                  <a:pt x="335" y="18"/>
                </a:lnTo>
                <a:lnTo>
                  <a:pt x="359" y="20"/>
                </a:lnTo>
                <a:lnTo>
                  <a:pt x="382" y="24"/>
                </a:lnTo>
                <a:lnTo>
                  <a:pt x="404" y="30"/>
                </a:lnTo>
                <a:lnTo>
                  <a:pt x="426" y="36"/>
                </a:lnTo>
                <a:lnTo>
                  <a:pt x="447" y="44"/>
                </a:lnTo>
                <a:lnTo>
                  <a:pt x="467" y="52"/>
                </a:lnTo>
                <a:lnTo>
                  <a:pt x="476" y="58"/>
                </a:lnTo>
                <a:lnTo>
                  <a:pt x="486" y="62"/>
                </a:lnTo>
                <a:lnTo>
                  <a:pt x="504" y="74"/>
                </a:lnTo>
                <a:lnTo>
                  <a:pt x="521" y="88"/>
                </a:lnTo>
                <a:lnTo>
                  <a:pt x="538" y="102"/>
                </a:lnTo>
                <a:lnTo>
                  <a:pt x="553" y="116"/>
                </a:lnTo>
                <a:lnTo>
                  <a:pt x="569" y="132"/>
                </a:lnTo>
                <a:lnTo>
                  <a:pt x="583" y="150"/>
                </a:lnTo>
                <a:lnTo>
                  <a:pt x="596" y="168"/>
                </a:lnTo>
                <a:lnTo>
                  <a:pt x="609" y="188"/>
                </a:lnTo>
                <a:lnTo>
                  <a:pt x="620" y="208"/>
                </a:lnTo>
                <a:lnTo>
                  <a:pt x="631" y="230"/>
                </a:lnTo>
                <a:lnTo>
                  <a:pt x="641" y="251"/>
                </a:lnTo>
                <a:lnTo>
                  <a:pt x="650" y="273"/>
                </a:lnTo>
                <a:lnTo>
                  <a:pt x="659" y="297"/>
                </a:lnTo>
                <a:lnTo>
                  <a:pt x="666" y="323"/>
                </a:lnTo>
                <a:lnTo>
                  <a:pt x="673" y="349"/>
                </a:lnTo>
                <a:lnTo>
                  <a:pt x="680" y="375"/>
                </a:lnTo>
                <a:lnTo>
                  <a:pt x="685" y="401"/>
                </a:lnTo>
                <a:lnTo>
                  <a:pt x="690" y="429"/>
                </a:lnTo>
                <a:lnTo>
                  <a:pt x="694" y="459"/>
                </a:lnTo>
                <a:lnTo>
                  <a:pt x="697" y="487"/>
                </a:lnTo>
                <a:lnTo>
                  <a:pt x="699" y="517"/>
                </a:lnTo>
                <a:lnTo>
                  <a:pt x="701" y="547"/>
                </a:lnTo>
                <a:lnTo>
                  <a:pt x="702" y="579"/>
                </a:lnTo>
                <a:lnTo>
                  <a:pt x="703" y="611"/>
                </a:lnTo>
                <a:lnTo>
                  <a:pt x="702" y="661"/>
                </a:lnTo>
                <a:lnTo>
                  <a:pt x="701" y="687"/>
                </a:lnTo>
                <a:lnTo>
                  <a:pt x="699" y="711"/>
                </a:lnTo>
                <a:lnTo>
                  <a:pt x="697" y="735"/>
                </a:lnTo>
                <a:lnTo>
                  <a:pt x="695" y="758"/>
                </a:lnTo>
                <a:lnTo>
                  <a:pt x="692" y="782"/>
                </a:lnTo>
                <a:lnTo>
                  <a:pt x="689" y="806"/>
                </a:lnTo>
                <a:lnTo>
                  <a:pt x="685" y="830"/>
                </a:lnTo>
                <a:lnTo>
                  <a:pt x="681" y="852"/>
                </a:lnTo>
                <a:lnTo>
                  <a:pt x="677" y="874"/>
                </a:lnTo>
                <a:lnTo>
                  <a:pt x="672" y="896"/>
                </a:lnTo>
                <a:lnTo>
                  <a:pt x="666" y="916"/>
                </a:lnTo>
                <a:lnTo>
                  <a:pt x="661" y="938"/>
                </a:lnTo>
                <a:lnTo>
                  <a:pt x="655" y="958"/>
                </a:lnTo>
                <a:lnTo>
                  <a:pt x="648" y="976"/>
                </a:lnTo>
                <a:lnTo>
                  <a:pt x="641" y="996"/>
                </a:lnTo>
                <a:lnTo>
                  <a:pt x="634" y="1014"/>
                </a:lnTo>
                <a:lnTo>
                  <a:pt x="626" y="1030"/>
                </a:lnTo>
                <a:lnTo>
                  <a:pt x="618" y="1048"/>
                </a:lnTo>
                <a:lnTo>
                  <a:pt x="609" y="1064"/>
                </a:lnTo>
                <a:lnTo>
                  <a:pt x="600" y="1080"/>
                </a:lnTo>
                <a:lnTo>
                  <a:pt x="591" y="1094"/>
                </a:lnTo>
                <a:lnTo>
                  <a:pt x="581" y="1108"/>
                </a:lnTo>
                <a:lnTo>
                  <a:pt x="571" y="1120"/>
                </a:lnTo>
                <a:lnTo>
                  <a:pt x="559" y="1132"/>
                </a:lnTo>
                <a:lnTo>
                  <a:pt x="548" y="1144"/>
                </a:lnTo>
                <a:lnTo>
                  <a:pt x="537" y="1154"/>
                </a:lnTo>
                <a:lnTo>
                  <a:pt x="525" y="1164"/>
                </a:lnTo>
                <a:lnTo>
                  <a:pt x="513" y="1172"/>
                </a:lnTo>
                <a:lnTo>
                  <a:pt x="500" y="1180"/>
                </a:lnTo>
                <a:lnTo>
                  <a:pt x="487" y="1186"/>
                </a:lnTo>
                <a:close/>
                <a:moveTo>
                  <a:pt x="239" y="391"/>
                </a:moveTo>
                <a:lnTo>
                  <a:pt x="239" y="880"/>
                </a:lnTo>
                <a:lnTo>
                  <a:pt x="337" y="880"/>
                </a:lnTo>
                <a:lnTo>
                  <a:pt x="347" y="880"/>
                </a:lnTo>
                <a:lnTo>
                  <a:pt x="357" y="880"/>
                </a:lnTo>
                <a:lnTo>
                  <a:pt x="367" y="878"/>
                </a:lnTo>
                <a:lnTo>
                  <a:pt x="376" y="874"/>
                </a:lnTo>
                <a:lnTo>
                  <a:pt x="384" y="872"/>
                </a:lnTo>
                <a:lnTo>
                  <a:pt x="392" y="868"/>
                </a:lnTo>
                <a:lnTo>
                  <a:pt x="400" y="862"/>
                </a:lnTo>
                <a:lnTo>
                  <a:pt x="407" y="858"/>
                </a:lnTo>
                <a:lnTo>
                  <a:pt x="413" y="852"/>
                </a:lnTo>
                <a:lnTo>
                  <a:pt x="419" y="844"/>
                </a:lnTo>
                <a:lnTo>
                  <a:pt x="425" y="838"/>
                </a:lnTo>
                <a:lnTo>
                  <a:pt x="430" y="830"/>
                </a:lnTo>
                <a:lnTo>
                  <a:pt x="435" y="822"/>
                </a:lnTo>
                <a:lnTo>
                  <a:pt x="440" y="814"/>
                </a:lnTo>
                <a:lnTo>
                  <a:pt x="444" y="806"/>
                </a:lnTo>
                <a:lnTo>
                  <a:pt x="448" y="796"/>
                </a:lnTo>
                <a:lnTo>
                  <a:pt x="451" y="788"/>
                </a:lnTo>
                <a:lnTo>
                  <a:pt x="454" y="778"/>
                </a:lnTo>
                <a:lnTo>
                  <a:pt x="457" y="768"/>
                </a:lnTo>
                <a:lnTo>
                  <a:pt x="460" y="758"/>
                </a:lnTo>
                <a:lnTo>
                  <a:pt x="464" y="738"/>
                </a:lnTo>
                <a:lnTo>
                  <a:pt x="467" y="717"/>
                </a:lnTo>
                <a:lnTo>
                  <a:pt x="470" y="697"/>
                </a:lnTo>
                <a:lnTo>
                  <a:pt x="471" y="675"/>
                </a:lnTo>
                <a:lnTo>
                  <a:pt x="472" y="655"/>
                </a:lnTo>
                <a:lnTo>
                  <a:pt x="472" y="635"/>
                </a:lnTo>
                <a:lnTo>
                  <a:pt x="472" y="615"/>
                </a:lnTo>
                <a:lnTo>
                  <a:pt x="470" y="593"/>
                </a:lnTo>
                <a:lnTo>
                  <a:pt x="468" y="573"/>
                </a:lnTo>
                <a:lnTo>
                  <a:pt x="464" y="551"/>
                </a:lnTo>
                <a:lnTo>
                  <a:pt x="462" y="541"/>
                </a:lnTo>
                <a:lnTo>
                  <a:pt x="459" y="531"/>
                </a:lnTo>
                <a:lnTo>
                  <a:pt x="457" y="521"/>
                </a:lnTo>
                <a:lnTo>
                  <a:pt x="454" y="511"/>
                </a:lnTo>
                <a:lnTo>
                  <a:pt x="447" y="491"/>
                </a:lnTo>
                <a:lnTo>
                  <a:pt x="443" y="483"/>
                </a:lnTo>
                <a:lnTo>
                  <a:pt x="439" y="473"/>
                </a:lnTo>
                <a:lnTo>
                  <a:pt x="435" y="465"/>
                </a:lnTo>
                <a:lnTo>
                  <a:pt x="430" y="457"/>
                </a:lnTo>
                <a:lnTo>
                  <a:pt x="420" y="441"/>
                </a:lnTo>
                <a:lnTo>
                  <a:pt x="414" y="433"/>
                </a:lnTo>
                <a:lnTo>
                  <a:pt x="408" y="427"/>
                </a:lnTo>
                <a:lnTo>
                  <a:pt x="402" y="421"/>
                </a:lnTo>
                <a:lnTo>
                  <a:pt x="396" y="415"/>
                </a:lnTo>
                <a:lnTo>
                  <a:pt x="389" y="409"/>
                </a:lnTo>
                <a:lnTo>
                  <a:pt x="382" y="405"/>
                </a:lnTo>
                <a:lnTo>
                  <a:pt x="375" y="401"/>
                </a:lnTo>
                <a:lnTo>
                  <a:pt x="367" y="397"/>
                </a:lnTo>
                <a:lnTo>
                  <a:pt x="359" y="395"/>
                </a:lnTo>
                <a:lnTo>
                  <a:pt x="351" y="393"/>
                </a:lnTo>
                <a:lnTo>
                  <a:pt x="333" y="391"/>
                </a:lnTo>
                <a:lnTo>
                  <a:pt x="239" y="391"/>
                </a:lnTo>
                <a:close/>
                <a:moveTo>
                  <a:pt x="1780" y="395"/>
                </a:moveTo>
                <a:lnTo>
                  <a:pt x="1776" y="403"/>
                </a:lnTo>
                <a:lnTo>
                  <a:pt x="1772" y="411"/>
                </a:lnTo>
                <a:lnTo>
                  <a:pt x="1763" y="423"/>
                </a:lnTo>
                <a:lnTo>
                  <a:pt x="1754" y="433"/>
                </a:lnTo>
                <a:lnTo>
                  <a:pt x="1743" y="443"/>
                </a:lnTo>
                <a:lnTo>
                  <a:pt x="1814" y="788"/>
                </a:lnTo>
                <a:lnTo>
                  <a:pt x="1742" y="788"/>
                </a:lnTo>
                <a:lnTo>
                  <a:pt x="1683" y="465"/>
                </a:lnTo>
                <a:lnTo>
                  <a:pt x="1607" y="465"/>
                </a:lnTo>
                <a:lnTo>
                  <a:pt x="1607" y="788"/>
                </a:lnTo>
                <a:lnTo>
                  <a:pt x="1543" y="788"/>
                </a:lnTo>
                <a:lnTo>
                  <a:pt x="1543" y="18"/>
                </a:lnTo>
                <a:lnTo>
                  <a:pt x="1681" y="18"/>
                </a:lnTo>
                <a:lnTo>
                  <a:pt x="1696" y="18"/>
                </a:lnTo>
                <a:lnTo>
                  <a:pt x="1703" y="20"/>
                </a:lnTo>
                <a:lnTo>
                  <a:pt x="1710" y="22"/>
                </a:lnTo>
                <a:lnTo>
                  <a:pt x="1722" y="26"/>
                </a:lnTo>
                <a:lnTo>
                  <a:pt x="1734" y="32"/>
                </a:lnTo>
                <a:lnTo>
                  <a:pt x="1745" y="40"/>
                </a:lnTo>
                <a:lnTo>
                  <a:pt x="1755" y="50"/>
                </a:lnTo>
                <a:lnTo>
                  <a:pt x="1765" y="62"/>
                </a:lnTo>
                <a:lnTo>
                  <a:pt x="1769" y="68"/>
                </a:lnTo>
                <a:lnTo>
                  <a:pt x="1773" y="76"/>
                </a:lnTo>
                <a:lnTo>
                  <a:pt x="1781" y="92"/>
                </a:lnTo>
                <a:lnTo>
                  <a:pt x="1788" y="108"/>
                </a:lnTo>
                <a:lnTo>
                  <a:pt x="1791" y="118"/>
                </a:lnTo>
                <a:lnTo>
                  <a:pt x="1794" y="126"/>
                </a:lnTo>
                <a:lnTo>
                  <a:pt x="1799" y="146"/>
                </a:lnTo>
                <a:lnTo>
                  <a:pt x="1803" y="168"/>
                </a:lnTo>
                <a:lnTo>
                  <a:pt x="1805" y="178"/>
                </a:lnTo>
                <a:lnTo>
                  <a:pt x="1806" y="190"/>
                </a:lnTo>
                <a:lnTo>
                  <a:pt x="1807" y="200"/>
                </a:lnTo>
                <a:lnTo>
                  <a:pt x="1808" y="212"/>
                </a:lnTo>
                <a:lnTo>
                  <a:pt x="1808" y="224"/>
                </a:lnTo>
                <a:lnTo>
                  <a:pt x="1808" y="236"/>
                </a:lnTo>
                <a:lnTo>
                  <a:pt x="1808" y="263"/>
                </a:lnTo>
                <a:lnTo>
                  <a:pt x="1807" y="275"/>
                </a:lnTo>
                <a:lnTo>
                  <a:pt x="1806" y="287"/>
                </a:lnTo>
                <a:lnTo>
                  <a:pt x="1805" y="299"/>
                </a:lnTo>
                <a:lnTo>
                  <a:pt x="1804" y="309"/>
                </a:lnTo>
                <a:lnTo>
                  <a:pt x="1801" y="331"/>
                </a:lnTo>
                <a:lnTo>
                  <a:pt x="1797" y="349"/>
                </a:lnTo>
                <a:lnTo>
                  <a:pt x="1792" y="367"/>
                </a:lnTo>
                <a:lnTo>
                  <a:pt x="1786" y="381"/>
                </a:lnTo>
                <a:lnTo>
                  <a:pt x="1780" y="395"/>
                </a:lnTo>
                <a:close/>
                <a:moveTo>
                  <a:pt x="1678" y="122"/>
                </a:moveTo>
                <a:lnTo>
                  <a:pt x="1607" y="122"/>
                </a:lnTo>
                <a:lnTo>
                  <a:pt x="1607" y="365"/>
                </a:lnTo>
                <a:lnTo>
                  <a:pt x="1678" y="365"/>
                </a:lnTo>
                <a:lnTo>
                  <a:pt x="1686" y="363"/>
                </a:lnTo>
                <a:lnTo>
                  <a:pt x="1694" y="361"/>
                </a:lnTo>
                <a:lnTo>
                  <a:pt x="1700" y="359"/>
                </a:lnTo>
                <a:lnTo>
                  <a:pt x="1707" y="355"/>
                </a:lnTo>
                <a:lnTo>
                  <a:pt x="1712" y="351"/>
                </a:lnTo>
                <a:lnTo>
                  <a:pt x="1717" y="345"/>
                </a:lnTo>
                <a:lnTo>
                  <a:pt x="1722" y="339"/>
                </a:lnTo>
                <a:lnTo>
                  <a:pt x="1726" y="331"/>
                </a:lnTo>
                <a:lnTo>
                  <a:pt x="1730" y="323"/>
                </a:lnTo>
                <a:lnTo>
                  <a:pt x="1733" y="313"/>
                </a:lnTo>
                <a:lnTo>
                  <a:pt x="1736" y="303"/>
                </a:lnTo>
                <a:lnTo>
                  <a:pt x="1738" y="293"/>
                </a:lnTo>
                <a:lnTo>
                  <a:pt x="1740" y="281"/>
                </a:lnTo>
                <a:lnTo>
                  <a:pt x="1741" y="269"/>
                </a:lnTo>
                <a:lnTo>
                  <a:pt x="1742" y="257"/>
                </a:lnTo>
                <a:lnTo>
                  <a:pt x="1742" y="244"/>
                </a:lnTo>
                <a:lnTo>
                  <a:pt x="1742" y="230"/>
                </a:lnTo>
                <a:lnTo>
                  <a:pt x="1742" y="218"/>
                </a:lnTo>
                <a:lnTo>
                  <a:pt x="1740" y="206"/>
                </a:lnTo>
                <a:lnTo>
                  <a:pt x="1739" y="194"/>
                </a:lnTo>
                <a:lnTo>
                  <a:pt x="1737" y="184"/>
                </a:lnTo>
                <a:lnTo>
                  <a:pt x="1734" y="174"/>
                </a:lnTo>
                <a:lnTo>
                  <a:pt x="1731" y="164"/>
                </a:lnTo>
                <a:lnTo>
                  <a:pt x="1728" y="156"/>
                </a:lnTo>
                <a:lnTo>
                  <a:pt x="1723" y="148"/>
                </a:lnTo>
                <a:lnTo>
                  <a:pt x="1719" y="142"/>
                </a:lnTo>
                <a:lnTo>
                  <a:pt x="1713" y="136"/>
                </a:lnTo>
                <a:lnTo>
                  <a:pt x="1708" y="132"/>
                </a:lnTo>
                <a:lnTo>
                  <a:pt x="1701" y="128"/>
                </a:lnTo>
                <a:lnTo>
                  <a:pt x="1694" y="124"/>
                </a:lnTo>
                <a:lnTo>
                  <a:pt x="1686" y="122"/>
                </a:lnTo>
                <a:lnTo>
                  <a:pt x="1678" y="122"/>
                </a:lnTo>
                <a:close/>
                <a:moveTo>
                  <a:pt x="2090" y="788"/>
                </a:moveTo>
                <a:lnTo>
                  <a:pt x="2069" y="635"/>
                </a:lnTo>
                <a:lnTo>
                  <a:pt x="1942" y="635"/>
                </a:lnTo>
                <a:lnTo>
                  <a:pt x="1921" y="788"/>
                </a:lnTo>
                <a:lnTo>
                  <a:pt x="1854" y="788"/>
                </a:lnTo>
                <a:lnTo>
                  <a:pt x="1975" y="18"/>
                </a:lnTo>
                <a:lnTo>
                  <a:pt x="2037" y="18"/>
                </a:lnTo>
                <a:lnTo>
                  <a:pt x="2160" y="788"/>
                </a:lnTo>
                <a:lnTo>
                  <a:pt x="2090" y="788"/>
                </a:lnTo>
                <a:close/>
                <a:moveTo>
                  <a:pt x="2026" y="323"/>
                </a:moveTo>
                <a:lnTo>
                  <a:pt x="2015" y="250"/>
                </a:lnTo>
                <a:lnTo>
                  <a:pt x="2010" y="210"/>
                </a:lnTo>
                <a:lnTo>
                  <a:pt x="2006" y="170"/>
                </a:lnTo>
                <a:lnTo>
                  <a:pt x="2001" y="210"/>
                </a:lnTo>
                <a:lnTo>
                  <a:pt x="1996" y="250"/>
                </a:lnTo>
                <a:lnTo>
                  <a:pt x="1986" y="325"/>
                </a:lnTo>
                <a:lnTo>
                  <a:pt x="1957" y="529"/>
                </a:lnTo>
                <a:lnTo>
                  <a:pt x="2053" y="529"/>
                </a:lnTo>
                <a:lnTo>
                  <a:pt x="2026" y="323"/>
                </a:lnTo>
                <a:close/>
                <a:moveTo>
                  <a:pt x="2419" y="788"/>
                </a:moveTo>
                <a:lnTo>
                  <a:pt x="2323" y="431"/>
                </a:lnTo>
                <a:lnTo>
                  <a:pt x="2285" y="527"/>
                </a:lnTo>
                <a:lnTo>
                  <a:pt x="2285" y="788"/>
                </a:lnTo>
                <a:lnTo>
                  <a:pt x="2220" y="788"/>
                </a:lnTo>
                <a:lnTo>
                  <a:pt x="2220" y="18"/>
                </a:lnTo>
                <a:lnTo>
                  <a:pt x="2285" y="18"/>
                </a:lnTo>
                <a:lnTo>
                  <a:pt x="2285" y="347"/>
                </a:lnTo>
                <a:lnTo>
                  <a:pt x="2410" y="18"/>
                </a:lnTo>
                <a:lnTo>
                  <a:pt x="2492" y="18"/>
                </a:lnTo>
                <a:lnTo>
                  <a:pt x="2363" y="333"/>
                </a:lnTo>
                <a:lnTo>
                  <a:pt x="2498" y="788"/>
                </a:lnTo>
                <a:lnTo>
                  <a:pt x="2419" y="788"/>
                </a:lnTo>
                <a:close/>
                <a:moveTo>
                  <a:pt x="2558" y="788"/>
                </a:moveTo>
                <a:lnTo>
                  <a:pt x="2558" y="18"/>
                </a:lnTo>
                <a:lnTo>
                  <a:pt x="2786" y="18"/>
                </a:lnTo>
                <a:lnTo>
                  <a:pt x="2786" y="126"/>
                </a:lnTo>
                <a:lnTo>
                  <a:pt x="2623" y="126"/>
                </a:lnTo>
                <a:lnTo>
                  <a:pt x="2623" y="341"/>
                </a:lnTo>
                <a:lnTo>
                  <a:pt x="2756" y="341"/>
                </a:lnTo>
                <a:lnTo>
                  <a:pt x="2756" y="445"/>
                </a:lnTo>
                <a:lnTo>
                  <a:pt x="2623" y="445"/>
                </a:lnTo>
                <a:lnTo>
                  <a:pt x="2623" y="683"/>
                </a:lnTo>
                <a:lnTo>
                  <a:pt x="2786" y="683"/>
                </a:lnTo>
                <a:lnTo>
                  <a:pt x="2786" y="788"/>
                </a:lnTo>
                <a:lnTo>
                  <a:pt x="2558" y="788"/>
                </a:lnTo>
                <a:close/>
                <a:moveTo>
                  <a:pt x="2939" y="18"/>
                </a:moveTo>
                <a:lnTo>
                  <a:pt x="3030" y="439"/>
                </a:lnTo>
                <a:lnTo>
                  <a:pt x="3038" y="477"/>
                </a:lnTo>
                <a:lnTo>
                  <a:pt x="3042" y="495"/>
                </a:lnTo>
                <a:lnTo>
                  <a:pt x="3046" y="515"/>
                </a:lnTo>
                <a:lnTo>
                  <a:pt x="3053" y="553"/>
                </a:lnTo>
                <a:lnTo>
                  <a:pt x="3060" y="595"/>
                </a:lnTo>
                <a:lnTo>
                  <a:pt x="3060" y="509"/>
                </a:lnTo>
                <a:lnTo>
                  <a:pt x="3059" y="421"/>
                </a:lnTo>
                <a:lnTo>
                  <a:pt x="3059" y="18"/>
                </a:lnTo>
                <a:lnTo>
                  <a:pt x="3124" y="18"/>
                </a:lnTo>
                <a:lnTo>
                  <a:pt x="3124" y="788"/>
                </a:lnTo>
                <a:lnTo>
                  <a:pt x="3046" y="788"/>
                </a:lnTo>
                <a:lnTo>
                  <a:pt x="2954" y="369"/>
                </a:lnTo>
                <a:lnTo>
                  <a:pt x="2946" y="331"/>
                </a:lnTo>
                <a:lnTo>
                  <a:pt x="2938" y="293"/>
                </a:lnTo>
                <a:lnTo>
                  <a:pt x="2931" y="255"/>
                </a:lnTo>
                <a:lnTo>
                  <a:pt x="2923" y="214"/>
                </a:lnTo>
                <a:lnTo>
                  <a:pt x="2924" y="389"/>
                </a:lnTo>
                <a:lnTo>
                  <a:pt x="2924" y="790"/>
                </a:lnTo>
                <a:lnTo>
                  <a:pt x="2859" y="790"/>
                </a:lnTo>
                <a:lnTo>
                  <a:pt x="2859" y="18"/>
                </a:lnTo>
                <a:lnTo>
                  <a:pt x="2939" y="18"/>
                </a:lnTo>
                <a:close/>
                <a:moveTo>
                  <a:pt x="3306" y="18"/>
                </a:moveTo>
                <a:lnTo>
                  <a:pt x="3396" y="425"/>
                </a:lnTo>
                <a:lnTo>
                  <a:pt x="3404" y="463"/>
                </a:lnTo>
                <a:lnTo>
                  <a:pt x="3408" y="481"/>
                </a:lnTo>
                <a:lnTo>
                  <a:pt x="3412" y="501"/>
                </a:lnTo>
                <a:lnTo>
                  <a:pt x="3419" y="539"/>
                </a:lnTo>
                <a:lnTo>
                  <a:pt x="3426" y="581"/>
                </a:lnTo>
                <a:lnTo>
                  <a:pt x="3426" y="495"/>
                </a:lnTo>
                <a:lnTo>
                  <a:pt x="3426" y="407"/>
                </a:lnTo>
                <a:lnTo>
                  <a:pt x="3426" y="18"/>
                </a:lnTo>
                <a:lnTo>
                  <a:pt x="3491" y="18"/>
                </a:lnTo>
                <a:lnTo>
                  <a:pt x="3491" y="788"/>
                </a:lnTo>
                <a:lnTo>
                  <a:pt x="3412" y="788"/>
                </a:lnTo>
                <a:lnTo>
                  <a:pt x="3320" y="383"/>
                </a:lnTo>
                <a:lnTo>
                  <a:pt x="3312" y="345"/>
                </a:lnTo>
                <a:lnTo>
                  <a:pt x="3305" y="307"/>
                </a:lnTo>
                <a:lnTo>
                  <a:pt x="3297" y="269"/>
                </a:lnTo>
                <a:lnTo>
                  <a:pt x="3290" y="228"/>
                </a:lnTo>
                <a:lnTo>
                  <a:pt x="3290" y="403"/>
                </a:lnTo>
                <a:lnTo>
                  <a:pt x="3290" y="788"/>
                </a:lnTo>
                <a:lnTo>
                  <a:pt x="3226" y="788"/>
                </a:lnTo>
                <a:lnTo>
                  <a:pt x="3226" y="18"/>
                </a:lnTo>
                <a:lnTo>
                  <a:pt x="3306" y="18"/>
                </a:lnTo>
                <a:close/>
                <a:moveTo>
                  <a:pt x="3618" y="735"/>
                </a:moveTo>
                <a:lnTo>
                  <a:pt x="3611" y="719"/>
                </a:lnTo>
                <a:lnTo>
                  <a:pt x="3605" y="701"/>
                </a:lnTo>
                <a:lnTo>
                  <a:pt x="3599" y="681"/>
                </a:lnTo>
                <a:lnTo>
                  <a:pt x="3597" y="669"/>
                </a:lnTo>
                <a:lnTo>
                  <a:pt x="3595" y="659"/>
                </a:lnTo>
                <a:lnTo>
                  <a:pt x="3591" y="635"/>
                </a:lnTo>
                <a:lnTo>
                  <a:pt x="3589" y="609"/>
                </a:lnTo>
                <a:lnTo>
                  <a:pt x="3588" y="595"/>
                </a:lnTo>
                <a:lnTo>
                  <a:pt x="3587" y="581"/>
                </a:lnTo>
                <a:lnTo>
                  <a:pt x="3587" y="549"/>
                </a:lnTo>
                <a:lnTo>
                  <a:pt x="3587" y="18"/>
                </a:lnTo>
                <a:lnTo>
                  <a:pt x="3652" y="18"/>
                </a:lnTo>
                <a:lnTo>
                  <a:pt x="3652" y="543"/>
                </a:lnTo>
                <a:lnTo>
                  <a:pt x="3652" y="563"/>
                </a:lnTo>
                <a:lnTo>
                  <a:pt x="3652" y="581"/>
                </a:lnTo>
                <a:lnTo>
                  <a:pt x="3653" y="597"/>
                </a:lnTo>
                <a:lnTo>
                  <a:pt x="3655" y="611"/>
                </a:lnTo>
                <a:lnTo>
                  <a:pt x="3657" y="625"/>
                </a:lnTo>
                <a:lnTo>
                  <a:pt x="3659" y="637"/>
                </a:lnTo>
                <a:lnTo>
                  <a:pt x="3662" y="649"/>
                </a:lnTo>
                <a:lnTo>
                  <a:pt x="3665" y="659"/>
                </a:lnTo>
                <a:lnTo>
                  <a:pt x="3669" y="667"/>
                </a:lnTo>
                <a:lnTo>
                  <a:pt x="3674" y="675"/>
                </a:lnTo>
                <a:lnTo>
                  <a:pt x="3679" y="683"/>
                </a:lnTo>
                <a:lnTo>
                  <a:pt x="3685" y="689"/>
                </a:lnTo>
                <a:lnTo>
                  <a:pt x="3688" y="691"/>
                </a:lnTo>
                <a:lnTo>
                  <a:pt x="3692" y="693"/>
                </a:lnTo>
                <a:lnTo>
                  <a:pt x="3699" y="697"/>
                </a:lnTo>
                <a:lnTo>
                  <a:pt x="3706" y="699"/>
                </a:lnTo>
                <a:lnTo>
                  <a:pt x="3715" y="699"/>
                </a:lnTo>
                <a:lnTo>
                  <a:pt x="3723" y="699"/>
                </a:lnTo>
                <a:lnTo>
                  <a:pt x="3731" y="697"/>
                </a:lnTo>
                <a:lnTo>
                  <a:pt x="3738" y="693"/>
                </a:lnTo>
                <a:lnTo>
                  <a:pt x="3744" y="689"/>
                </a:lnTo>
                <a:lnTo>
                  <a:pt x="3750" y="683"/>
                </a:lnTo>
                <a:lnTo>
                  <a:pt x="3755" y="675"/>
                </a:lnTo>
                <a:lnTo>
                  <a:pt x="3760" y="667"/>
                </a:lnTo>
                <a:lnTo>
                  <a:pt x="3764" y="659"/>
                </a:lnTo>
                <a:lnTo>
                  <a:pt x="3768" y="649"/>
                </a:lnTo>
                <a:lnTo>
                  <a:pt x="3770" y="637"/>
                </a:lnTo>
                <a:lnTo>
                  <a:pt x="3773" y="625"/>
                </a:lnTo>
                <a:lnTo>
                  <a:pt x="3775" y="613"/>
                </a:lnTo>
                <a:lnTo>
                  <a:pt x="3776" y="597"/>
                </a:lnTo>
                <a:lnTo>
                  <a:pt x="3777" y="581"/>
                </a:lnTo>
                <a:lnTo>
                  <a:pt x="3778" y="563"/>
                </a:lnTo>
                <a:lnTo>
                  <a:pt x="3778" y="543"/>
                </a:lnTo>
                <a:lnTo>
                  <a:pt x="3778" y="18"/>
                </a:lnTo>
                <a:lnTo>
                  <a:pt x="3843" y="18"/>
                </a:lnTo>
                <a:lnTo>
                  <a:pt x="3843" y="549"/>
                </a:lnTo>
                <a:lnTo>
                  <a:pt x="3843" y="581"/>
                </a:lnTo>
                <a:lnTo>
                  <a:pt x="3842" y="595"/>
                </a:lnTo>
                <a:lnTo>
                  <a:pt x="3841" y="609"/>
                </a:lnTo>
                <a:lnTo>
                  <a:pt x="3838" y="635"/>
                </a:lnTo>
                <a:lnTo>
                  <a:pt x="3835" y="659"/>
                </a:lnTo>
                <a:lnTo>
                  <a:pt x="3833" y="669"/>
                </a:lnTo>
                <a:lnTo>
                  <a:pt x="3830" y="681"/>
                </a:lnTo>
                <a:lnTo>
                  <a:pt x="3825" y="701"/>
                </a:lnTo>
                <a:lnTo>
                  <a:pt x="3822" y="709"/>
                </a:lnTo>
                <a:lnTo>
                  <a:pt x="3819" y="719"/>
                </a:lnTo>
                <a:lnTo>
                  <a:pt x="3815" y="727"/>
                </a:lnTo>
                <a:lnTo>
                  <a:pt x="3812" y="735"/>
                </a:lnTo>
                <a:lnTo>
                  <a:pt x="3807" y="744"/>
                </a:lnTo>
                <a:lnTo>
                  <a:pt x="3802" y="752"/>
                </a:lnTo>
                <a:lnTo>
                  <a:pt x="3792" y="766"/>
                </a:lnTo>
                <a:lnTo>
                  <a:pt x="3781" y="778"/>
                </a:lnTo>
                <a:lnTo>
                  <a:pt x="3775" y="784"/>
                </a:lnTo>
                <a:lnTo>
                  <a:pt x="3769" y="788"/>
                </a:lnTo>
                <a:lnTo>
                  <a:pt x="3757" y="796"/>
                </a:lnTo>
                <a:lnTo>
                  <a:pt x="3750" y="800"/>
                </a:lnTo>
                <a:lnTo>
                  <a:pt x="3743" y="802"/>
                </a:lnTo>
                <a:lnTo>
                  <a:pt x="3729" y="806"/>
                </a:lnTo>
                <a:lnTo>
                  <a:pt x="3722" y="806"/>
                </a:lnTo>
                <a:lnTo>
                  <a:pt x="3715" y="806"/>
                </a:lnTo>
                <a:lnTo>
                  <a:pt x="3700" y="806"/>
                </a:lnTo>
                <a:lnTo>
                  <a:pt x="3686" y="802"/>
                </a:lnTo>
                <a:lnTo>
                  <a:pt x="3679" y="800"/>
                </a:lnTo>
                <a:lnTo>
                  <a:pt x="3673" y="796"/>
                </a:lnTo>
                <a:lnTo>
                  <a:pt x="3660" y="788"/>
                </a:lnTo>
                <a:lnTo>
                  <a:pt x="3648" y="778"/>
                </a:lnTo>
                <a:lnTo>
                  <a:pt x="3637" y="766"/>
                </a:lnTo>
                <a:lnTo>
                  <a:pt x="3627" y="750"/>
                </a:lnTo>
                <a:lnTo>
                  <a:pt x="3623" y="742"/>
                </a:lnTo>
                <a:lnTo>
                  <a:pt x="3618" y="735"/>
                </a:lnTo>
                <a:close/>
                <a:moveTo>
                  <a:pt x="4052" y="806"/>
                </a:moveTo>
                <a:lnTo>
                  <a:pt x="4036" y="806"/>
                </a:lnTo>
                <a:lnTo>
                  <a:pt x="4020" y="802"/>
                </a:lnTo>
                <a:lnTo>
                  <a:pt x="4006" y="796"/>
                </a:lnTo>
                <a:lnTo>
                  <a:pt x="4000" y="792"/>
                </a:lnTo>
                <a:lnTo>
                  <a:pt x="3993" y="788"/>
                </a:lnTo>
                <a:lnTo>
                  <a:pt x="3981" y="780"/>
                </a:lnTo>
                <a:lnTo>
                  <a:pt x="3975" y="774"/>
                </a:lnTo>
                <a:lnTo>
                  <a:pt x="3970" y="768"/>
                </a:lnTo>
                <a:lnTo>
                  <a:pt x="3960" y="756"/>
                </a:lnTo>
                <a:lnTo>
                  <a:pt x="3956" y="748"/>
                </a:lnTo>
                <a:lnTo>
                  <a:pt x="3951" y="740"/>
                </a:lnTo>
                <a:lnTo>
                  <a:pt x="3947" y="733"/>
                </a:lnTo>
                <a:lnTo>
                  <a:pt x="3943" y="725"/>
                </a:lnTo>
                <a:lnTo>
                  <a:pt x="3939" y="717"/>
                </a:lnTo>
                <a:lnTo>
                  <a:pt x="3936" y="707"/>
                </a:lnTo>
                <a:lnTo>
                  <a:pt x="3930" y="687"/>
                </a:lnTo>
                <a:lnTo>
                  <a:pt x="3926" y="667"/>
                </a:lnTo>
                <a:lnTo>
                  <a:pt x="3924" y="657"/>
                </a:lnTo>
                <a:lnTo>
                  <a:pt x="3922" y="645"/>
                </a:lnTo>
                <a:lnTo>
                  <a:pt x="3919" y="623"/>
                </a:lnTo>
                <a:lnTo>
                  <a:pt x="3918" y="599"/>
                </a:lnTo>
                <a:lnTo>
                  <a:pt x="3917" y="585"/>
                </a:lnTo>
                <a:lnTo>
                  <a:pt x="3917" y="573"/>
                </a:lnTo>
                <a:lnTo>
                  <a:pt x="3980" y="545"/>
                </a:lnTo>
                <a:lnTo>
                  <a:pt x="3981" y="567"/>
                </a:lnTo>
                <a:lnTo>
                  <a:pt x="3982" y="587"/>
                </a:lnTo>
                <a:lnTo>
                  <a:pt x="3984" y="603"/>
                </a:lnTo>
                <a:lnTo>
                  <a:pt x="3986" y="619"/>
                </a:lnTo>
                <a:lnTo>
                  <a:pt x="3988" y="627"/>
                </a:lnTo>
                <a:lnTo>
                  <a:pt x="3989" y="635"/>
                </a:lnTo>
                <a:lnTo>
                  <a:pt x="3993" y="647"/>
                </a:lnTo>
                <a:lnTo>
                  <a:pt x="3997" y="659"/>
                </a:lnTo>
                <a:lnTo>
                  <a:pt x="4001" y="667"/>
                </a:lnTo>
                <a:lnTo>
                  <a:pt x="4006" y="677"/>
                </a:lnTo>
                <a:lnTo>
                  <a:pt x="4012" y="683"/>
                </a:lnTo>
                <a:lnTo>
                  <a:pt x="4018" y="689"/>
                </a:lnTo>
                <a:lnTo>
                  <a:pt x="4025" y="693"/>
                </a:lnTo>
                <a:lnTo>
                  <a:pt x="4032" y="697"/>
                </a:lnTo>
                <a:lnTo>
                  <a:pt x="4039" y="699"/>
                </a:lnTo>
                <a:lnTo>
                  <a:pt x="4047" y="701"/>
                </a:lnTo>
                <a:lnTo>
                  <a:pt x="4056" y="701"/>
                </a:lnTo>
                <a:lnTo>
                  <a:pt x="4063" y="701"/>
                </a:lnTo>
                <a:lnTo>
                  <a:pt x="4070" y="699"/>
                </a:lnTo>
                <a:lnTo>
                  <a:pt x="4077" y="697"/>
                </a:lnTo>
                <a:lnTo>
                  <a:pt x="4083" y="695"/>
                </a:lnTo>
                <a:lnTo>
                  <a:pt x="4089" y="691"/>
                </a:lnTo>
                <a:lnTo>
                  <a:pt x="4095" y="685"/>
                </a:lnTo>
                <a:lnTo>
                  <a:pt x="4100" y="679"/>
                </a:lnTo>
                <a:lnTo>
                  <a:pt x="4105" y="673"/>
                </a:lnTo>
                <a:lnTo>
                  <a:pt x="4109" y="665"/>
                </a:lnTo>
                <a:lnTo>
                  <a:pt x="4113" y="657"/>
                </a:lnTo>
                <a:lnTo>
                  <a:pt x="4116" y="649"/>
                </a:lnTo>
                <a:lnTo>
                  <a:pt x="4119" y="639"/>
                </a:lnTo>
                <a:lnTo>
                  <a:pt x="4121" y="627"/>
                </a:lnTo>
                <a:lnTo>
                  <a:pt x="4122" y="623"/>
                </a:lnTo>
                <a:lnTo>
                  <a:pt x="4123" y="617"/>
                </a:lnTo>
                <a:lnTo>
                  <a:pt x="4124" y="605"/>
                </a:lnTo>
                <a:lnTo>
                  <a:pt x="4124" y="591"/>
                </a:lnTo>
                <a:lnTo>
                  <a:pt x="4124" y="581"/>
                </a:lnTo>
                <a:lnTo>
                  <a:pt x="4123" y="571"/>
                </a:lnTo>
                <a:lnTo>
                  <a:pt x="4122" y="563"/>
                </a:lnTo>
                <a:lnTo>
                  <a:pt x="4121" y="553"/>
                </a:lnTo>
                <a:lnTo>
                  <a:pt x="4119" y="545"/>
                </a:lnTo>
                <a:lnTo>
                  <a:pt x="4117" y="537"/>
                </a:lnTo>
                <a:lnTo>
                  <a:pt x="4115" y="529"/>
                </a:lnTo>
                <a:lnTo>
                  <a:pt x="4112" y="521"/>
                </a:lnTo>
                <a:lnTo>
                  <a:pt x="4104" y="505"/>
                </a:lnTo>
                <a:lnTo>
                  <a:pt x="4100" y="497"/>
                </a:lnTo>
                <a:lnTo>
                  <a:pt x="4095" y="491"/>
                </a:lnTo>
                <a:lnTo>
                  <a:pt x="4084" y="477"/>
                </a:lnTo>
                <a:lnTo>
                  <a:pt x="4071" y="465"/>
                </a:lnTo>
                <a:lnTo>
                  <a:pt x="4007" y="407"/>
                </a:lnTo>
                <a:lnTo>
                  <a:pt x="3998" y="399"/>
                </a:lnTo>
                <a:lnTo>
                  <a:pt x="3988" y="389"/>
                </a:lnTo>
                <a:lnTo>
                  <a:pt x="3972" y="369"/>
                </a:lnTo>
                <a:lnTo>
                  <a:pt x="3958" y="349"/>
                </a:lnTo>
                <a:lnTo>
                  <a:pt x="3953" y="337"/>
                </a:lnTo>
                <a:lnTo>
                  <a:pt x="3947" y="325"/>
                </a:lnTo>
                <a:lnTo>
                  <a:pt x="3942" y="313"/>
                </a:lnTo>
                <a:lnTo>
                  <a:pt x="3937" y="299"/>
                </a:lnTo>
                <a:lnTo>
                  <a:pt x="3934" y="285"/>
                </a:lnTo>
                <a:lnTo>
                  <a:pt x="3931" y="269"/>
                </a:lnTo>
                <a:lnTo>
                  <a:pt x="3929" y="253"/>
                </a:lnTo>
                <a:lnTo>
                  <a:pt x="3928" y="246"/>
                </a:lnTo>
                <a:lnTo>
                  <a:pt x="3927" y="238"/>
                </a:lnTo>
                <a:lnTo>
                  <a:pt x="3927" y="220"/>
                </a:lnTo>
                <a:lnTo>
                  <a:pt x="3926" y="200"/>
                </a:lnTo>
                <a:lnTo>
                  <a:pt x="3926" y="188"/>
                </a:lnTo>
                <a:lnTo>
                  <a:pt x="3927" y="176"/>
                </a:lnTo>
                <a:lnTo>
                  <a:pt x="3928" y="164"/>
                </a:lnTo>
                <a:lnTo>
                  <a:pt x="3929" y="152"/>
                </a:lnTo>
                <a:lnTo>
                  <a:pt x="3930" y="142"/>
                </a:lnTo>
                <a:lnTo>
                  <a:pt x="3932" y="132"/>
                </a:lnTo>
                <a:lnTo>
                  <a:pt x="3936" y="112"/>
                </a:lnTo>
                <a:lnTo>
                  <a:pt x="3939" y="102"/>
                </a:lnTo>
                <a:lnTo>
                  <a:pt x="3942" y="94"/>
                </a:lnTo>
                <a:lnTo>
                  <a:pt x="3949" y="78"/>
                </a:lnTo>
                <a:lnTo>
                  <a:pt x="3957" y="62"/>
                </a:lnTo>
                <a:lnTo>
                  <a:pt x="3961" y="56"/>
                </a:lnTo>
                <a:lnTo>
                  <a:pt x="3965" y="50"/>
                </a:lnTo>
                <a:lnTo>
                  <a:pt x="3974" y="38"/>
                </a:lnTo>
                <a:lnTo>
                  <a:pt x="3984" y="28"/>
                </a:lnTo>
                <a:lnTo>
                  <a:pt x="3994" y="20"/>
                </a:lnTo>
                <a:lnTo>
                  <a:pt x="4005" y="12"/>
                </a:lnTo>
                <a:lnTo>
                  <a:pt x="4017" y="6"/>
                </a:lnTo>
                <a:lnTo>
                  <a:pt x="4029" y="4"/>
                </a:lnTo>
                <a:lnTo>
                  <a:pt x="4042" y="0"/>
                </a:lnTo>
                <a:lnTo>
                  <a:pt x="4055" y="0"/>
                </a:lnTo>
                <a:lnTo>
                  <a:pt x="4070" y="2"/>
                </a:lnTo>
                <a:lnTo>
                  <a:pt x="4085" y="4"/>
                </a:lnTo>
                <a:lnTo>
                  <a:pt x="4098" y="10"/>
                </a:lnTo>
                <a:lnTo>
                  <a:pt x="4104" y="14"/>
                </a:lnTo>
                <a:lnTo>
                  <a:pt x="4110" y="18"/>
                </a:lnTo>
                <a:lnTo>
                  <a:pt x="4122" y="26"/>
                </a:lnTo>
                <a:lnTo>
                  <a:pt x="4132" y="38"/>
                </a:lnTo>
                <a:lnTo>
                  <a:pt x="4141" y="50"/>
                </a:lnTo>
                <a:lnTo>
                  <a:pt x="4149" y="64"/>
                </a:lnTo>
                <a:lnTo>
                  <a:pt x="4153" y="72"/>
                </a:lnTo>
                <a:lnTo>
                  <a:pt x="4156" y="78"/>
                </a:lnTo>
                <a:lnTo>
                  <a:pt x="4159" y="86"/>
                </a:lnTo>
                <a:lnTo>
                  <a:pt x="4162" y="94"/>
                </a:lnTo>
                <a:lnTo>
                  <a:pt x="4167" y="112"/>
                </a:lnTo>
                <a:lnTo>
                  <a:pt x="4172" y="128"/>
                </a:lnTo>
                <a:lnTo>
                  <a:pt x="4175" y="146"/>
                </a:lnTo>
                <a:lnTo>
                  <a:pt x="4177" y="166"/>
                </a:lnTo>
                <a:lnTo>
                  <a:pt x="4179" y="184"/>
                </a:lnTo>
                <a:lnTo>
                  <a:pt x="4179" y="202"/>
                </a:lnTo>
                <a:lnTo>
                  <a:pt x="4117" y="228"/>
                </a:lnTo>
                <a:lnTo>
                  <a:pt x="4117" y="212"/>
                </a:lnTo>
                <a:lnTo>
                  <a:pt x="4115" y="198"/>
                </a:lnTo>
                <a:lnTo>
                  <a:pt x="4114" y="186"/>
                </a:lnTo>
                <a:lnTo>
                  <a:pt x="4112" y="172"/>
                </a:lnTo>
                <a:lnTo>
                  <a:pt x="4109" y="162"/>
                </a:lnTo>
                <a:lnTo>
                  <a:pt x="4106" y="152"/>
                </a:lnTo>
                <a:lnTo>
                  <a:pt x="4103" y="142"/>
                </a:lnTo>
                <a:lnTo>
                  <a:pt x="4099" y="136"/>
                </a:lnTo>
                <a:lnTo>
                  <a:pt x="4095" y="128"/>
                </a:lnTo>
                <a:lnTo>
                  <a:pt x="4090" y="122"/>
                </a:lnTo>
                <a:lnTo>
                  <a:pt x="4085" y="118"/>
                </a:lnTo>
                <a:lnTo>
                  <a:pt x="4079" y="114"/>
                </a:lnTo>
                <a:lnTo>
                  <a:pt x="4073" y="110"/>
                </a:lnTo>
                <a:lnTo>
                  <a:pt x="4067" y="108"/>
                </a:lnTo>
                <a:lnTo>
                  <a:pt x="4060" y="108"/>
                </a:lnTo>
                <a:lnTo>
                  <a:pt x="4052" y="106"/>
                </a:lnTo>
                <a:lnTo>
                  <a:pt x="4040" y="108"/>
                </a:lnTo>
                <a:lnTo>
                  <a:pt x="4028" y="112"/>
                </a:lnTo>
                <a:lnTo>
                  <a:pt x="4023" y="116"/>
                </a:lnTo>
                <a:lnTo>
                  <a:pt x="4018" y="120"/>
                </a:lnTo>
                <a:lnTo>
                  <a:pt x="4013" y="124"/>
                </a:lnTo>
                <a:lnTo>
                  <a:pt x="4009" y="128"/>
                </a:lnTo>
                <a:lnTo>
                  <a:pt x="4005" y="134"/>
                </a:lnTo>
                <a:lnTo>
                  <a:pt x="4002" y="140"/>
                </a:lnTo>
                <a:lnTo>
                  <a:pt x="3999" y="148"/>
                </a:lnTo>
                <a:lnTo>
                  <a:pt x="3996" y="156"/>
                </a:lnTo>
                <a:lnTo>
                  <a:pt x="3994" y="164"/>
                </a:lnTo>
                <a:lnTo>
                  <a:pt x="3993" y="174"/>
                </a:lnTo>
                <a:lnTo>
                  <a:pt x="3992" y="184"/>
                </a:lnTo>
                <a:lnTo>
                  <a:pt x="3992" y="194"/>
                </a:lnTo>
                <a:lnTo>
                  <a:pt x="3992" y="204"/>
                </a:lnTo>
                <a:lnTo>
                  <a:pt x="3992" y="214"/>
                </a:lnTo>
                <a:lnTo>
                  <a:pt x="3993" y="224"/>
                </a:lnTo>
                <a:lnTo>
                  <a:pt x="3994" y="232"/>
                </a:lnTo>
                <a:lnTo>
                  <a:pt x="3996" y="240"/>
                </a:lnTo>
                <a:lnTo>
                  <a:pt x="3998" y="248"/>
                </a:lnTo>
                <a:lnTo>
                  <a:pt x="4001" y="255"/>
                </a:lnTo>
                <a:lnTo>
                  <a:pt x="4003" y="261"/>
                </a:lnTo>
                <a:lnTo>
                  <a:pt x="4007" y="267"/>
                </a:lnTo>
                <a:lnTo>
                  <a:pt x="4010" y="273"/>
                </a:lnTo>
                <a:lnTo>
                  <a:pt x="4019" y="285"/>
                </a:lnTo>
                <a:lnTo>
                  <a:pt x="4029" y="297"/>
                </a:lnTo>
                <a:lnTo>
                  <a:pt x="4041" y="309"/>
                </a:lnTo>
                <a:lnTo>
                  <a:pt x="4103" y="363"/>
                </a:lnTo>
                <a:lnTo>
                  <a:pt x="4113" y="373"/>
                </a:lnTo>
                <a:lnTo>
                  <a:pt x="4123" y="383"/>
                </a:lnTo>
                <a:lnTo>
                  <a:pt x="4133" y="393"/>
                </a:lnTo>
                <a:lnTo>
                  <a:pt x="4141" y="405"/>
                </a:lnTo>
                <a:lnTo>
                  <a:pt x="4149" y="417"/>
                </a:lnTo>
                <a:lnTo>
                  <a:pt x="4156" y="427"/>
                </a:lnTo>
                <a:lnTo>
                  <a:pt x="4162" y="441"/>
                </a:lnTo>
                <a:lnTo>
                  <a:pt x="4168" y="453"/>
                </a:lnTo>
                <a:lnTo>
                  <a:pt x="4173" y="467"/>
                </a:lnTo>
                <a:lnTo>
                  <a:pt x="4177" y="481"/>
                </a:lnTo>
                <a:lnTo>
                  <a:pt x="4181" y="495"/>
                </a:lnTo>
                <a:lnTo>
                  <a:pt x="4184" y="511"/>
                </a:lnTo>
                <a:lnTo>
                  <a:pt x="4186" y="527"/>
                </a:lnTo>
                <a:lnTo>
                  <a:pt x="4187" y="537"/>
                </a:lnTo>
                <a:lnTo>
                  <a:pt x="4187" y="545"/>
                </a:lnTo>
                <a:lnTo>
                  <a:pt x="4188" y="563"/>
                </a:lnTo>
                <a:lnTo>
                  <a:pt x="4189" y="583"/>
                </a:lnTo>
                <a:lnTo>
                  <a:pt x="4188" y="609"/>
                </a:lnTo>
                <a:lnTo>
                  <a:pt x="4186" y="633"/>
                </a:lnTo>
                <a:lnTo>
                  <a:pt x="4185" y="645"/>
                </a:lnTo>
                <a:lnTo>
                  <a:pt x="4183" y="655"/>
                </a:lnTo>
                <a:lnTo>
                  <a:pt x="4181" y="667"/>
                </a:lnTo>
                <a:lnTo>
                  <a:pt x="4179" y="677"/>
                </a:lnTo>
                <a:lnTo>
                  <a:pt x="4177" y="687"/>
                </a:lnTo>
                <a:lnTo>
                  <a:pt x="4174" y="697"/>
                </a:lnTo>
                <a:lnTo>
                  <a:pt x="4167" y="715"/>
                </a:lnTo>
                <a:lnTo>
                  <a:pt x="4164" y="723"/>
                </a:lnTo>
                <a:lnTo>
                  <a:pt x="4160" y="733"/>
                </a:lnTo>
                <a:lnTo>
                  <a:pt x="4152" y="746"/>
                </a:lnTo>
                <a:lnTo>
                  <a:pt x="4147" y="754"/>
                </a:lnTo>
                <a:lnTo>
                  <a:pt x="4142" y="760"/>
                </a:lnTo>
                <a:lnTo>
                  <a:pt x="4137" y="766"/>
                </a:lnTo>
                <a:lnTo>
                  <a:pt x="4132" y="772"/>
                </a:lnTo>
                <a:lnTo>
                  <a:pt x="4121" y="782"/>
                </a:lnTo>
                <a:lnTo>
                  <a:pt x="4109" y="790"/>
                </a:lnTo>
                <a:lnTo>
                  <a:pt x="4096" y="798"/>
                </a:lnTo>
                <a:lnTo>
                  <a:pt x="4082" y="802"/>
                </a:lnTo>
                <a:lnTo>
                  <a:pt x="4075" y="804"/>
                </a:lnTo>
                <a:lnTo>
                  <a:pt x="4068" y="804"/>
                </a:lnTo>
                <a:lnTo>
                  <a:pt x="4052" y="806"/>
                </a:lnTo>
                <a:close/>
                <a:moveTo>
                  <a:pt x="1669" y="1273"/>
                </a:moveTo>
                <a:lnTo>
                  <a:pt x="1669" y="1936"/>
                </a:lnTo>
                <a:lnTo>
                  <a:pt x="1604" y="1936"/>
                </a:lnTo>
                <a:lnTo>
                  <a:pt x="1604" y="1273"/>
                </a:lnTo>
                <a:lnTo>
                  <a:pt x="1506" y="1273"/>
                </a:lnTo>
                <a:lnTo>
                  <a:pt x="1506" y="1166"/>
                </a:lnTo>
                <a:lnTo>
                  <a:pt x="1767" y="1166"/>
                </a:lnTo>
                <a:lnTo>
                  <a:pt x="1767" y="1273"/>
                </a:lnTo>
                <a:lnTo>
                  <a:pt x="1669" y="1273"/>
                </a:lnTo>
                <a:close/>
                <a:moveTo>
                  <a:pt x="1832" y="1936"/>
                </a:moveTo>
                <a:lnTo>
                  <a:pt x="1832" y="1166"/>
                </a:lnTo>
                <a:lnTo>
                  <a:pt x="2060" y="1166"/>
                </a:lnTo>
                <a:lnTo>
                  <a:pt x="2060" y="1273"/>
                </a:lnTo>
                <a:lnTo>
                  <a:pt x="1897" y="1273"/>
                </a:lnTo>
                <a:lnTo>
                  <a:pt x="1897" y="1489"/>
                </a:lnTo>
                <a:lnTo>
                  <a:pt x="2030" y="1489"/>
                </a:lnTo>
                <a:lnTo>
                  <a:pt x="2030" y="1593"/>
                </a:lnTo>
                <a:lnTo>
                  <a:pt x="1897" y="1593"/>
                </a:lnTo>
                <a:lnTo>
                  <a:pt x="1897" y="1828"/>
                </a:lnTo>
                <a:lnTo>
                  <a:pt x="2060" y="1828"/>
                </a:lnTo>
                <a:lnTo>
                  <a:pt x="2060" y="1936"/>
                </a:lnTo>
                <a:lnTo>
                  <a:pt x="1832" y="1936"/>
                </a:lnTo>
                <a:close/>
                <a:moveTo>
                  <a:pt x="2260" y="1954"/>
                </a:moveTo>
                <a:lnTo>
                  <a:pt x="2251" y="1954"/>
                </a:lnTo>
                <a:lnTo>
                  <a:pt x="2242" y="1952"/>
                </a:lnTo>
                <a:lnTo>
                  <a:pt x="2234" y="1950"/>
                </a:lnTo>
                <a:lnTo>
                  <a:pt x="2226" y="1948"/>
                </a:lnTo>
                <a:lnTo>
                  <a:pt x="2218" y="1944"/>
                </a:lnTo>
                <a:lnTo>
                  <a:pt x="2211" y="1938"/>
                </a:lnTo>
                <a:lnTo>
                  <a:pt x="2204" y="1932"/>
                </a:lnTo>
                <a:lnTo>
                  <a:pt x="2197" y="1926"/>
                </a:lnTo>
                <a:lnTo>
                  <a:pt x="2190" y="1920"/>
                </a:lnTo>
                <a:lnTo>
                  <a:pt x="2184" y="1912"/>
                </a:lnTo>
                <a:lnTo>
                  <a:pt x="2178" y="1902"/>
                </a:lnTo>
                <a:lnTo>
                  <a:pt x="2172" y="1892"/>
                </a:lnTo>
                <a:lnTo>
                  <a:pt x="2166" y="1882"/>
                </a:lnTo>
                <a:lnTo>
                  <a:pt x="2161" y="1872"/>
                </a:lnTo>
                <a:lnTo>
                  <a:pt x="2156" y="1860"/>
                </a:lnTo>
                <a:lnTo>
                  <a:pt x="2151" y="1846"/>
                </a:lnTo>
                <a:lnTo>
                  <a:pt x="2147" y="1834"/>
                </a:lnTo>
                <a:lnTo>
                  <a:pt x="2143" y="1820"/>
                </a:lnTo>
                <a:lnTo>
                  <a:pt x="2139" y="1804"/>
                </a:lnTo>
                <a:lnTo>
                  <a:pt x="2135" y="1788"/>
                </a:lnTo>
                <a:lnTo>
                  <a:pt x="2132" y="1772"/>
                </a:lnTo>
                <a:lnTo>
                  <a:pt x="2129" y="1756"/>
                </a:lnTo>
                <a:lnTo>
                  <a:pt x="2126" y="1738"/>
                </a:lnTo>
                <a:lnTo>
                  <a:pt x="2124" y="1720"/>
                </a:lnTo>
                <a:lnTo>
                  <a:pt x="2121" y="1701"/>
                </a:lnTo>
                <a:lnTo>
                  <a:pt x="2120" y="1681"/>
                </a:lnTo>
                <a:lnTo>
                  <a:pt x="2118" y="1661"/>
                </a:lnTo>
                <a:lnTo>
                  <a:pt x="2117" y="1641"/>
                </a:lnTo>
                <a:lnTo>
                  <a:pt x="2115" y="1597"/>
                </a:lnTo>
                <a:lnTo>
                  <a:pt x="2114" y="1575"/>
                </a:lnTo>
                <a:lnTo>
                  <a:pt x="2114" y="1551"/>
                </a:lnTo>
                <a:lnTo>
                  <a:pt x="2115" y="1505"/>
                </a:lnTo>
                <a:lnTo>
                  <a:pt x="2117" y="1461"/>
                </a:lnTo>
                <a:lnTo>
                  <a:pt x="2118" y="1441"/>
                </a:lnTo>
                <a:lnTo>
                  <a:pt x="2120" y="1421"/>
                </a:lnTo>
                <a:lnTo>
                  <a:pt x="2124" y="1383"/>
                </a:lnTo>
                <a:lnTo>
                  <a:pt x="2126" y="1363"/>
                </a:lnTo>
                <a:lnTo>
                  <a:pt x="2129" y="1347"/>
                </a:lnTo>
                <a:lnTo>
                  <a:pt x="2135" y="1313"/>
                </a:lnTo>
                <a:lnTo>
                  <a:pt x="2139" y="1297"/>
                </a:lnTo>
                <a:lnTo>
                  <a:pt x="2143" y="1283"/>
                </a:lnTo>
                <a:lnTo>
                  <a:pt x="2147" y="1269"/>
                </a:lnTo>
                <a:lnTo>
                  <a:pt x="2151" y="1255"/>
                </a:lnTo>
                <a:lnTo>
                  <a:pt x="2156" y="1243"/>
                </a:lnTo>
                <a:lnTo>
                  <a:pt x="2161" y="1231"/>
                </a:lnTo>
                <a:lnTo>
                  <a:pt x="2166" y="1220"/>
                </a:lnTo>
                <a:lnTo>
                  <a:pt x="2172" y="1210"/>
                </a:lnTo>
                <a:lnTo>
                  <a:pt x="2178" y="1200"/>
                </a:lnTo>
                <a:lnTo>
                  <a:pt x="2184" y="1192"/>
                </a:lnTo>
                <a:lnTo>
                  <a:pt x="2197" y="1176"/>
                </a:lnTo>
                <a:lnTo>
                  <a:pt x="2204" y="1170"/>
                </a:lnTo>
                <a:lnTo>
                  <a:pt x="2211" y="1164"/>
                </a:lnTo>
                <a:lnTo>
                  <a:pt x="2218" y="1160"/>
                </a:lnTo>
                <a:lnTo>
                  <a:pt x="2226" y="1156"/>
                </a:lnTo>
                <a:lnTo>
                  <a:pt x="2234" y="1152"/>
                </a:lnTo>
                <a:lnTo>
                  <a:pt x="2242" y="1150"/>
                </a:lnTo>
                <a:lnTo>
                  <a:pt x="2251" y="1148"/>
                </a:lnTo>
                <a:lnTo>
                  <a:pt x="2260" y="1148"/>
                </a:lnTo>
                <a:lnTo>
                  <a:pt x="2268" y="1148"/>
                </a:lnTo>
                <a:lnTo>
                  <a:pt x="2277" y="1150"/>
                </a:lnTo>
                <a:lnTo>
                  <a:pt x="2285" y="1152"/>
                </a:lnTo>
                <a:lnTo>
                  <a:pt x="2293" y="1156"/>
                </a:lnTo>
                <a:lnTo>
                  <a:pt x="2301" y="1160"/>
                </a:lnTo>
                <a:lnTo>
                  <a:pt x="2308" y="1164"/>
                </a:lnTo>
                <a:lnTo>
                  <a:pt x="2316" y="1170"/>
                </a:lnTo>
                <a:lnTo>
                  <a:pt x="2323" y="1176"/>
                </a:lnTo>
                <a:lnTo>
                  <a:pt x="2329" y="1184"/>
                </a:lnTo>
                <a:lnTo>
                  <a:pt x="2336" y="1192"/>
                </a:lnTo>
                <a:lnTo>
                  <a:pt x="2342" y="1200"/>
                </a:lnTo>
                <a:lnTo>
                  <a:pt x="2348" y="1210"/>
                </a:lnTo>
                <a:lnTo>
                  <a:pt x="2353" y="1220"/>
                </a:lnTo>
                <a:lnTo>
                  <a:pt x="2359" y="1229"/>
                </a:lnTo>
                <a:lnTo>
                  <a:pt x="2364" y="1241"/>
                </a:lnTo>
                <a:lnTo>
                  <a:pt x="2368" y="1255"/>
                </a:lnTo>
                <a:lnTo>
                  <a:pt x="2377" y="1283"/>
                </a:lnTo>
                <a:lnTo>
                  <a:pt x="2381" y="1297"/>
                </a:lnTo>
                <a:lnTo>
                  <a:pt x="2385" y="1313"/>
                </a:lnTo>
                <a:lnTo>
                  <a:pt x="2391" y="1345"/>
                </a:lnTo>
                <a:lnTo>
                  <a:pt x="2394" y="1363"/>
                </a:lnTo>
                <a:lnTo>
                  <a:pt x="2396" y="1381"/>
                </a:lnTo>
                <a:lnTo>
                  <a:pt x="2398" y="1401"/>
                </a:lnTo>
                <a:lnTo>
                  <a:pt x="2400" y="1421"/>
                </a:lnTo>
                <a:lnTo>
                  <a:pt x="2402" y="1441"/>
                </a:lnTo>
                <a:lnTo>
                  <a:pt x="2403" y="1461"/>
                </a:lnTo>
                <a:lnTo>
                  <a:pt x="2404" y="1483"/>
                </a:lnTo>
                <a:lnTo>
                  <a:pt x="2405" y="1505"/>
                </a:lnTo>
                <a:lnTo>
                  <a:pt x="2405" y="1527"/>
                </a:lnTo>
                <a:lnTo>
                  <a:pt x="2406" y="1551"/>
                </a:lnTo>
                <a:lnTo>
                  <a:pt x="2405" y="1597"/>
                </a:lnTo>
                <a:lnTo>
                  <a:pt x="2403" y="1641"/>
                </a:lnTo>
                <a:lnTo>
                  <a:pt x="2402" y="1663"/>
                </a:lnTo>
                <a:lnTo>
                  <a:pt x="2400" y="1683"/>
                </a:lnTo>
                <a:lnTo>
                  <a:pt x="2396" y="1720"/>
                </a:lnTo>
                <a:lnTo>
                  <a:pt x="2394" y="1738"/>
                </a:lnTo>
                <a:lnTo>
                  <a:pt x="2391" y="1756"/>
                </a:lnTo>
                <a:lnTo>
                  <a:pt x="2388" y="1772"/>
                </a:lnTo>
                <a:lnTo>
                  <a:pt x="2385" y="1790"/>
                </a:lnTo>
                <a:lnTo>
                  <a:pt x="2381" y="1804"/>
                </a:lnTo>
                <a:lnTo>
                  <a:pt x="2377" y="1820"/>
                </a:lnTo>
                <a:lnTo>
                  <a:pt x="2373" y="1834"/>
                </a:lnTo>
                <a:lnTo>
                  <a:pt x="2368" y="1846"/>
                </a:lnTo>
                <a:lnTo>
                  <a:pt x="2364" y="1860"/>
                </a:lnTo>
                <a:lnTo>
                  <a:pt x="2359" y="1872"/>
                </a:lnTo>
                <a:lnTo>
                  <a:pt x="2353" y="1882"/>
                </a:lnTo>
                <a:lnTo>
                  <a:pt x="2348" y="1894"/>
                </a:lnTo>
                <a:lnTo>
                  <a:pt x="2342" y="1902"/>
                </a:lnTo>
                <a:lnTo>
                  <a:pt x="2336" y="1912"/>
                </a:lnTo>
                <a:lnTo>
                  <a:pt x="2329" y="1920"/>
                </a:lnTo>
                <a:lnTo>
                  <a:pt x="2323" y="1926"/>
                </a:lnTo>
                <a:lnTo>
                  <a:pt x="2316" y="1934"/>
                </a:lnTo>
                <a:lnTo>
                  <a:pt x="2308" y="1938"/>
                </a:lnTo>
                <a:lnTo>
                  <a:pt x="2301" y="1944"/>
                </a:lnTo>
                <a:lnTo>
                  <a:pt x="2293" y="1948"/>
                </a:lnTo>
                <a:lnTo>
                  <a:pt x="2285" y="1950"/>
                </a:lnTo>
                <a:lnTo>
                  <a:pt x="2277" y="1952"/>
                </a:lnTo>
                <a:lnTo>
                  <a:pt x="2268" y="1954"/>
                </a:lnTo>
                <a:lnTo>
                  <a:pt x="2260" y="1954"/>
                </a:lnTo>
                <a:close/>
                <a:moveTo>
                  <a:pt x="2260" y="1257"/>
                </a:moveTo>
                <a:lnTo>
                  <a:pt x="2251" y="1257"/>
                </a:lnTo>
                <a:lnTo>
                  <a:pt x="2246" y="1259"/>
                </a:lnTo>
                <a:lnTo>
                  <a:pt x="2242" y="1259"/>
                </a:lnTo>
                <a:lnTo>
                  <a:pt x="2234" y="1265"/>
                </a:lnTo>
                <a:lnTo>
                  <a:pt x="2227" y="1271"/>
                </a:lnTo>
                <a:lnTo>
                  <a:pt x="2223" y="1275"/>
                </a:lnTo>
                <a:lnTo>
                  <a:pt x="2220" y="1281"/>
                </a:lnTo>
                <a:lnTo>
                  <a:pt x="2216" y="1287"/>
                </a:lnTo>
                <a:lnTo>
                  <a:pt x="2213" y="1293"/>
                </a:lnTo>
                <a:lnTo>
                  <a:pt x="2210" y="1299"/>
                </a:lnTo>
                <a:lnTo>
                  <a:pt x="2207" y="1307"/>
                </a:lnTo>
                <a:lnTo>
                  <a:pt x="2201" y="1323"/>
                </a:lnTo>
                <a:lnTo>
                  <a:pt x="2199" y="1331"/>
                </a:lnTo>
                <a:lnTo>
                  <a:pt x="2196" y="1341"/>
                </a:lnTo>
                <a:lnTo>
                  <a:pt x="2192" y="1363"/>
                </a:lnTo>
                <a:lnTo>
                  <a:pt x="2188" y="1387"/>
                </a:lnTo>
                <a:lnTo>
                  <a:pt x="2187" y="1399"/>
                </a:lnTo>
                <a:lnTo>
                  <a:pt x="2185" y="1413"/>
                </a:lnTo>
                <a:lnTo>
                  <a:pt x="2183" y="1443"/>
                </a:lnTo>
                <a:lnTo>
                  <a:pt x="2181" y="1477"/>
                </a:lnTo>
                <a:lnTo>
                  <a:pt x="2180" y="1513"/>
                </a:lnTo>
                <a:lnTo>
                  <a:pt x="2180" y="1551"/>
                </a:lnTo>
                <a:lnTo>
                  <a:pt x="2180" y="1591"/>
                </a:lnTo>
                <a:lnTo>
                  <a:pt x="2181" y="1627"/>
                </a:lnTo>
                <a:lnTo>
                  <a:pt x="2183" y="1659"/>
                </a:lnTo>
                <a:lnTo>
                  <a:pt x="2185" y="1689"/>
                </a:lnTo>
                <a:lnTo>
                  <a:pt x="2188" y="1714"/>
                </a:lnTo>
                <a:lnTo>
                  <a:pt x="2192" y="1738"/>
                </a:lnTo>
                <a:lnTo>
                  <a:pt x="2196" y="1760"/>
                </a:lnTo>
                <a:lnTo>
                  <a:pt x="2201" y="1780"/>
                </a:lnTo>
                <a:lnTo>
                  <a:pt x="2207" y="1796"/>
                </a:lnTo>
                <a:lnTo>
                  <a:pt x="2213" y="1810"/>
                </a:lnTo>
                <a:lnTo>
                  <a:pt x="2220" y="1820"/>
                </a:lnTo>
                <a:lnTo>
                  <a:pt x="2227" y="1830"/>
                </a:lnTo>
                <a:lnTo>
                  <a:pt x="2234" y="1836"/>
                </a:lnTo>
                <a:lnTo>
                  <a:pt x="2242" y="1842"/>
                </a:lnTo>
                <a:lnTo>
                  <a:pt x="2251" y="1844"/>
                </a:lnTo>
                <a:lnTo>
                  <a:pt x="2260" y="1846"/>
                </a:lnTo>
                <a:lnTo>
                  <a:pt x="2269" y="1844"/>
                </a:lnTo>
                <a:lnTo>
                  <a:pt x="2273" y="1844"/>
                </a:lnTo>
                <a:lnTo>
                  <a:pt x="2277" y="1842"/>
                </a:lnTo>
                <a:lnTo>
                  <a:pt x="2285" y="1836"/>
                </a:lnTo>
                <a:lnTo>
                  <a:pt x="2293" y="1830"/>
                </a:lnTo>
                <a:lnTo>
                  <a:pt x="2296" y="1826"/>
                </a:lnTo>
                <a:lnTo>
                  <a:pt x="2300" y="1820"/>
                </a:lnTo>
                <a:lnTo>
                  <a:pt x="2306" y="1808"/>
                </a:lnTo>
                <a:lnTo>
                  <a:pt x="2309" y="1802"/>
                </a:lnTo>
                <a:lnTo>
                  <a:pt x="2312" y="1796"/>
                </a:lnTo>
                <a:lnTo>
                  <a:pt x="2318" y="1778"/>
                </a:lnTo>
                <a:lnTo>
                  <a:pt x="2320" y="1770"/>
                </a:lnTo>
                <a:lnTo>
                  <a:pt x="2323" y="1760"/>
                </a:lnTo>
                <a:lnTo>
                  <a:pt x="2327" y="1738"/>
                </a:lnTo>
                <a:lnTo>
                  <a:pt x="2331" y="1714"/>
                </a:lnTo>
                <a:lnTo>
                  <a:pt x="2332" y="1703"/>
                </a:lnTo>
                <a:lnTo>
                  <a:pt x="2334" y="1689"/>
                </a:lnTo>
                <a:lnTo>
                  <a:pt x="2336" y="1659"/>
                </a:lnTo>
                <a:lnTo>
                  <a:pt x="2338" y="1625"/>
                </a:lnTo>
                <a:lnTo>
                  <a:pt x="2339" y="1591"/>
                </a:lnTo>
                <a:lnTo>
                  <a:pt x="2340" y="1551"/>
                </a:lnTo>
                <a:lnTo>
                  <a:pt x="2339" y="1513"/>
                </a:lnTo>
                <a:lnTo>
                  <a:pt x="2338" y="1477"/>
                </a:lnTo>
                <a:lnTo>
                  <a:pt x="2336" y="1443"/>
                </a:lnTo>
                <a:lnTo>
                  <a:pt x="2334" y="1415"/>
                </a:lnTo>
                <a:lnTo>
                  <a:pt x="2331" y="1387"/>
                </a:lnTo>
                <a:lnTo>
                  <a:pt x="2327" y="1363"/>
                </a:lnTo>
                <a:lnTo>
                  <a:pt x="2323" y="1341"/>
                </a:lnTo>
                <a:lnTo>
                  <a:pt x="2318" y="1323"/>
                </a:lnTo>
                <a:lnTo>
                  <a:pt x="2312" y="1307"/>
                </a:lnTo>
                <a:lnTo>
                  <a:pt x="2306" y="1293"/>
                </a:lnTo>
                <a:lnTo>
                  <a:pt x="2300" y="1281"/>
                </a:lnTo>
                <a:lnTo>
                  <a:pt x="2293" y="1271"/>
                </a:lnTo>
                <a:lnTo>
                  <a:pt x="2285" y="1265"/>
                </a:lnTo>
                <a:lnTo>
                  <a:pt x="2277" y="1259"/>
                </a:lnTo>
                <a:lnTo>
                  <a:pt x="2273" y="1259"/>
                </a:lnTo>
                <a:lnTo>
                  <a:pt x="2269" y="1257"/>
                </a:lnTo>
                <a:lnTo>
                  <a:pt x="2260" y="1257"/>
                </a:lnTo>
                <a:close/>
                <a:moveTo>
                  <a:pt x="2485" y="1936"/>
                </a:moveTo>
                <a:lnTo>
                  <a:pt x="2485" y="1166"/>
                </a:lnTo>
                <a:lnTo>
                  <a:pt x="2549" y="1166"/>
                </a:lnTo>
                <a:lnTo>
                  <a:pt x="2549" y="1828"/>
                </a:lnTo>
                <a:lnTo>
                  <a:pt x="2709" y="1828"/>
                </a:lnTo>
                <a:lnTo>
                  <a:pt x="2709" y="1936"/>
                </a:lnTo>
                <a:lnTo>
                  <a:pt x="2485" y="1936"/>
                </a:lnTo>
                <a:close/>
                <a:moveTo>
                  <a:pt x="2769" y="1936"/>
                </a:moveTo>
                <a:lnTo>
                  <a:pt x="2769" y="1166"/>
                </a:lnTo>
                <a:lnTo>
                  <a:pt x="2835" y="1166"/>
                </a:lnTo>
                <a:lnTo>
                  <a:pt x="2835" y="1828"/>
                </a:lnTo>
                <a:lnTo>
                  <a:pt x="2994" y="1828"/>
                </a:lnTo>
                <a:lnTo>
                  <a:pt x="2994" y="1936"/>
                </a:lnTo>
                <a:lnTo>
                  <a:pt x="2769" y="1936"/>
                </a:lnTo>
                <a:close/>
                <a:moveTo>
                  <a:pt x="3055" y="1166"/>
                </a:moveTo>
                <a:lnTo>
                  <a:pt x="3120" y="1166"/>
                </a:lnTo>
                <a:lnTo>
                  <a:pt x="3120" y="1936"/>
                </a:lnTo>
                <a:lnTo>
                  <a:pt x="3055" y="1936"/>
                </a:lnTo>
                <a:lnTo>
                  <a:pt x="3055" y="1166"/>
                </a:lnTo>
                <a:close/>
                <a:moveTo>
                  <a:pt x="3337" y="1954"/>
                </a:moveTo>
                <a:lnTo>
                  <a:pt x="3321" y="1954"/>
                </a:lnTo>
                <a:lnTo>
                  <a:pt x="3305" y="1950"/>
                </a:lnTo>
                <a:lnTo>
                  <a:pt x="3291" y="1944"/>
                </a:lnTo>
                <a:lnTo>
                  <a:pt x="3284" y="1940"/>
                </a:lnTo>
                <a:lnTo>
                  <a:pt x="3278" y="1936"/>
                </a:lnTo>
                <a:lnTo>
                  <a:pt x="3266" y="1928"/>
                </a:lnTo>
                <a:lnTo>
                  <a:pt x="3260" y="1922"/>
                </a:lnTo>
                <a:lnTo>
                  <a:pt x="3255" y="1916"/>
                </a:lnTo>
                <a:lnTo>
                  <a:pt x="3245" y="1902"/>
                </a:lnTo>
                <a:lnTo>
                  <a:pt x="3241" y="1896"/>
                </a:lnTo>
                <a:lnTo>
                  <a:pt x="3236" y="1888"/>
                </a:lnTo>
                <a:lnTo>
                  <a:pt x="3232" y="1880"/>
                </a:lnTo>
                <a:lnTo>
                  <a:pt x="3229" y="1872"/>
                </a:lnTo>
                <a:lnTo>
                  <a:pt x="3225" y="1864"/>
                </a:lnTo>
                <a:lnTo>
                  <a:pt x="3222" y="1854"/>
                </a:lnTo>
                <a:lnTo>
                  <a:pt x="3216" y="1834"/>
                </a:lnTo>
                <a:lnTo>
                  <a:pt x="3211" y="1814"/>
                </a:lnTo>
                <a:lnTo>
                  <a:pt x="3210" y="1804"/>
                </a:lnTo>
                <a:lnTo>
                  <a:pt x="3208" y="1792"/>
                </a:lnTo>
                <a:lnTo>
                  <a:pt x="3205" y="1770"/>
                </a:lnTo>
                <a:lnTo>
                  <a:pt x="3203" y="1746"/>
                </a:lnTo>
                <a:lnTo>
                  <a:pt x="3203" y="1732"/>
                </a:lnTo>
                <a:lnTo>
                  <a:pt x="3203" y="1720"/>
                </a:lnTo>
                <a:lnTo>
                  <a:pt x="3265" y="1693"/>
                </a:lnTo>
                <a:lnTo>
                  <a:pt x="3266" y="1714"/>
                </a:lnTo>
                <a:lnTo>
                  <a:pt x="3267" y="1734"/>
                </a:lnTo>
                <a:lnTo>
                  <a:pt x="3269" y="1750"/>
                </a:lnTo>
                <a:lnTo>
                  <a:pt x="3271" y="1766"/>
                </a:lnTo>
                <a:lnTo>
                  <a:pt x="3273" y="1774"/>
                </a:lnTo>
                <a:lnTo>
                  <a:pt x="3274" y="1782"/>
                </a:lnTo>
                <a:lnTo>
                  <a:pt x="3278" y="1794"/>
                </a:lnTo>
                <a:lnTo>
                  <a:pt x="3282" y="1804"/>
                </a:lnTo>
                <a:lnTo>
                  <a:pt x="3286" y="1814"/>
                </a:lnTo>
                <a:lnTo>
                  <a:pt x="3291" y="1824"/>
                </a:lnTo>
                <a:lnTo>
                  <a:pt x="3297" y="1830"/>
                </a:lnTo>
                <a:lnTo>
                  <a:pt x="3303" y="1836"/>
                </a:lnTo>
                <a:lnTo>
                  <a:pt x="3310" y="1840"/>
                </a:lnTo>
                <a:lnTo>
                  <a:pt x="3317" y="1844"/>
                </a:lnTo>
                <a:lnTo>
                  <a:pt x="3324" y="1846"/>
                </a:lnTo>
                <a:lnTo>
                  <a:pt x="3332" y="1848"/>
                </a:lnTo>
                <a:lnTo>
                  <a:pt x="3341" y="1848"/>
                </a:lnTo>
                <a:lnTo>
                  <a:pt x="3348" y="1848"/>
                </a:lnTo>
                <a:lnTo>
                  <a:pt x="3355" y="1846"/>
                </a:lnTo>
                <a:lnTo>
                  <a:pt x="3362" y="1844"/>
                </a:lnTo>
                <a:lnTo>
                  <a:pt x="3368" y="1842"/>
                </a:lnTo>
                <a:lnTo>
                  <a:pt x="3374" y="1838"/>
                </a:lnTo>
                <a:lnTo>
                  <a:pt x="3380" y="1832"/>
                </a:lnTo>
                <a:lnTo>
                  <a:pt x="3385" y="1826"/>
                </a:lnTo>
                <a:lnTo>
                  <a:pt x="3390" y="1820"/>
                </a:lnTo>
                <a:lnTo>
                  <a:pt x="3394" y="1812"/>
                </a:lnTo>
                <a:lnTo>
                  <a:pt x="3398" y="1804"/>
                </a:lnTo>
                <a:lnTo>
                  <a:pt x="3401" y="1796"/>
                </a:lnTo>
                <a:lnTo>
                  <a:pt x="3404" y="1786"/>
                </a:lnTo>
                <a:lnTo>
                  <a:pt x="3406" y="1774"/>
                </a:lnTo>
                <a:lnTo>
                  <a:pt x="3407" y="1770"/>
                </a:lnTo>
                <a:lnTo>
                  <a:pt x="3408" y="1764"/>
                </a:lnTo>
                <a:lnTo>
                  <a:pt x="3409" y="1752"/>
                </a:lnTo>
                <a:lnTo>
                  <a:pt x="3409" y="1738"/>
                </a:lnTo>
                <a:lnTo>
                  <a:pt x="3409" y="1728"/>
                </a:lnTo>
                <a:lnTo>
                  <a:pt x="3408" y="1718"/>
                </a:lnTo>
                <a:lnTo>
                  <a:pt x="3407" y="1711"/>
                </a:lnTo>
                <a:lnTo>
                  <a:pt x="3406" y="1701"/>
                </a:lnTo>
                <a:lnTo>
                  <a:pt x="3404" y="1693"/>
                </a:lnTo>
                <a:lnTo>
                  <a:pt x="3402" y="1685"/>
                </a:lnTo>
                <a:lnTo>
                  <a:pt x="3400" y="1677"/>
                </a:lnTo>
                <a:lnTo>
                  <a:pt x="3396" y="1669"/>
                </a:lnTo>
                <a:lnTo>
                  <a:pt x="3389" y="1653"/>
                </a:lnTo>
                <a:lnTo>
                  <a:pt x="3385" y="1645"/>
                </a:lnTo>
                <a:lnTo>
                  <a:pt x="3380" y="1639"/>
                </a:lnTo>
                <a:lnTo>
                  <a:pt x="3369" y="1625"/>
                </a:lnTo>
                <a:lnTo>
                  <a:pt x="3356" y="1613"/>
                </a:lnTo>
                <a:lnTo>
                  <a:pt x="3292" y="1555"/>
                </a:lnTo>
                <a:lnTo>
                  <a:pt x="3282" y="1547"/>
                </a:lnTo>
                <a:lnTo>
                  <a:pt x="3273" y="1537"/>
                </a:lnTo>
                <a:lnTo>
                  <a:pt x="3257" y="1517"/>
                </a:lnTo>
                <a:lnTo>
                  <a:pt x="3243" y="1497"/>
                </a:lnTo>
                <a:lnTo>
                  <a:pt x="3237" y="1485"/>
                </a:lnTo>
                <a:lnTo>
                  <a:pt x="3232" y="1473"/>
                </a:lnTo>
                <a:lnTo>
                  <a:pt x="3227" y="1461"/>
                </a:lnTo>
                <a:lnTo>
                  <a:pt x="3223" y="1447"/>
                </a:lnTo>
                <a:lnTo>
                  <a:pt x="3220" y="1433"/>
                </a:lnTo>
                <a:lnTo>
                  <a:pt x="3217" y="1417"/>
                </a:lnTo>
                <a:lnTo>
                  <a:pt x="3215" y="1401"/>
                </a:lnTo>
                <a:lnTo>
                  <a:pt x="3214" y="1393"/>
                </a:lnTo>
                <a:lnTo>
                  <a:pt x="3213" y="1385"/>
                </a:lnTo>
                <a:lnTo>
                  <a:pt x="3212" y="1367"/>
                </a:lnTo>
                <a:lnTo>
                  <a:pt x="3212" y="1347"/>
                </a:lnTo>
                <a:lnTo>
                  <a:pt x="3212" y="1335"/>
                </a:lnTo>
                <a:lnTo>
                  <a:pt x="3213" y="1323"/>
                </a:lnTo>
                <a:lnTo>
                  <a:pt x="3214" y="1311"/>
                </a:lnTo>
                <a:lnTo>
                  <a:pt x="3215" y="1299"/>
                </a:lnTo>
                <a:lnTo>
                  <a:pt x="3216" y="1289"/>
                </a:lnTo>
                <a:lnTo>
                  <a:pt x="3218" y="1279"/>
                </a:lnTo>
                <a:lnTo>
                  <a:pt x="3222" y="1259"/>
                </a:lnTo>
                <a:lnTo>
                  <a:pt x="3225" y="1249"/>
                </a:lnTo>
                <a:lnTo>
                  <a:pt x="3228" y="1241"/>
                </a:lnTo>
                <a:lnTo>
                  <a:pt x="3234" y="1225"/>
                </a:lnTo>
                <a:lnTo>
                  <a:pt x="3241" y="1210"/>
                </a:lnTo>
                <a:lnTo>
                  <a:pt x="3245" y="1204"/>
                </a:lnTo>
                <a:lnTo>
                  <a:pt x="3250" y="1198"/>
                </a:lnTo>
                <a:lnTo>
                  <a:pt x="3259" y="1186"/>
                </a:lnTo>
                <a:lnTo>
                  <a:pt x="3269" y="1176"/>
                </a:lnTo>
                <a:lnTo>
                  <a:pt x="3279" y="1166"/>
                </a:lnTo>
                <a:lnTo>
                  <a:pt x="3290" y="1160"/>
                </a:lnTo>
                <a:lnTo>
                  <a:pt x="3302" y="1154"/>
                </a:lnTo>
                <a:lnTo>
                  <a:pt x="3314" y="1150"/>
                </a:lnTo>
                <a:lnTo>
                  <a:pt x="3327" y="1148"/>
                </a:lnTo>
                <a:lnTo>
                  <a:pt x="3340" y="1148"/>
                </a:lnTo>
                <a:lnTo>
                  <a:pt x="3355" y="1150"/>
                </a:lnTo>
                <a:lnTo>
                  <a:pt x="3370" y="1152"/>
                </a:lnTo>
                <a:lnTo>
                  <a:pt x="3383" y="1158"/>
                </a:lnTo>
                <a:lnTo>
                  <a:pt x="3389" y="1162"/>
                </a:lnTo>
                <a:lnTo>
                  <a:pt x="3395" y="1166"/>
                </a:lnTo>
                <a:lnTo>
                  <a:pt x="3407" y="1174"/>
                </a:lnTo>
                <a:lnTo>
                  <a:pt x="3417" y="1186"/>
                </a:lnTo>
                <a:lnTo>
                  <a:pt x="3426" y="1198"/>
                </a:lnTo>
                <a:lnTo>
                  <a:pt x="3434" y="1212"/>
                </a:lnTo>
                <a:lnTo>
                  <a:pt x="3438" y="1218"/>
                </a:lnTo>
                <a:lnTo>
                  <a:pt x="3441" y="1225"/>
                </a:lnTo>
                <a:lnTo>
                  <a:pt x="3444" y="1233"/>
                </a:lnTo>
                <a:lnTo>
                  <a:pt x="3447" y="1241"/>
                </a:lnTo>
                <a:lnTo>
                  <a:pt x="3452" y="1259"/>
                </a:lnTo>
                <a:lnTo>
                  <a:pt x="3457" y="1275"/>
                </a:lnTo>
                <a:lnTo>
                  <a:pt x="3460" y="1293"/>
                </a:lnTo>
                <a:lnTo>
                  <a:pt x="3462" y="1313"/>
                </a:lnTo>
                <a:lnTo>
                  <a:pt x="3464" y="1331"/>
                </a:lnTo>
                <a:lnTo>
                  <a:pt x="3464" y="1349"/>
                </a:lnTo>
                <a:lnTo>
                  <a:pt x="3402" y="1375"/>
                </a:lnTo>
                <a:lnTo>
                  <a:pt x="3402" y="1359"/>
                </a:lnTo>
                <a:lnTo>
                  <a:pt x="3400" y="1345"/>
                </a:lnTo>
                <a:lnTo>
                  <a:pt x="3399" y="1331"/>
                </a:lnTo>
                <a:lnTo>
                  <a:pt x="3397" y="1319"/>
                </a:lnTo>
                <a:lnTo>
                  <a:pt x="3394" y="1309"/>
                </a:lnTo>
                <a:lnTo>
                  <a:pt x="3391" y="1299"/>
                </a:lnTo>
                <a:lnTo>
                  <a:pt x="3388" y="1289"/>
                </a:lnTo>
                <a:lnTo>
                  <a:pt x="3384" y="1281"/>
                </a:lnTo>
                <a:lnTo>
                  <a:pt x="3380" y="1275"/>
                </a:lnTo>
                <a:lnTo>
                  <a:pt x="3375" y="1269"/>
                </a:lnTo>
                <a:lnTo>
                  <a:pt x="3370" y="1265"/>
                </a:lnTo>
                <a:lnTo>
                  <a:pt x="3364" y="1261"/>
                </a:lnTo>
                <a:lnTo>
                  <a:pt x="3358" y="1257"/>
                </a:lnTo>
                <a:lnTo>
                  <a:pt x="3352" y="1255"/>
                </a:lnTo>
                <a:lnTo>
                  <a:pt x="3345" y="1255"/>
                </a:lnTo>
                <a:lnTo>
                  <a:pt x="3337" y="1253"/>
                </a:lnTo>
                <a:lnTo>
                  <a:pt x="3325" y="1255"/>
                </a:lnTo>
                <a:lnTo>
                  <a:pt x="3313" y="1259"/>
                </a:lnTo>
                <a:lnTo>
                  <a:pt x="3308" y="1263"/>
                </a:lnTo>
                <a:lnTo>
                  <a:pt x="3303" y="1267"/>
                </a:lnTo>
                <a:lnTo>
                  <a:pt x="3298" y="1271"/>
                </a:lnTo>
                <a:lnTo>
                  <a:pt x="3294" y="1275"/>
                </a:lnTo>
                <a:lnTo>
                  <a:pt x="3290" y="1281"/>
                </a:lnTo>
                <a:lnTo>
                  <a:pt x="3287" y="1287"/>
                </a:lnTo>
                <a:lnTo>
                  <a:pt x="3284" y="1295"/>
                </a:lnTo>
                <a:lnTo>
                  <a:pt x="3281" y="1303"/>
                </a:lnTo>
                <a:lnTo>
                  <a:pt x="3279" y="1311"/>
                </a:lnTo>
                <a:lnTo>
                  <a:pt x="3278" y="1321"/>
                </a:lnTo>
                <a:lnTo>
                  <a:pt x="3277" y="1331"/>
                </a:lnTo>
                <a:lnTo>
                  <a:pt x="3276" y="1341"/>
                </a:lnTo>
                <a:lnTo>
                  <a:pt x="3277" y="1351"/>
                </a:lnTo>
                <a:lnTo>
                  <a:pt x="3277" y="1361"/>
                </a:lnTo>
                <a:lnTo>
                  <a:pt x="3278" y="1371"/>
                </a:lnTo>
                <a:lnTo>
                  <a:pt x="3279" y="1379"/>
                </a:lnTo>
                <a:lnTo>
                  <a:pt x="3281" y="1387"/>
                </a:lnTo>
                <a:lnTo>
                  <a:pt x="3283" y="1395"/>
                </a:lnTo>
                <a:lnTo>
                  <a:pt x="3286" y="1403"/>
                </a:lnTo>
                <a:lnTo>
                  <a:pt x="3288" y="1409"/>
                </a:lnTo>
                <a:lnTo>
                  <a:pt x="3292" y="1415"/>
                </a:lnTo>
                <a:lnTo>
                  <a:pt x="3295" y="1421"/>
                </a:lnTo>
                <a:lnTo>
                  <a:pt x="3304" y="1433"/>
                </a:lnTo>
                <a:lnTo>
                  <a:pt x="3314" y="1445"/>
                </a:lnTo>
                <a:lnTo>
                  <a:pt x="3326" y="1457"/>
                </a:lnTo>
                <a:lnTo>
                  <a:pt x="3388" y="1511"/>
                </a:lnTo>
                <a:lnTo>
                  <a:pt x="3398" y="1521"/>
                </a:lnTo>
                <a:lnTo>
                  <a:pt x="3408" y="1531"/>
                </a:lnTo>
                <a:lnTo>
                  <a:pt x="3418" y="1541"/>
                </a:lnTo>
                <a:lnTo>
                  <a:pt x="3426" y="1553"/>
                </a:lnTo>
                <a:lnTo>
                  <a:pt x="3434" y="1565"/>
                </a:lnTo>
                <a:lnTo>
                  <a:pt x="3441" y="1575"/>
                </a:lnTo>
                <a:lnTo>
                  <a:pt x="3447" y="1589"/>
                </a:lnTo>
                <a:lnTo>
                  <a:pt x="3453" y="1601"/>
                </a:lnTo>
                <a:lnTo>
                  <a:pt x="3458" y="1615"/>
                </a:lnTo>
                <a:lnTo>
                  <a:pt x="3462" y="1629"/>
                </a:lnTo>
                <a:lnTo>
                  <a:pt x="3466" y="1643"/>
                </a:lnTo>
                <a:lnTo>
                  <a:pt x="3469" y="1659"/>
                </a:lnTo>
                <a:lnTo>
                  <a:pt x="3471" y="1675"/>
                </a:lnTo>
                <a:lnTo>
                  <a:pt x="3472" y="1685"/>
                </a:lnTo>
                <a:lnTo>
                  <a:pt x="3472" y="1693"/>
                </a:lnTo>
                <a:lnTo>
                  <a:pt x="3473" y="1711"/>
                </a:lnTo>
                <a:lnTo>
                  <a:pt x="3474" y="1730"/>
                </a:lnTo>
                <a:lnTo>
                  <a:pt x="3473" y="1756"/>
                </a:lnTo>
                <a:lnTo>
                  <a:pt x="3471" y="1780"/>
                </a:lnTo>
                <a:lnTo>
                  <a:pt x="3470" y="1792"/>
                </a:lnTo>
                <a:lnTo>
                  <a:pt x="3468" y="1802"/>
                </a:lnTo>
                <a:lnTo>
                  <a:pt x="3466" y="1814"/>
                </a:lnTo>
                <a:lnTo>
                  <a:pt x="3464" y="1824"/>
                </a:lnTo>
                <a:lnTo>
                  <a:pt x="3461" y="1834"/>
                </a:lnTo>
                <a:lnTo>
                  <a:pt x="3459" y="1844"/>
                </a:lnTo>
                <a:lnTo>
                  <a:pt x="3452" y="1862"/>
                </a:lnTo>
                <a:lnTo>
                  <a:pt x="3449" y="1870"/>
                </a:lnTo>
                <a:lnTo>
                  <a:pt x="3445" y="1880"/>
                </a:lnTo>
                <a:lnTo>
                  <a:pt x="3437" y="1894"/>
                </a:lnTo>
                <a:lnTo>
                  <a:pt x="3432" y="1902"/>
                </a:lnTo>
                <a:lnTo>
                  <a:pt x="3427" y="1908"/>
                </a:lnTo>
                <a:lnTo>
                  <a:pt x="3422" y="1914"/>
                </a:lnTo>
                <a:lnTo>
                  <a:pt x="3417" y="1920"/>
                </a:lnTo>
                <a:lnTo>
                  <a:pt x="3406" y="1930"/>
                </a:lnTo>
                <a:lnTo>
                  <a:pt x="3394" y="1938"/>
                </a:lnTo>
                <a:lnTo>
                  <a:pt x="3381" y="1946"/>
                </a:lnTo>
                <a:lnTo>
                  <a:pt x="3367" y="1950"/>
                </a:lnTo>
                <a:lnTo>
                  <a:pt x="3360" y="1952"/>
                </a:lnTo>
                <a:lnTo>
                  <a:pt x="3353" y="1952"/>
                </a:lnTo>
                <a:lnTo>
                  <a:pt x="3337" y="1954"/>
                </a:lnTo>
                <a:close/>
                <a:moveTo>
                  <a:pt x="3582" y="1882"/>
                </a:moveTo>
                <a:lnTo>
                  <a:pt x="3574" y="1866"/>
                </a:lnTo>
                <a:lnTo>
                  <a:pt x="3567" y="1848"/>
                </a:lnTo>
                <a:lnTo>
                  <a:pt x="3562" y="1828"/>
                </a:lnTo>
                <a:lnTo>
                  <a:pt x="3559" y="1816"/>
                </a:lnTo>
                <a:lnTo>
                  <a:pt x="3557" y="1806"/>
                </a:lnTo>
                <a:lnTo>
                  <a:pt x="3554" y="1782"/>
                </a:lnTo>
                <a:lnTo>
                  <a:pt x="3551" y="1756"/>
                </a:lnTo>
                <a:lnTo>
                  <a:pt x="3550" y="1742"/>
                </a:lnTo>
                <a:lnTo>
                  <a:pt x="3550" y="1726"/>
                </a:lnTo>
                <a:lnTo>
                  <a:pt x="3549" y="1697"/>
                </a:lnTo>
                <a:lnTo>
                  <a:pt x="3549" y="1166"/>
                </a:lnTo>
                <a:lnTo>
                  <a:pt x="3615" y="1166"/>
                </a:lnTo>
                <a:lnTo>
                  <a:pt x="3615" y="1691"/>
                </a:lnTo>
                <a:lnTo>
                  <a:pt x="3615" y="1711"/>
                </a:lnTo>
                <a:lnTo>
                  <a:pt x="3616" y="1728"/>
                </a:lnTo>
                <a:lnTo>
                  <a:pt x="3617" y="1744"/>
                </a:lnTo>
                <a:lnTo>
                  <a:pt x="3618" y="1758"/>
                </a:lnTo>
                <a:lnTo>
                  <a:pt x="3620" y="1772"/>
                </a:lnTo>
                <a:lnTo>
                  <a:pt x="3623" y="1784"/>
                </a:lnTo>
                <a:lnTo>
                  <a:pt x="3625" y="1796"/>
                </a:lnTo>
                <a:lnTo>
                  <a:pt x="3629" y="1804"/>
                </a:lnTo>
                <a:lnTo>
                  <a:pt x="3633" y="1814"/>
                </a:lnTo>
                <a:lnTo>
                  <a:pt x="3637" y="1822"/>
                </a:lnTo>
                <a:lnTo>
                  <a:pt x="3643" y="1830"/>
                </a:lnTo>
                <a:lnTo>
                  <a:pt x="3649" y="1836"/>
                </a:lnTo>
                <a:lnTo>
                  <a:pt x="3652" y="1838"/>
                </a:lnTo>
                <a:lnTo>
                  <a:pt x="3655" y="1840"/>
                </a:lnTo>
                <a:lnTo>
                  <a:pt x="3662" y="1844"/>
                </a:lnTo>
                <a:lnTo>
                  <a:pt x="3670" y="1846"/>
                </a:lnTo>
                <a:lnTo>
                  <a:pt x="3678" y="1846"/>
                </a:lnTo>
                <a:lnTo>
                  <a:pt x="3686" y="1846"/>
                </a:lnTo>
                <a:lnTo>
                  <a:pt x="3694" y="1844"/>
                </a:lnTo>
                <a:lnTo>
                  <a:pt x="3701" y="1840"/>
                </a:lnTo>
                <a:lnTo>
                  <a:pt x="3708" y="1836"/>
                </a:lnTo>
                <a:lnTo>
                  <a:pt x="3713" y="1830"/>
                </a:lnTo>
                <a:lnTo>
                  <a:pt x="3719" y="1822"/>
                </a:lnTo>
                <a:lnTo>
                  <a:pt x="3723" y="1814"/>
                </a:lnTo>
                <a:lnTo>
                  <a:pt x="3728" y="1804"/>
                </a:lnTo>
                <a:lnTo>
                  <a:pt x="3731" y="1796"/>
                </a:lnTo>
                <a:lnTo>
                  <a:pt x="3734" y="1784"/>
                </a:lnTo>
                <a:lnTo>
                  <a:pt x="3736" y="1772"/>
                </a:lnTo>
                <a:lnTo>
                  <a:pt x="3738" y="1758"/>
                </a:lnTo>
                <a:lnTo>
                  <a:pt x="3740" y="1744"/>
                </a:lnTo>
                <a:lnTo>
                  <a:pt x="3741" y="1728"/>
                </a:lnTo>
                <a:lnTo>
                  <a:pt x="3741" y="1711"/>
                </a:lnTo>
                <a:lnTo>
                  <a:pt x="3741" y="1691"/>
                </a:lnTo>
                <a:lnTo>
                  <a:pt x="3741" y="1166"/>
                </a:lnTo>
                <a:lnTo>
                  <a:pt x="3807" y="1166"/>
                </a:lnTo>
                <a:lnTo>
                  <a:pt x="3807" y="1697"/>
                </a:lnTo>
                <a:lnTo>
                  <a:pt x="3806" y="1726"/>
                </a:lnTo>
                <a:lnTo>
                  <a:pt x="3805" y="1742"/>
                </a:lnTo>
                <a:lnTo>
                  <a:pt x="3805" y="1756"/>
                </a:lnTo>
                <a:lnTo>
                  <a:pt x="3802" y="1782"/>
                </a:lnTo>
                <a:lnTo>
                  <a:pt x="3798" y="1806"/>
                </a:lnTo>
                <a:lnTo>
                  <a:pt x="3796" y="1816"/>
                </a:lnTo>
                <a:lnTo>
                  <a:pt x="3794" y="1828"/>
                </a:lnTo>
                <a:lnTo>
                  <a:pt x="3788" y="1848"/>
                </a:lnTo>
                <a:lnTo>
                  <a:pt x="3785" y="1856"/>
                </a:lnTo>
                <a:lnTo>
                  <a:pt x="3782" y="1866"/>
                </a:lnTo>
                <a:lnTo>
                  <a:pt x="3779" y="1874"/>
                </a:lnTo>
                <a:lnTo>
                  <a:pt x="3775" y="1882"/>
                </a:lnTo>
                <a:lnTo>
                  <a:pt x="3771" y="1890"/>
                </a:lnTo>
                <a:lnTo>
                  <a:pt x="3766" y="1898"/>
                </a:lnTo>
                <a:lnTo>
                  <a:pt x="3756" y="1914"/>
                </a:lnTo>
                <a:lnTo>
                  <a:pt x="3745" y="1926"/>
                </a:lnTo>
                <a:lnTo>
                  <a:pt x="3739" y="1930"/>
                </a:lnTo>
                <a:lnTo>
                  <a:pt x="3733" y="1936"/>
                </a:lnTo>
                <a:lnTo>
                  <a:pt x="3720" y="1944"/>
                </a:lnTo>
                <a:lnTo>
                  <a:pt x="3714" y="1946"/>
                </a:lnTo>
                <a:lnTo>
                  <a:pt x="3707" y="1950"/>
                </a:lnTo>
                <a:lnTo>
                  <a:pt x="3693" y="1952"/>
                </a:lnTo>
                <a:lnTo>
                  <a:pt x="3685" y="1954"/>
                </a:lnTo>
                <a:lnTo>
                  <a:pt x="3678" y="1954"/>
                </a:lnTo>
                <a:lnTo>
                  <a:pt x="3663" y="1952"/>
                </a:lnTo>
                <a:lnTo>
                  <a:pt x="3649" y="1950"/>
                </a:lnTo>
                <a:lnTo>
                  <a:pt x="3643" y="1946"/>
                </a:lnTo>
                <a:lnTo>
                  <a:pt x="3636" y="1944"/>
                </a:lnTo>
                <a:lnTo>
                  <a:pt x="3624" y="1936"/>
                </a:lnTo>
                <a:lnTo>
                  <a:pt x="3612" y="1926"/>
                </a:lnTo>
                <a:lnTo>
                  <a:pt x="3601" y="1914"/>
                </a:lnTo>
                <a:lnTo>
                  <a:pt x="3591" y="1898"/>
                </a:lnTo>
                <a:lnTo>
                  <a:pt x="3586" y="1890"/>
                </a:lnTo>
                <a:lnTo>
                  <a:pt x="3582" y="1882"/>
                </a:lnTo>
                <a:close/>
                <a:moveTo>
                  <a:pt x="3934" y="1882"/>
                </a:moveTo>
                <a:lnTo>
                  <a:pt x="3927" y="1866"/>
                </a:lnTo>
                <a:lnTo>
                  <a:pt x="3920" y="1848"/>
                </a:lnTo>
                <a:lnTo>
                  <a:pt x="3915" y="1828"/>
                </a:lnTo>
                <a:lnTo>
                  <a:pt x="3912" y="1816"/>
                </a:lnTo>
                <a:lnTo>
                  <a:pt x="3910" y="1806"/>
                </a:lnTo>
                <a:lnTo>
                  <a:pt x="3907" y="1782"/>
                </a:lnTo>
                <a:lnTo>
                  <a:pt x="3904" y="1756"/>
                </a:lnTo>
                <a:lnTo>
                  <a:pt x="3903" y="1742"/>
                </a:lnTo>
                <a:lnTo>
                  <a:pt x="3903" y="1726"/>
                </a:lnTo>
                <a:lnTo>
                  <a:pt x="3902" y="1697"/>
                </a:lnTo>
                <a:lnTo>
                  <a:pt x="3902" y="1166"/>
                </a:lnTo>
                <a:lnTo>
                  <a:pt x="3968" y="1166"/>
                </a:lnTo>
                <a:lnTo>
                  <a:pt x="3968" y="1691"/>
                </a:lnTo>
                <a:lnTo>
                  <a:pt x="3968" y="1711"/>
                </a:lnTo>
                <a:lnTo>
                  <a:pt x="3969" y="1728"/>
                </a:lnTo>
                <a:lnTo>
                  <a:pt x="3970" y="1744"/>
                </a:lnTo>
                <a:lnTo>
                  <a:pt x="3972" y="1758"/>
                </a:lnTo>
                <a:lnTo>
                  <a:pt x="3973" y="1772"/>
                </a:lnTo>
                <a:lnTo>
                  <a:pt x="3976" y="1784"/>
                </a:lnTo>
                <a:lnTo>
                  <a:pt x="3979" y="1796"/>
                </a:lnTo>
                <a:lnTo>
                  <a:pt x="3982" y="1804"/>
                </a:lnTo>
                <a:lnTo>
                  <a:pt x="3986" y="1814"/>
                </a:lnTo>
                <a:lnTo>
                  <a:pt x="3991" y="1822"/>
                </a:lnTo>
                <a:lnTo>
                  <a:pt x="3996" y="1830"/>
                </a:lnTo>
                <a:lnTo>
                  <a:pt x="4002" y="1836"/>
                </a:lnTo>
                <a:lnTo>
                  <a:pt x="4005" y="1838"/>
                </a:lnTo>
                <a:lnTo>
                  <a:pt x="4008" y="1840"/>
                </a:lnTo>
                <a:lnTo>
                  <a:pt x="4015" y="1844"/>
                </a:lnTo>
                <a:lnTo>
                  <a:pt x="4023" y="1846"/>
                </a:lnTo>
                <a:lnTo>
                  <a:pt x="4031" y="1846"/>
                </a:lnTo>
                <a:lnTo>
                  <a:pt x="4040" y="1846"/>
                </a:lnTo>
                <a:lnTo>
                  <a:pt x="4047" y="1844"/>
                </a:lnTo>
                <a:lnTo>
                  <a:pt x="4054" y="1840"/>
                </a:lnTo>
                <a:lnTo>
                  <a:pt x="4061" y="1836"/>
                </a:lnTo>
                <a:lnTo>
                  <a:pt x="4067" y="1830"/>
                </a:lnTo>
                <a:lnTo>
                  <a:pt x="4072" y="1822"/>
                </a:lnTo>
                <a:lnTo>
                  <a:pt x="4077" y="1814"/>
                </a:lnTo>
                <a:lnTo>
                  <a:pt x="4081" y="1804"/>
                </a:lnTo>
                <a:lnTo>
                  <a:pt x="4084" y="1796"/>
                </a:lnTo>
                <a:lnTo>
                  <a:pt x="4087" y="1784"/>
                </a:lnTo>
                <a:lnTo>
                  <a:pt x="4090" y="1772"/>
                </a:lnTo>
                <a:lnTo>
                  <a:pt x="4091" y="1758"/>
                </a:lnTo>
                <a:lnTo>
                  <a:pt x="4093" y="1744"/>
                </a:lnTo>
                <a:lnTo>
                  <a:pt x="4094" y="1728"/>
                </a:lnTo>
                <a:lnTo>
                  <a:pt x="4094" y="1711"/>
                </a:lnTo>
                <a:lnTo>
                  <a:pt x="4094" y="1691"/>
                </a:lnTo>
                <a:lnTo>
                  <a:pt x="4094" y="1166"/>
                </a:lnTo>
                <a:lnTo>
                  <a:pt x="4160" y="1166"/>
                </a:lnTo>
                <a:lnTo>
                  <a:pt x="4160" y="1697"/>
                </a:lnTo>
                <a:lnTo>
                  <a:pt x="4159" y="1726"/>
                </a:lnTo>
                <a:lnTo>
                  <a:pt x="4159" y="1742"/>
                </a:lnTo>
                <a:lnTo>
                  <a:pt x="4158" y="1756"/>
                </a:lnTo>
                <a:lnTo>
                  <a:pt x="4155" y="1782"/>
                </a:lnTo>
                <a:lnTo>
                  <a:pt x="4152" y="1806"/>
                </a:lnTo>
                <a:lnTo>
                  <a:pt x="4149" y="1816"/>
                </a:lnTo>
                <a:lnTo>
                  <a:pt x="4147" y="1828"/>
                </a:lnTo>
                <a:lnTo>
                  <a:pt x="4142" y="1848"/>
                </a:lnTo>
                <a:lnTo>
                  <a:pt x="4139" y="1856"/>
                </a:lnTo>
                <a:lnTo>
                  <a:pt x="4135" y="1866"/>
                </a:lnTo>
                <a:lnTo>
                  <a:pt x="4132" y="1874"/>
                </a:lnTo>
                <a:lnTo>
                  <a:pt x="4128" y="1882"/>
                </a:lnTo>
                <a:lnTo>
                  <a:pt x="4124" y="1890"/>
                </a:lnTo>
                <a:lnTo>
                  <a:pt x="4119" y="1898"/>
                </a:lnTo>
                <a:lnTo>
                  <a:pt x="4109" y="1914"/>
                </a:lnTo>
                <a:lnTo>
                  <a:pt x="4098" y="1926"/>
                </a:lnTo>
                <a:lnTo>
                  <a:pt x="4092" y="1930"/>
                </a:lnTo>
                <a:lnTo>
                  <a:pt x="4086" y="1936"/>
                </a:lnTo>
                <a:lnTo>
                  <a:pt x="4073" y="1944"/>
                </a:lnTo>
                <a:lnTo>
                  <a:pt x="4067" y="1946"/>
                </a:lnTo>
                <a:lnTo>
                  <a:pt x="4060" y="1950"/>
                </a:lnTo>
                <a:lnTo>
                  <a:pt x="4046" y="1952"/>
                </a:lnTo>
                <a:lnTo>
                  <a:pt x="4039" y="1954"/>
                </a:lnTo>
                <a:lnTo>
                  <a:pt x="4031" y="1954"/>
                </a:lnTo>
                <a:lnTo>
                  <a:pt x="4017" y="1952"/>
                </a:lnTo>
                <a:lnTo>
                  <a:pt x="4003" y="1950"/>
                </a:lnTo>
                <a:lnTo>
                  <a:pt x="3996" y="1946"/>
                </a:lnTo>
                <a:lnTo>
                  <a:pt x="3989" y="1944"/>
                </a:lnTo>
                <a:lnTo>
                  <a:pt x="3977" y="1936"/>
                </a:lnTo>
                <a:lnTo>
                  <a:pt x="3965" y="1926"/>
                </a:lnTo>
                <a:lnTo>
                  <a:pt x="3954" y="1914"/>
                </a:lnTo>
                <a:lnTo>
                  <a:pt x="3943" y="1898"/>
                </a:lnTo>
                <a:lnTo>
                  <a:pt x="3938" y="1890"/>
                </a:lnTo>
                <a:lnTo>
                  <a:pt x="3934" y="1882"/>
                </a:lnTo>
                <a:close/>
                <a:moveTo>
                  <a:pt x="4370" y="1954"/>
                </a:moveTo>
                <a:lnTo>
                  <a:pt x="4354" y="1954"/>
                </a:lnTo>
                <a:lnTo>
                  <a:pt x="4339" y="1950"/>
                </a:lnTo>
                <a:lnTo>
                  <a:pt x="4324" y="1944"/>
                </a:lnTo>
                <a:lnTo>
                  <a:pt x="4317" y="1940"/>
                </a:lnTo>
                <a:lnTo>
                  <a:pt x="4310" y="1936"/>
                </a:lnTo>
                <a:lnTo>
                  <a:pt x="4298" y="1928"/>
                </a:lnTo>
                <a:lnTo>
                  <a:pt x="4292" y="1922"/>
                </a:lnTo>
                <a:lnTo>
                  <a:pt x="4287" y="1916"/>
                </a:lnTo>
                <a:lnTo>
                  <a:pt x="4277" y="1902"/>
                </a:lnTo>
                <a:lnTo>
                  <a:pt x="4273" y="1896"/>
                </a:lnTo>
                <a:lnTo>
                  <a:pt x="4268" y="1888"/>
                </a:lnTo>
                <a:lnTo>
                  <a:pt x="4264" y="1880"/>
                </a:lnTo>
                <a:lnTo>
                  <a:pt x="4261" y="1872"/>
                </a:lnTo>
                <a:lnTo>
                  <a:pt x="4257" y="1864"/>
                </a:lnTo>
                <a:lnTo>
                  <a:pt x="4254" y="1854"/>
                </a:lnTo>
                <a:lnTo>
                  <a:pt x="4248" y="1834"/>
                </a:lnTo>
                <a:lnTo>
                  <a:pt x="4244" y="1814"/>
                </a:lnTo>
                <a:lnTo>
                  <a:pt x="4242" y="1804"/>
                </a:lnTo>
                <a:lnTo>
                  <a:pt x="4240" y="1792"/>
                </a:lnTo>
                <a:lnTo>
                  <a:pt x="4237" y="1770"/>
                </a:lnTo>
                <a:lnTo>
                  <a:pt x="4236" y="1746"/>
                </a:lnTo>
                <a:lnTo>
                  <a:pt x="4235" y="1732"/>
                </a:lnTo>
                <a:lnTo>
                  <a:pt x="4235" y="1720"/>
                </a:lnTo>
                <a:lnTo>
                  <a:pt x="4298" y="1693"/>
                </a:lnTo>
                <a:lnTo>
                  <a:pt x="4298" y="1714"/>
                </a:lnTo>
                <a:lnTo>
                  <a:pt x="4299" y="1734"/>
                </a:lnTo>
                <a:lnTo>
                  <a:pt x="4301" y="1750"/>
                </a:lnTo>
                <a:lnTo>
                  <a:pt x="4303" y="1766"/>
                </a:lnTo>
                <a:lnTo>
                  <a:pt x="4305" y="1774"/>
                </a:lnTo>
                <a:lnTo>
                  <a:pt x="4306" y="1782"/>
                </a:lnTo>
                <a:lnTo>
                  <a:pt x="4310" y="1794"/>
                </a:lnTo>
                <a:lnTo>
                  <a:pt x="4314" y="1804"/>
                </a:lnTo>
                <a:lnTo>
                  <a:pt x="4318" y="1814"/>
                </a:lnTo>
                <a:lnTo>
                  <a:pt x="4324" y="1824"/>
                </a:lnTo>
                <a:lnTo>
                  <a:pt x="4330" y="1830"/>
                </a:lnTo>
                <a:lnTo>
                  <a:pt x="4336" y="1836"/>
                </a:lnTo>
                <a:lnTo>
                  <a:pt x="4343" y="1840"/>
                </a:lnTo>
                <a:lnTo>
                  <a:pt x="4350" y="1844"/>
                </a:lnTo>
                <a:lnTo>
                  <a:pt x="4357" y="1846"/>
                </a:lnTo>
                <a:lnTo>
                  <a:pt x="4365" y="1848"/>
                </a:lnTo>
                <a:lnTo>
                  <a:pt x="4374" y="1848"/>
                </a:lnTo>
                <a:lnTo>
                  <a:pt x="4381" y="1848"/>
                </a:lnTo>
                <a:lnTo>
                  <a:pt x="4388" y="1846"/>
                </a:lnTo>
                <a:lnTo>
                  <a:pt x="4395" y="1844"/>
                </a:lnTo>
                <a:lnTo>
                  <a:pt x="4401" y="1842"/>
                </a:lnTo>
                <a:lnTo>
                  <a:pt x="4407" y="1838"/>
                </a:lnTo>
                <a:lnTo>
                  <a:pt x="4413" y="1832"/>
                </a:lnTo>
                <a:lnTo>
                  <a:pt x="4418" y="1826"/>
                </a:lnTo>
                <a:lnTo>
                  <a:pt x="4423" y="1820"/>
                </a:lnTo>
                <a:lnTo>
                  <a:pt x="4427" y="1812"/>
                </a:lnTo>
                <a:lnTo>
                  <a:pt x="4431" y="1804"/>
                </a:lnTo>
                <a:lnTo>
                  <a:pt x="4434" y="1796"/>
                </a:lnTo>
                <a:lnTo>
                  <a:pt x="4437" y="1786"/>
                </a:lnTo>
                <a:lnTo>
                  <a:pt x="4439" y="1774"/>
                </a:lnTo>
                <a:lnTo>
                  <a:pt x="4440" y="1770"/>
                </a:lnTo>
                <a:lnTo>
                  <a:pt x="4441" y="1764"/>
                </a:lnTo>
                <a:lnTo>
                  <a:pt x="4442" y="1752"/>
                </a:lnTo>
                <a:lnTo>
                  <a:pt x="4442" y="1738"/>
                </a:lnTo>
                <a:lnTo>
                  <a:pt x="4442" y="1728"/>
                </a:lnTo>
                <a:lnTo>
                  <a:pt x="4442" y="1718"/>
                </a:lnTo>
                <a:lnTo>
                  <a:pt x="4441" y="1711"/>
                </a:lnTo>
                <a:lnTo>
                  <a:pt x="4439" y="1701"/>
                </a:lnTo>
                <a:lnTo>
                  <a:pt x="4437" y="1693"/>
                </a:lnTo>
                <a:lnTo>
                  <a:pt x="4435" y="1685"/>
                </a:lnTo>
                <a:lnTo>
                  <a:pt x="4433" y="1677"/>
                </a:lnTo>
                <a:lnTo>
                  <a:pt x="4430" y="1669"/>
                </a:lnTo>
                <a:lnTo>
                  <a:pt x="4422" y="1653"/>
                </a:lnTo>
                <a:lnTo>
                  <a:pt x="4418" y="1645"/>
                </a:lnTo>
                <a:lnTo>
                  <a:pt x="4413" y="1639"/>
                </a:lnTo>
                <a:lnTo>
                  <a:pt x="4402" y="1625"/>
                </a:lnTo>
                <a:lnTo>
                  <a:pt x="4389" y="1613"/>
                </a:lnTo>
                <a:lnTo>
                  <a:pt x="4325" y="1555"/>
                </a:lnTo>
                <a:lnTo>
                  <a:pt x="4315" y="1547"/>
                </a:lnTo>
                <a:lnTo>
                  <a:pt x="4305" y="1537"/>
                </a:lnTo>
                <a:lnTo>
                  <a:pt x="4289" y="1517"/>
                </a:lnTo>
                <a:lnTo>
                  <a:pt x="4275" y="1497"/>
                </a:lnTo>
                <a:lnTo>
                  <a:pt x="4270" y="1485"/>
                </a:lnTo>
                <a:lnTo>
                  <a:pt x="4264" y="1473"/>
                </a:lnTo>
                <a:lnTo>
                  <a:pt x="4260" y="1461"/>
                </a:lnTo>
                <a:lnTo>
                  <a:pt x="4255" y="1447"/>
                </a:lnTo>
                <a:lnTo>
                  <a:pt x="4252" y="1433"/>
                </a:lnTo>
                <a:lnTo>
                  <a:pt x="4249" y="1417"/>
                </a:lnTo>
                <a:lnTo>
                  <a:pt x="4247" y="1401"/>
                </a:lnTo>
                <a:lnTo>
                  <a:pt x="4246" y="1393"/>
                </a:lnTo>
                <a:lnTo>
                  <a:pt x="4245" y="1385"/>
                </a:lnTo>
                <a:lnTo>
                  <a:pt x="4244" y="1367"/>
                </a:lnTo>
                <a:lnTo>
                  <a:pt x="4244" y="1347"/>
                </a:lnTo>
                <a:lnTo>
                  <a:pt x="4244" y="1335"/>
                </a:lnTo>
                <a:lnTo>
                  <a:pt x="4245" y="1323"/>
                </a:lnTo>
                <a:lnTo>
                  <a:pt x="4246" y="1311"/>
                </a:lnTo>
                <a:lnTo>
                  <a:pt x="4247" y="1299"/>
                </a:lnTo>
                <a:lnTo>
                  <a:pt x="4248" y="1289"/>
                </a:lnTo>
                <a:lnTo>
                  <a:pt x="4250" y="1279"/>
                </a:lnTo>
                <a:lnTo>
                  <a:pt x="4254" y="1259"/>
                </a:lnTo>
                <a:lnTo>
                  <a:pt x="4257" y="1249"/>
                </a:lnTo>
                <a:lnTo>
                  <a:pt x="4260" y="1241"/>
                </a:lnTo>
                <a:lnTo>
                  <a:pt x="4266" y="1225"/>
                </a:lnTo>
                <a:lnTo>
                  <a:pt x="4273" y="1210"/>
                </a:lnTo>
                <a:lnTo>
                  <a:pt x="4277" y="1204"/>
                </a:lnTo>
                <a:lnTo>
                  <a:pt x="4282" y="1198"/>
                </a:lnTo>
                <a:lnTo>
                  <a:pt x="4291" y="1186"/>
                </a:lnTo>
                <a:lnTo>
                  <a:pt x="4301" y="1176"/>
                </a:lnTo>
                <a:lnTo>
                  <a:pt x="4311" y="1166"/>
                </a:lnTo>
                <a:lnTo>
                  <a:pt x="4323" y="1160"/>
                </a:lnTo>
                <a:lnTo>
                  <a:pt x="4335" y="1154"/>
                </a:lnTo>
                <a:lnTo>
                  <a:pt x="4347" y="1150"/>
                </a:lnTo>
                <a:lnTo>
                  <a:pt x="4360" y="1148"/>
                </a:lnTo>
                <a:lnTo>
                  <a:pt x="4373" y="1148"/>
                </a:lnTo>
                <a:lnTo>
                  <a:pt x="4388" y="1150"/>
                </a:lnTo>
                <a:lnTo>
                  <a:pt x="4403" y="1152"/>
                </a:lnTo>
                <a:lnTo>
                  <a:pt x="4416" y="1158"/>
                </a:lnTo>
                <a:lnTo>
                  <a:pt x="4422" y="1162"/>
                </a:lnTo>
                <a:lnTo>
                  <a:pt x="4428" y="1166"/>
                </a:lnTo>
                <a:lnTo>
                  <a:pt x="4440" y="1174"/>
                </a:lnTo>
                <a:lnTo>
                  <a:pt x="4450" y="1186"/>
                </a:lnTo>
                <a:lnTo>
                  <a:pt x="4459" y="1198"/>
                </a:lnTo>
                <a:lnTo>
                  <a:pt x="4467" y="1212"/>
                </a:lnTo>
                <a:lnTo>
                  <a:pt x="4471" y="1218"/>
                </a:lnTo>
                <a:lnTo>
                  <a:pt x="4474" y="1225"/>
                </a:lnTo>
                <a:lnTo>
                  <a:pt x="4477" y="1233"/>
                </a:lnTo>
                <a:lnTo>
                  <a:pt x="4480" y="1241"/>
                </a:lnTo>
                <a:lnTo>
                  <a:pt x="4485" y="1259"/>
                </a:lnTo>
                <a:lnTo>
                  <a:pt x="4490" y="1275"/>
                </a:lnTo>
                <a:lnTo>
                  <a:pt x="4493" y="1293"/>
                </a:lnTo>
                <a:lnTo>
                  <a:pt x="4495" y="1313"/>
                </a:lnTo>
                <a:lnTo>
                  <a:pt x="4497" y="1331"/>
                </a:lnTo>
                <a:lnTo>
                  <a:pt x="4497" y="1349"/>
                </a:lnTo>
                <a:lnTo>
                  <a:pt x="4435" y="1375"/>
                </a:lnTo>
                <a:lnTo>
                  <a:pt x="4435" y="1359"/>
                </a:lnTo>
                <a:lnTo>
                  <a:pt x="4433" y="1345"/>
                </a:lnTo>
                <a:lnTo>
                  <a:pt x="4432" y="1331"/>
                </a:lnTo>
                <a:lnTo>
                  <a:pt x="4430" y="1319"/>
                </a:lnTo>
                <a:lnTo>
                  <a:pt x="4427" y="1309"/>
                </a:lnTo>
                <a:lnTo>
                  <a:pt x="4426" y="1303"/>
                </a:lnTo>
                <a:lnTo>
                  <a:pt x="4424" y="1299"/>
                </a:lnTo>
                <a:lnTo>
                  <a:pt x="4421" y="1289"/>
                </a:lnTo>
                <a:lnTo>
                  <a:pt x="4417" y="1281"/>
                </a:lnTo>
                <a:lnTo>
                  <a:pt x="4413" y="1275"/>
                </a:lnTo>
                <a:lnTo>
                  <a:pt x="4408" y="1269"/>
                </a:lnTo>
                <a:lnTo>
                  <a:pt x="4403" y="1265"/>
                </a:lnTo>
                <a:lnTo>
                  <a:pt x="4397" y="1261"/>
                </a:lnTo>
                <a:lnTo>
                  <a:pt x="4391" y="1257"/>
                </a:lnTo>
                <a:lnTo>
                  <a:pt x="4385" y="1255"/>
                </a:lnTo>
                <a:lnTo>
                  <a:pt x="4378" y="1255"/>
                </a:lnTo>
                <a:lnTo>
                  <a:pt x="4370" y="1253"/>
                </a:lnTo>
                <a:lnTo>
                  <a:pt x="4358" y="1255"/>
                </a:lnTo>
                <a:lnTo>
                  <a:pt x="4346" y="1259"/>
                </a:lnTo>
                <a:lnTo>
                  <a:pt x="4341" y="1263"/>
                </a:lnTo>
                <a:lnTo>
                  <a:pt x="4336" y="1267"/>
                </a:lnTo>
                <a:lnTo>
                  <a:pt x="4331" y="1271"/>
                </a:lnTo>
                <a:lnTo>
                  <a:pt x="4327" y="1275"/>
                </a:lnTo>
                <a:lnTo>
                  <a:pt x="4323" y="1281"/>
                </a:lnTo>
                <a:lnTo>
                  <a:pt x="4319" y="1287"/>
                </a:lnTo>
                <a:lnTo>
                  <a:pt x="4316" y="1295"/>
                </a:lnTo>
                <a:lnTo>
                  <a:pt x="4313" y="1303"/>
                </a:lnTo>
                <a:lnTo>
                  <a:pt x="4311" y="1311"/>
                </a:lnTo>
                <a:lnTo>
                  <a:pt x="4310" y="1321"/>
                </a:lnTo>
                <a:lnTo>
                  <a:pt x="4309" y="1331"/>
                </a:lnTo>
                <a:lnTo>
                  <a:pt x="4308" y="1341"/>
                </a:lnTo>
                <a:lnTo>
                  <a:pt x="4309" y="1351"/>
                </a:lnTo>
                <a:lnTo>
                  <a:pt x="4309" y="1361"/>
                </a:lnTo>
                <a:lnTo>
                  <a:pt x="4310" y="1371"/>
                </a:lnTo>
                <a:lnTo>
                  <a:pt x="4311" y="1379"/>
                </a:lnTo>
                <a:lnTo>
                  <a:pt x="4313" y="1387"/>
                </a:lnTo>
                <a:lnTo>
                  <a:pt x="4315" y="1395"/>
                </a:lnTo>
                <a:lnTo>
                  <a:pt x="4318" y="1403"/>
                </a:lnTo>
                <a:lnTo>
                  <a:pt x="4321" y="1409"/>
                </a:lnTo>
                <a:lnTo>
                  <a:pt x="4325" y="1415"/>
                </a:lnTo>
                <a:lnTo>
                  <a:pt x="4328" y="1421"/>
                </a:lnTo>
                <a:lnTo>
                  <a:pt x="4337" y="1433"/>
                </a:lnTo>
                <a:lnTo>
                  <a:pt x="4347" y="1445"/>
                </a:lnTo>
                <a:lnTo>
                  <a:pt x="4359" y="1457"/>
                </a:lnTo>
                <a:lnTo>
                  <a:pt x="4421" y="1511"/>
                </a:lnTo>
                <a:lnTo>
                  <a:pt x="4431" y="1521"/>
                </a:lnTo>
                <a:lnTo>
                  <a:pt x="4442" y="1531"/>
                </a:lnTo>
                <a:lnTo>
                  <a:pt x="4451" y="1541"/>
                </a:lnTo>
                <a:lnTo>
                  <a:pt x="4459" y="1553"/>
                </a:lnTo>
                <a:lnTo>
                  <a:pt x="4467" y="1565"/>
                </a:lnTo>
                <a:lnTo>
                  <a:pt x="4474" y="1575"/>
                </a:lnTo>
                <a:lnTo>
                  <a:pt x="4480" y="1589"/>
                </a:lnTo>
                <a:lnTo>
                  <a:pt x="4486" y="1601"/>
                </a:lnTo>
                <a:lnTo>
                  <a:pt x="4491" y="1615"/>
                </a:lnTo>
                <a:lnTo>
                  <a:pt x="4495" y="1629"/>
                </a:lnTo>
                <a:lnTo>
                  <a:pt x="4499" y="1643"/>
                </a:lnTo>
                <a:lnTo>
                  <a:pt x="4502" y="1659"/>
                </a:lnTo>
                <a:lnTo>
                  <a:pt x="4504" y="1675"/>
                </a:lnTo>
                <a:lnTo>
                  <a:pt x="4505" y="1685"/>
                </a:lnTo>
                <a:lnTo>
                  <a:pt x="4505" y="1693"/>
                </a:lnTo>
                <a:lnTo>
                  <a:pt x="4506" y="1711"/>
                </a:lnTo>
                <a:lnTo>
                  <a:pt x="4507" y="1730"/>
                </a:lnTo>
                <a:lnTo>
                  <a:pt x="4506" y="1756"/>
                </a:lnTo>
                <a:lnTo>
                  <a:pt x="4504" y="1780"/>
                </a:lnTo>
                <a:lnTo>
                  <a:pt x="4503" y="1792"/>
                </a:lnTo>
                <a:lnTo>
                  <a:pt x="4501" y="1802"/>
                </a:lnTo>
                <a:lnTo>
                  <a:pt x="4499" y="1814"/>
                </a:lnTo>
                <a:lnTo>
                  <a:pt x="4497" y="1824"/>
                </a:lnTo>
                <a:lnTo>
                  <a:pt x="4494" y="1834"/>
                </a:lnTo>
                <a:lnTo>
                  <a:pt x="4492" y="1844"/>
                </a:lnTo>
                <a:lnTo>
                  <a:pt x="4485" y="1862"/>
                </a:lnTo>
                <a:lnTo>
                  <a:pt x="4482" y="1870"/>
                </a:lnTo>
                <a:lnTo>
                  <a:pt x="4478" y="1880"/>
                </a:lnTo>
                <a:lnTo>
                  <a:pt x="4470" y="1894"/>
                </a:lnTo>
                <a:lnTo>
                  <a:pt x="4465" y="1902"/>
                </a:lnTo>
                <a:lnTo>
                  <a:pt x="4460" y="1908"/>
                </a:lnTo>
                <a:lnTo>
                  <a:pt x="4455" y="1914"/>
                </a:lnTo>
                <a:lnTo>
                  <a:pt x="4450" y="1920"/>
                </a:lnTo>
                <a:lnTo>
                  <a:pt x="4439" y="1930"/>
                </a:lnTo>
                <a:lnTo>
                  <a:pt x="4427" y="1938"/>
                </a:lnTo>
                <a:lnTo>
                  <a:pt x="4414" y="1946"/>
                </a:lnTo>
                <a:lnTo>
                  <a:pt x="4400" y="1950"/>
                </a:lnTo>
                <a:lnTo>
                  <a:pt x="4393" y="1952"/>
                </a:lnTo>
                <a:lnTo>
                  <a:pt x="4386" y="1952"/>
                </a:lnTo>
                <a:lnTo>
                  <a:pt x="4370" y="19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7DE48D-705B-612C-7DFA-B303012D79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98587" y="5517232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F5A17A4-EA2D-AFFF-38DF-9699B925DC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98587" y="5805264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0865191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6924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oitusdia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89437-0A9F-6907-E834-ECE3DB6251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1700" cy="2304529"/>
          </a:xfrm>
        </p:spPr>
        <p:txBody>
          <a:bodyPr anchor="t" anchorCtr="0"/>
          <a:lstStyle>
            <a:lvl1pPr algn="l"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BA9B7E5-3139-76AA-C2C3-60620F1D9B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4509120"/>
            <a:ext cx="9791700" cy="864096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98F4D-E89B-8263-EB37-8F8B305D4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35C0907F-D8BF-4480-962A-955A3644F824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B5C31-D7B7-0A4A-9FF1-A8910751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9B765-A518-625F-2D82-59131FF13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CD5646D-347F-0693-85B7-82EEFAEE1F7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07368" y="333375"/>
            <a:ext cx="2325003" cy="504000"/>
          </a:xfrm>
          <a:custGeom>
            <a:avLst/>
            <a:gdLst>
              <a:gd name="T0" fmla="*/ 11 w 4507"/>
              <a:gd name="T1" fmla="*/ 18 h 1954"/>
              <a:gd name="T2" fmla="*/ 659 w 4507"/>
              <a:gd name="T3" fmla="*/ 297 h 1954"/>
              <a:gd name="T4" fmla="*/ 666 w 4507"/>
              <a:gd name="T5" fmla="*/ 916 h 1954"/>
              <a:gd name="T6" fmla="*/ 347 w 4507"/>
              <a:gd name="T7" fmla="*/ 880 h 1954"/>
              <a:gd name="T8" fmla="*/ 471 w 4507"/>
              <a:gd name="T9" fmla="*/ 675 h 1954"/>
              <a:gd name="T10" fmla="*/ 375 w 4507"/>
              <a:gd name="T11" fmla="*/ 401 h 1954"/>
              <a:gd name="T12" fmla="*/ 1722 w 4507"/>
              <a:gd name="T13" fmla="*/ 26 h 1954"/>
              <a:gd name="T14" fmla="*/ 1804 w 4507"/>
              <a:gd name="T15" fmla="*/ 309 h 1954"/>
              <a:gd name="T16" fmla="*/ 1741 w 4507"/>
              <a:gd name="T17" fmla="*/ 269 h 1954"/>
              <a:gd name="T18" fmla="*/ 1854 w 4507"/>
              <a:gd name="T19" fmla="*/ 788 h 1954"/>
              <a:gd name="T20" fmla="*/ 2410 w 4507"/>
              <a:gd name="T21" fmla="*/ 18 h 1954"/>
              <a:gd name="T22" fmla="*/ 3053 w 4507"/>
              <a:gd name="T23" fmla="*/ 553 h 1954"/>
              <a:gd name="T24" fmla="*/ 3419 w 4507"/>
              <a:gd name="T25" fmla="*/ 539 h 1954"/>
              <a:gd name="T26" fmla="*/ 3595 w 4507"/>
              <a:gd name="T27" fmla="*/ 659 h 1954"/>
              <a:gd name="T28" fmla="*/ 3699 w 4507"/>
              <a:gd name="T29" fmla="*/ 697 h 1954"/>
              <a:gd name="T30" fmla="*/ 3842 w 4507"/>
              <a:gd name="T31" fmla="*/ 595 h 1954"/>
              <a:gd name="T32" fmla="*/ 3700 w 4507"/>
              <a:gd name="T33" fmla="*/ 806 h 1954"/>
              <a:gd name="T34" fmla="*/ 3943 w 4507"/>
              <a:gd name="T35" fmla="*/ 725 h 1954"/>
              <a:gd name="T36" fmla="*/ 4018 w 4507"/>
              <a:gd name="T37" fmla="*/ 689 h 1954"/>
              <a:gd name="T38" fmla="*/ 4124 w 4507"/>
              <a:gd name="T39" fmla="*/ 581 h 1954"/>
              <a:gd name="T40" fmla="*/ 3931 w 4507"/>
              <a:gd name="T41" fmla="*/ 269 h 1954"/>
              <a:gd name="T42" fmla="*/ 4017 w 4507"/>
              <a:gd name="T43" fmla="*/ 6 h 1954"/>
              <a:gd name="T44" fmla="*/ 4117 w 4507"/>
              <a:gd name="T45" fmla="*/ 228 h 1954"/>
              <a:gd name="T46" fmla="*/ 4005 w 4507"/>
              <a:gd name="T47" fmla="*/ 134 h 1954"/>
              <a:gd name="T48" fmla="*/ 4123 w 4507"/>
              <a:gd name="T49" fmla="*/ 383 h 1954"/>
              <a:gd name="T50" fmla="*/ 4174 w 4507"/>
              <a:gd name="T51" fmla="*/ 697 h 1954"/>
              <a:gd name="T52" fmla="*/ 1767 w 4507"/>
              <a:gd name="T53" fmla="*/ 1273 h 1954"/>
              <a:gd name="T54" fmla="*/ 2197 w 4507"/>
              <a:gd name="T55" fmla="*/ 1926 h 1954"/>
              <a:gd name="T56" fmla="*/ 2114 w 4507"/>
              <a:gd name="T57" fmla="*/ 1551 h 1954"/>
              <a:gd name="T58" fmla="*/ 2226 w 4507"/>
              <a:gd name="T59" fmla="*/ 1156 h 1954"/>
              <a:gd name="T60" fmla="*/ 2385 w 4507"/>
              <a:gd name="T61" fmla="*/ 1313 h 1954"/>
              <a:gd name="T62" fmla="*/ 2373 w 4507"/>
              <a:gd name="T63" fmla="*/ 1834 h 1954"/>
              <a:gd name="T64" fmla="*/ 2227 w 4507"/>
              <a:gd name="T65" fmla="*/ 1271 h 1954"/>
              <a:gd name="T66" fmla="*/ 2192 w 4507"/>
              <a:gd name="T67" fmla="*/ 1738 h 1954"/>
              <a:gd name="T68" fmla="*/ 2323 w 4507"/>
              <a:gd name="T69" fmla="*/ 1760 h 1954"/>
              <a:gd name="T70" fmla="*/ 2273 w 4507"/>
              <a:gd name="T71" fmla="*/ 1259 h 1954"/>
              <a:gd name="T72" fmla="*/ 3321 w 4507"/>
              <a:gd name="T73" fmla="*/ 1954 h 1954"/>
              <a:gd name="T74" fmla="*/ 3265 w 4507"/>
              <a:gd name="T75" fmla="*/ 1693 h 1954"/>
              <a:gd name="T76" fmla="*/ 3380 w 4507"/>
              <a:gd name="T77" fmla="*/ 1832 h 1954"/>
              <a:gd name="T78" fmla="*/ 3369 w 4507"/>
              <a:gd name="T79" fmla="*/ 1625 h 1954"/>
              <a:gd name="T80" fmla="*/ 3218 w 4507"/>
              <a:gd name="T81" fmla="*/ 1279 h 1954"/>
              <a:gd name="T82" fmla="*/ 3426 w 4507"/>
              <a:gd name="T83" fmla="*/ 1198 h 1954"/>
              <a:gd name="T84" fmla="*/ 3370 w 4507"/>
              <a:gd name="T85" fmla="*/ 1265 h 1954"/>
              <a:gd name="T86" fmla="*/ 3279 w 4507"/>
              <a:gd name="T87" fmla="*/ 1379 h 1954"/>
              <a:gd name="T88" fmla="*/ 3471 w 4507"/>
              <a:gd name="T89" fmla="*/ 1675 h 1954"/>
              <a:gd name="T90" fmla="*/ 3381 w 4507"/>
              <a:gd name="T91" fmla="*/ 1946 h 1954"/>
              <a:gd name="T92" fmla="*/ 3620 w 4507"/>
              <a:gd name="T93" fmla="*/ 1772 h 1954"/>
              <a:gd name="T94" fmla="*/ 3736 w 4507"/>
              <a:gd name="T95" fmla="*/ 1772 h 1954"/>
              <a:gd name="T96" fmla="*/ 3756 w 4507"/>
              <a:gd name="T97" fmla="*/ 1914 h 1954"/>
              <a:gd name="T98" fmla="*/ 3915 w 4507"/>
              <a:gd name="T99" fmla="*/ 1828 h 1954"/>
              <a:gd name="T100" fmla="*/ 4005 w 4507"/>
              <a:gd name="T101" fmla="*/ 1838 h 1954"/>
              <a:gd name="T102" fmla="*/ 4160 w 4507"/>
              <a:gd name="T103" fmla="*/ 1697 h 1954"/>
              <a:gd name="T104" fmla="*/ 4039 w 4507"/>
              <a:gd name="T105" fmla="*/ 1954 h 1954"/>
              <a:gd name="T106" fmla="*/ 4268 w 4507"/>
              <a:gd name="T107" fmla="*/ 1888 h 1954"/>
              <a:gd name="T108" fmla="*/ 4324 w 4507"/>
              <a:gd name="T109" fmla="*/ 1824 h 1954"/>
              <a:gd name="T110" fmla="*/ 4442 w 4507"/>
              <a:gd name="T111" fmla="*/ 1752 h 1954"/>
              <a:gd name="T112" fmla="*/ 4255 w 4507"/>
              <a:gd name="T113" fmla="*/ 1447 h 1954"/>
              <a:gd name="T114" fmla="*/ 4311 w 4507"/>
              <a:gd name="T115" fmla="*/ 1166 h 1954"/>
              <a:gd name="T116" fmla="*/ 4497 w 4507"/>
              <a:gd name="T117" fmla="*/ 1331 h 1954"/>
              <a:gd name="T118" fmla="*/ 4336 w 4507"/>
              <a:gd name="T119" fmla="*/ 1267 h 1954"/>
              <a:gd name="T120" fmla="*/ 4359 w 4507"/>
              <a:gd name="T121" fmla="*/ 1457 h 1954"/>
              <a:gd name="T122" fmla="*/ 4499 w 4507"/>
              <a:gd name="T123" fmla="*/ 1814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507" h="1954">
                <a:moveTo>
                  <a:pt x="4307" y="327"/>
                </a:moveTo>
                <a:lnTo>
                  <a:pt x="4377" y="327"/>
                </a:lnTo>
                <a:lnTo>
                  <a:pt x="4377" y="463"/>
                </a:lnTo>
                <a:lnTo>
                  <a:pt x="4307" y="463"/>
                </a:lnTo>
                <a:lnTo>
                  <a:pt x="4307" y="327"/>
                </a:lnTo>
                <a:close/>
                <a:moveTo>
                  <a:pt x="1248" y="18"/>
                </a:moveTo>
                <a:lnTo>
                  <a:pt x="1248" y="473"/>
                </a:lnTo>
                <a:lnTo>
                  <a:pt x="1051" y="473"/>
                </a:lnTo>
                <a:lnTo>
                  <a:pt x="1051" y="1936"/>
                </a:lnTo>
                <a:lnTo>
                  <a:pt x="821" y="1936"/>
                </a:lnTo>
                <a:lnTo>
                  <a:pt x="821" y="473"/>
                </a:lnTo>
                <a:lnTo>
                  <a:pt x="655" y="18"/>
                </a:lnTo>
                <a:lnTo>
                  <a:pt x="1248" y="18"/>
                </a:lnTo>
                <a:close/>
                <a:moveTo>
                  <a:pt x="0" y="1481"/>
                </a:moveTo>
                <a:lnTo>
                  <a:pt x="230" y="1481"/>
                </a:lnTo>
                <a:lnTo>
                  <a:pt x="230" y="1936"/>
                </a:lnTo>
                <a:lnTo>
                  <a:pt x="0" y="1936"/>
                </a:lnTo>
                <a:lnTo>
                  <a:pt x="0" y="1481"/>
                </a:lnTo>
                <a:close/>
                <a:moveTo>
                  <a:pt x="487" y="1186"/>
                </a:moveTo>
                <a:lnTo>
                  <a:pt x="752" y="1936"/>
                </a:lnTo>
                <a:lnTo>
                  <a:pt x="495" y="1936"/>
                </a:lnTo>
                <a:lnTo>
                  <a:pt x="11" y="559"/>
                </a:lnTo>
                <a:lnTo>
                  <a:pt x="11" y="18"/>
                </a:lnTo>
                <a:lnTo>
                  <a:pt x="309" y="18"/>
                </a:lnTo>
                <a:lnTo>
                  <a:pt x="335" y="18"/>
                </a:lnTo>
                <a:lnTo>
                  <a:pt x="359" y="20"/>
                </a:lnTo>
                <a:lnTo>
                  <a:pt x="382" y="24"/>
                </a:lnTo>
                <a:lnTo>
                  <a:pt x="404" y="30"/>
                </a:lnTo>
                <a:lnTo>
                  <a:pt x="426" y="36"/>
                </a:lnTo>
                <a:lnTo>
                  <a:pt x="447" y="44"/>
                </a:lnTo>
                <a:lnTo>
                  <a:pt x="467" y="52"/>
                </a:lnTo>
                <a:lnTo>
                  <a:pt x="476" y="58"/>
                </a:lnTo>
                <a:lnTo>
                  <a:pt x="486" y="62"/>
                </a:lnTo>
                <a:lnTo>
                  <a:pt x="504" y="74"/>
                </a:lnTo>
                <a:lnTo>
                  <a:pt x="521" y="88"/>
                </a:lnTo>
                <a:lnTo>
                  <a:pt x="538" y="102"/>
                </a:lnTo>
                <a:lnTo>
                  <a:pt x="553" y="116"/>
                </a:lnTo>
                <a:lnTo>
                  <a:pt x="569" y="132"/>
                </a:lnTo>
                <a:lnTo>
                  <a:pt x="583" y="150"/>
                </a:lnTo>
                <a:lnTo>
                  <a:pt x="596" y="168"/>
                </a:lnTo>
                <a:lnTo>
                  <a:pt x="609" y="188"/>
                </a:lnTo>
                <a:lnTo>
                  <a:pt x="620" y="208"/>
                </a:lnTo>
                <a:lnTo>
                  <a:pt x="631" y="230"/>
                </a:lnTo>
                <a:lnTo>
                  <a:pt x="641" y="251"/>
                </a:lnTo>
                <a:lnTo>
                  <a:pt x="650" y="273"/>
                </a:lnTo>
                <a:lnTo>
                  <a:pt x="659" y="297"/>
                </a:lnTo>
                <a:lnTo>
                  <a:pt x="666" y="323"/>
                </a:lnTo>
                <a:lnTo>
                  <a:pt x="673" y="349"/>
                </a:lnTo>
                <a:lnTo>
                  <a:pt x="680" y="375"/>
                </a:lnTo>
                <a:lnTo>
                  <a:pt x="685" y="401"/>
                </a:lnTo>
                <a:lnTo>
                  <a:pt x="690" y="429"/>
                </a:lnTo>
                <a:lnTo>
                  <a:pt x="694" y="459"/>
                </a:lnTo>
                <a:lnTo>
                  <a:pt x="697" y="487"/>
                </a:lnTo>
                <a:lnTo>
                  <a:pt x="699" y="517"/>
                </a:lnTo>
                <a:lnTo>
                  <a:pt x="701" y="547"/>
                </a:lnTo>
                <a:lnTo>
                  <a:pt x="702" y="579"/>
                </a:lnTo>
                <a:lnTo>
                  <a:pt x="703" y="611"/>
                </a:lnTo>
                <a:lnTo>
                  <a:pt x="702" y="661"/>
                </a:lnTo>
                <a:lnTo>
                  <a:pt x="701" y="687"/>
                </a:lnTo>
                <a:lnTo>
                  <a:pt x="699" y="711"/>
                </a:lnTo>
                <a:lnTo>
                  <a:pt x="697" y="735"/>
                </a:lnTo>
                <a:lnTo>
                  <a:pt x="695" y="758"/>
                </a:lnTo>
                <a:lnTo>
                  <a:pt x="692" y="782"/>
                </a:lnTo>
                <a:lnTo>
                  <a:pt x="689" y="806"/>
                </a:lnTo>
                <a:lnTo>
                  <a:pt x="685" y="830"/>
                </a:lnTo>
                <a:lnTo>
                  <a:pt x="681" y="852"/>
                </a:lnTo>
                <a:lnTo>
                  <a:pt x="677" y="874"/>
                </a:lnTo>
                <a:lnTo>
                  <a:pt x="672" y="896"/>
                </a:lnTo>
                <a:lnTo>
                  <a:pt x="666" y="916"/>
                </a:lnTo>
                <a:lnTo>
                  <a:pt x="661" y="938"/>
                </a:lnTo>
                <a:lnTo>
                  <a:pt x="655" y="958"/>
                </a:lnTo>
                <a:lnTo>
                  <a:pt x="648" y="976"/>
                </a:lnTo>
                <a:lnTo>
                  <a:pt x="641" y="996"/>
                </a:lnTo>
                <a:lnTo>
                  <a:pt x="634" y="1014"/>
                </a:lnTo>
                <a:lnTo>
                  <a:pt x="626" y="1030"/>
                </a:lnTo>
                <a:lnTo>
                  <a:pt x="618" y="1048"/>
                </a:lnTo>
                <a:lnTo>
                  <a:pt x="609" y="1064"/>
                </a:lnTo>
                <a:lnTo>
                  <a:pt x="600" y="1080"/>
                </a:lnTo>
                <a:lnTo>
                  <a:pt x="591" y="1094"/>
                </a:lnTo>
                <a:lnTo>
                  <a:pt x="581" y="1108"/>
                </a:lnTo>
                <a:lnTo>
                  <a:pt x="571" y="1120"/>
                </a:lnTo>
                <a:lnTo>
                  <a:pt x="559" y="1132"/>
                </a:lnTo>
                <a:lnTo>
                  <a:pt x="548" y="1144"/>
                </a:lnTo>
                <a:lnTo>
                  <a:pt x="537" y="1154"/>
                </a:lnTo>
                <a:lnTo>
                  <a:pt x="525" y="1164"/>
                </a:lnTo>
                <a:lnTo>
                  <a:pt x="513" y="1172"/>
                </a:lnTo>
                <a:lnTo>
                  <a:pt x="500" y="1180"/>
                </a:lnTo>
                <a:lnTo>
                  <a:pt x="487" y="1186"/>
                </a:lnTo>
                <a:close/>
                <a:moveTo>
                  <a:pt x="239" y="391"/>
                </a:moveTo>
                <a:lnTo>
                  <a:pt x="239" y="880"/>
                </a:lnTo>
                <a:lnTo>
                  <a:pt x="337" y="880"/>
                </a:lnTo>
                <a:lnTo>
                  <a:pt x="347" y="880"/>
                </a:lnTo>
                <a:lnTo>
                  <a:pt x="357" y="880"/>
                </a:lnTo>
                <a:lnTo>
                  <a:pt x="367" y="878"/>
                </a:lnTo>
                <a:lnTo>
                  <a:pt x="376" y="874"/>
                </a:lnTo>
                <a:lnTo>
                  <a:pt x="384" y="872"/>
                </a:lnTo>
                <a:lnTo>
                  <a:pt x="392" y="868"/>
                </a:lnTo>
                <a:lnTo>
                  <a:pt x="400" y="862"/>
                </a:lnTo>
                <a:lnTo>
                  <a:pt x="407" y="858"/>
                </a:lnTo>
                <a:lnTo>
                  <a:pt x="413" y="852"/>
                </a:lnTo>
                <a:lnTo>
                  <a:pt x="419" y="844"/>
                </a:lnTo>
                <a:lnTo>
                  <a:pt x="425" y="838"/>
                </a:lnTo>
                <a:lnTo>
                  <a:pt x="430" y="830"/>
                </a:lnTo>
                <a:lnTo>
                  <a:pt x="435" y="822"/>
                </a:lnTo>
                <a:lnTo>
                  <a:pt x="440" y="814"/>
                </a:lnTo>
                <a:lnTo>
                  <a:pt x="444" y="806"/>
                </a:lnTo>
                <a:lnTo>
                  <a:pt x="448" y="796"/>
                </a:lnTo>
                <a:lnTo>
                  <a:pt x="451" y="788"/>
                </a:lnTo>
                <a:lnTo>
                  <a:pt x="454" y="778"/>
                </a:lnTo>
                <a:lnTo>
                  <a:pt x="457" y="768"/>
                </a:lnTo>
                <a:lnTo>
                  <a:pt x="460" y="758"/>
                </a:lnTo>
                <a:lnTo>
                  <a:pt x="464" y="738"/>
                </a:lnTo>
                <a:lnTo>
                  <a:pt x="467" y="717"/>
                </a:lnTo>
                <a:lnTo>
                  <a:pt x="470" y="697"/>
                </a:lnTo>
                <a:lnTo>
                  <a:pt x="471" y="675"/>
                </a:lnTo>
                <a:lnTo>
                  <a:pt x="472" y="655"/>
                </a:lnTo>
                <a:lnTo>
                  <a:pt x="472" y="635"/>
                </a:lnTo>
                <a:lnTo>
                  <a:pt x="472" y="615"/>
                </a:lnTo>
                <a:lnTo>
                  <a:pt x="470" y="593"/>
                </a:lnTo>
                <a:lnTo>
                  <a:pt x="468" y="573"/>
                </a:lnTo>
                <a:lnTo>
                  <a:pt x="464" y="551"/>
                </a:lnTo>
                <a:lnTo>
                  <a:pt x="462" y="541"/>
                </a:lnTo>
                <a:lnTo>
                  <a:pt x="459" y="531"/>
                </a:lnTo>
                <a:lnTo>
                  <a:pt x="457" y="521"/>
                </a:lnTo>
                <a:lnTo>
                  <a:pt x="454" y="511"/>
                </a:lnTo>
                <a:lnTo>
                  <a:pt x="447" y="491"/>
                </a:lnTo>
                <a:lnTo>
                  <a:pt x="443" y="483"/>
                </a:lnTo>
                <a:lnTo>
                  <a:pt x="439" y="473"/>
                </a:lnTo>
                <a:lnTo>
                  <a:pt x="435" y="465"/>
                </a:lnTo>
                <a:lnTo>
                  <a:pt x="430" y="457"/>
                </a:lnTo>
                <a:lnTo>
                  <a:pt x="420" y="441"/>
                </a:lnTo>
                <a:lnTo>
                  <a:pt x="414" y="433"/>
                </a:lnTo>
                <a:lnTo>
                  <a:pt x="408" y="427"/>
                </a:lnTo>
                <a:lnTo>
                  <a:pt x="402" y="421"/>
                </a:lnTo>
                <a:lnTo>
                  <a:pt x="396" y="415"/>
                </a:lnTo>
                <a:lnTo>
                  <a:pt x="389" y="409"/>
                </a:lnTo>
                <a:lnTo>
                  <a:pt x="382" y="405"/>
                </a:lnTo>
                <a:lnTo>
                  <a:pt x="375" y="401"/>
                </a:lnTo>
                <a:lnTo>
                  <a:pt x="367" y="397"/>
                </a:lnTo>
                <a:lnTo>
                  <a:pt x="359" y="395"/>
                </a:lnTo>
                <a:lnTo>
                  <a:pt x="351" y="393"/>
                </a:lnTo>
                <a:lnTo>
                  <a:pt x="333" y="391"/>
                </a:lnTo>
                <a:lnTo>
                  <a:pt x="239" y="391"/>
                </a:lnTo>
                <a:close/>
                <a:moveTo>
                  <a:pt x="1780" y="395"/>
                </a:moveTo>
                <a:lnTo>
                  <a:pt x="1776" y="403"/>
                </a:lnTo>
                <a:lnTo>
                  <a:pt x="1772" y="411"/>
                </a:lnTo>
                <a:lnTo>
                  <a:pt x="1763" y="423"/>
                </a:lnTo>
                <a:lnTo>
                  <a:pt x="1754" y="433"/>
                </a:lnTo>
                <a:lnTo>
                  <a:pt x="1743" y="443"/>
                </a:lnTo>
                <a:lnTo>
                  <a:pt x="1814" y="788"/>
                </a:lnTo>
                <a:lnTo>
                  <a:pt x="1742" y="788"/>
                </a:lnTo>
                <a:lnTo>
                  <a:pt x="1683" y="465"/>
                </a:lnTo>
                <a:lnTo>
                  <a:pt x="1607" y="465"/>
                </a:lnTo>
                <a:lnTo>
                  <a:pt x="1607" y="788"/>
                </a:lnTo>
                <a:lnTo>
                  <a:pt x="1543" y="788"/>
                </a:lnTo>
                <a:lnTo>
                  <a:pt x="1543" y="18"/>
                </a:lnTo>
                <a:lnTo>
                  <a:pt x="1681" y="18"/>
                </a:lnTo>
                <a:lnTo>
                  <a:pt x="1696" y="18"/>
                </a:lnTo>
                <a:lnTo>
                  <a:pt x="1703" y="20"/>
                </a:lnTo>
                <a:lnTo>
                  <a:pt x="1710" y="22"/>
                </a:lnTo>
                <a:lnTo>
                  <a:pt x="1722" y="26"/>
                </a:lnTo>
                <a:lnTo>
                  <a:pt x="1734" y="32"/>
                </a:lnTo>
                <a:lnTo>
                  <a:pt x="1745" y="40"/>
                </a:lnTo>
                <a:lnTo>
                  <a:pt x="1755" y="50"/>
                </a:lnTo>
                <a:lnTo>
                  <a:pt x="1765" y="62"/>
                </a:lnTo>
                <a:lnTo>
                  <a:pt x="1769" y="68"/>
                </a:lnTo>
                <a:lnTo>
                  <a:pt x="1773" y="76"/>
                </a:lnTo>
                <a:lnTo>
                  <a:pt x="1781" y="92"/>
                </a:lnTo>
                <a:lnTo>
                  <a:pt x="1788" y="108"/>
                </a:lnTo>
                <a:lnTo>
                  <a:pt x="1791" y="118"/>
                </a:lnTo>
                <a:lnTo>
                  <a:pt x="1794" y="126"/>
                </a:lnTo>
                <a:lnTo>
                  <a:pt x="1799" y="146"/>
                </a:lnTo>
                <a:lnTo>
                  <a:pt x="1803" y="168"/>
                </a:lnTo>
                <a:lnTo>
                  <a:pt x="1805" y="178"/>
                </a:lnTo>
                <a:lnTo>
                  <a:pt x="1806" y="190"/>
                </a:lnTo>
                <a:lnTo>
                  <a:pt x="1807" y="200"/>
                </a:lnTo>
                <a:lnTo>
                  <a:pt x="1808" y="212"/>
                </a:lnTo>
                <a:lnTo>
                  <a:pt x="1808" y="224"/>
                </a:lnTo>
                <a:lnTo>
                  <a:pt x="1808" y="236"/>
                </a:lnTo>
                <a:lnTo>
                  <a:pt x="1808" y="263"/>
                </a:lnTo>
                <a:lnTo>
                  <a:pt x="1807" y="275"/>
                </a:lnTo>
                <a:lnTo>
                  <a:pt x="1806" y="287"/>
                </a:lnTo>
                <a:lnTo>
                  <a:pt x="1805" y="299"/>
                </a:lnTo>
                <a:lnTo>
                  <a:pt x="1804" y="309"/>
                </a:lnTo>
                <a:lnTo>
                  <a:pt x="1801" y="331"/>
                </a:lnTo>
                <a:lnTo>
                  <a:pt x="1797" y="349"/>
                </a:lnTo>
                <a:lnTo>
                  <a:pt x="1792" y="367"/>
                </a:lnTo>
                <a:lnTo>
                  <a:pt x="1786" y="381"/>
                </a:lnTo>
                <a:lnTo>
                  <a:pt x="1780" y="395"/>
                </a:lnTo>
                <a:close/>
                <a:moveTo>
                  <a:pt x="1678" y="122"/>
                </a:moveTo>
                <a:lnTo>
                  <a:pt x="1607" y="122"/>
                </a:lnTo>
                <a:lnTo>
                  <a:pt x="1607" y="365"/>
                </a:lnTo>
                <a:lnTo>
                  <a:pt x="1678" y="365"/>
                </a:lnTo>
                <a:lnTo>
                  <a:pt x="1686" y="363"/>
                </a:lnTo>
                <a:lnTo>
                  <a:pt x="1694" y="361"/>
                </a:lnTo>
                <a:lnTo>
                  <a:pt x="1700" y="359"/>
                </a:lnTo>
                <a:lnTo>
                  <a:pt x="1707" y="355"/>
                </a:lnTo>
                <a:lnTo>
                  <a:pt x="1712" y="351"/>
                </a:lnTo>
                <a:lnTo>
                  <a:pt x="1717" y="345"/>
                </a:lnTo>
                <a:lnTo>
                  <a:pt x="1722" y="339"/>
                </a:lnTo>
                <a:lnTo>
                  <a:pt x="1726" y="331"/>
                </a:lnTo>
                <a:lnTo>
                  <a:pt x="1730" y="323"/>
                </a:lnTo>
                <a:lnTo>
                  <a:pt x="1733" y="313"/>
                </a:lnTo>
                <a:lnTo>
                  <a:pt x="1736" y="303"/>
                </a:lnTo>
                <a:lnTo>
                  <a:pt x="1738" y="293"/>
                </a:lnTo>
                <a:lnTo>
                  <a:pt x="1740" y="281"/>
                </a:lnTo>
                <a:lnTo>
                  <a:pt x="1741" y="269"/>
                </a:lnTo>
                <a:lnTo>
                  <a:pt x="1742" y="257"/>
                </a:lnTo>
                <a:lnTo>
                  <a:pt x="1742" y="244"/>
                </a:lnTo>
                <a:lnTo>
                  <a:pt x="1742" y="230"/>
                </a:lnTo>
                <a:lnTo>
                  <a:pt x="1742" y="218"/>
                </a:lnTo>
                <a:lnTo>
                  <a:pt x="1740" y="206"/>
                </a:lnTo>
                <a:lnTo>
                  <a:pt x="1739" y="194"/>
                </a:lnTo>
                <a:lnTo>
                  <a:pt x="1737" y="184"/>
                </a:lnTo>
                <a:lnTo>
                  <a:pt x="1734" y="174"/>
                </a:lnTo>
                <a:lnTo>
                  <a:pt x="1731" y="164"/>
                </a:lnTo>
                <a:lnTo>
                  <a:pt x="1728" y="156"/>
                </a:lnTo>
                <a:lnTo>
                  <a:pt x="1723" y="148"/>
                </a:lnTo>
                <a:lnTo>
                  <a:pt x="1719" y="142"/>
                </a:lnTo>
                <a:lnTo>
                  <a:pt x="1713" y="136"/>
                </a:lnTo>
                <a:lnTo>
                  <a:pt x="1708" y="132"/>
                </a:lnTo>
                <a:lnTo>
                  <a:pt x="1701" y="128"/>
                </a:lnTo>
                <a:lnTo>
                  <a:pt x="1694" y="124"/>
                </a:lnTo>
                <a:lnTo>
                  <a:pt x="1686" y="122"/>
                </a:lnTo>
                <a:lnTo>
                  <a:pt x="1678" y="122"/>
                </a:lnTo>
                <a:close/>
                <a:moveTo>
                  <a:pt x="2090" y="788"/>
                </a:moveTo>
                <a:lnTo>
                  <a:pt x="2069" y="635"/>
                </a:lnTo>
                <a:lnTo>
                  <a:pt x="1942" y="635"/>
                </a:lnTo>
                <a:lnTo>
                  <a:pt x="1921" y="788"/>
                </a:lnTo>
                <a:lnTo>
                  <a:pt x="1854" y="788"/>
                </a:lnTo>
                <a:lnTo>
                  <a:pt x="1975" y="18"/>
                </a:lnTo>
                <a:lnTo>
                  <a:pt x="2037" y="18"/>
                </a:lnTo>
                <a:lnTo>
                  <a:pt x="2160" y="788"/>
                </a:lnTo>
                <a:lnTo>
                  <a:pt x="2090" y="788"/>
                </a:lnTo>
                <a:close/>
                <a:moveTo>
                  <a:pt x="2026" y="323"/>
                </a:moveTo>
                <a:lnTo>
                  <a:pt x="2015" y="250"/>
                </a:lnTo>
                <a:lnTo>
                  <a:pt x="2010" y="210"/>
                </a:lnTo>
                <a:lnTo>
                  <a:pt x="2006" y="170"/>
                </a:lnTo>
                <a:lnTo>
                  <a:pt x="2001" y="210"/>
                </a:lnTo>
                <a:lnTo>
                  <a:pt x="1996" y="250"/>
                </a:lnTo>
                <a:lnTo>
                  <a:pt x="1986" y="325"/>
                </a:lnTo>
                <a:lnTo>
                  <a:pt x="1957" y="529"/>
                </a:lnTo>
                <a:lnTo>
                  <a:pt x="2053" y="529"/>
                </a:lnTo>
                <a:lnTo>
                  <a:pt x="2026" y="323"/>
                </a:lnTo>
                <a:close/>
                <a:moveTo>
                  <a:pt x="2419" y="788"/>
                </a:moveTo>
                <a:lnTo>
                  <a:pt x="2323" y="431"/>
                </a:lnTo>
                <a:lnTo>
                  <a:pt x="2285" y="527"/>
                </a:lnTo>
                <a:lnTo>
                  <a:pt x="2285" y="788"/>
                </a:lnTo>
                <a:lnTo>
                  <a:pt x="2220" y="788"/>
                </a:lnTo>
                <a:lnTo>
                  <a:pt x="2220" y="18"/>
                </a:lnTo>
                <a:lnTo>
                  <a:pt x="2285" y="18"/>
                </a:lnTo>
                <a:lnTo>
                  <a:pt x="2285" y="347"/>
                </a:lnTo>
                <a:lnTo>
                  <a:pt x="2410" y="18"/>
                </a:lnTo>
                <a:lnTo>
                  <a:pt x="2492" y="18"/>
                </a:lnTo>
                <a:lnTo>
                  <a:pt x="2363" y="333"/>
                </a:lnTo>
                <a:lnTo>
                  <a:pt x="2498" y="788"/>
                </a:lnTo>
                <a:lnTo>
                  <a:pt x="2419" y="788"/>
                </a:lnTo>
                <a:close/>
                <a:moveTo>
                  <a:pt x="2558" y="788"/>
                </a:moveTo>
                <a:lnTo>
                  <a:pt x="2558" y="18"/>
                </a:lnTo>
                <a:lnTo>
                  <a:pt x="2786" y="18"/>
                </a:lnTo>
                <a:lnTo>
                  <a:pt x="2786" y="126"/>
                </a:lnTo>
                <a:lnTo>
                  <a:pt x="2623" y="126"/>
                </a:lnTo>
                <a:lnTo>
                  <a:pt x="2623" y="341"/>
                </a:lnTo>
                <a:lnTo>
                  <a:pt x="2756" y="341"/>
                </a:lnTo>
                <a:lnTo>
                  <a:pt x="2756" y="445"/>
                </a:lnTo>
                <a:lnTo>
                  <a:pt x="2623" y="445"/>
                </a:lnTo>
                <a:lnTo>
                  <a:pt x="2623" y="683"/>
                </a:lnTo>
                <a:lnTo>
                  <a:pt x="2786" y="683"/>
                </a:lnTo>
                <a:lnTo>
                  <a:pt x="2786" y="788"/>
                </a:lnTo>
                <a:lnTo>
                  <a:pt x="2558" y="788"/>
                </a:lnTo>
                <a:close/>
                <a:moveTo>
                  <a:pt x="2939" y="18"/>
                </a:moveTo>
                <a:lnTo>
                  <a:pt x="3030" y="439"/>
                </a:lnTo>
                <a:lnTo>
                  <a:pt x="3038" y="477"/>
                </a:lnTo>
                <a:lnTo>
                  <a:pt x="3042" y="495"/>
                </a:lnTo>
                <a:lnTo>
                  <a:pt x="3046" y="515"/>
                </a:lnTo>
                <a:lnTo>
                  <a:pt x="3053" y="553"/>
                </a:lnTo>
                <a:lnTo>
                  <a:pt x="3060" y="595"/>
                </a:lnTo>
                <a:lnTo>
                  <a:pt x="3060" y="509"/>
                </a:lnTo>
                <a:lnTo>
                  <a:pt x="3059" y="421"/>
                </a:lnTo>
                <a:lnTo>
                  <a:pt x="3059" y="18"/>
                </a:lnTo>
                <a:lnTo>
                  <a:pt x="3124" y="18"/>
                </a:lnTo>
                <a:lnTo>
                  <a:pt x="3124" y="788"/>
                </a:lnTo>
                <a:lnTo>
                  <a:pt x="3046" y="788"/>
                </a:lnTo>
                <a:lnTo>
                  <a:pt x="2954" y="369"/>
                </a:lnTo>
                <a:lnTo>
                  <a:pt x="2946" y="331"/>
                </a:lnTo>
                <a:lnTo>
                  <a:pt x="2938" y="293"/>
                </a:lnTo>
                <a:lnTo>
                  <a:pt x="2931" y="255"/>
                </a:lnTo>
                <a:lnTo>
                  <a:pt x="2923" y="214"/>
                </a:lnTo>
                <a:lnTo>
                  <a:pt x="2924" y="389"/>
                </a:lnTo>
                <a:lnTo>
                  <a:pt x="2924" y="790"/>
                </a:lnTo>
                <a:lnTo>
                  <a:pt x="2859" y="790"/>
                </a:lnTo>
                <a:lnTo>
                  <a:pt x="2859" y="18"/>
                </a:lnTo>
                <a:lnTo>
                  <a:pt x="2939" y="18"/>
                </a:lnTo>
                <a:close/>
                <a:moveTo>
                  <a:pt x="3306" y="18"/>
                </a:moveTo>
                <a:lnTo>
                  <a:pt x="3396" y="425"/>
                </a:lnTo>
                <a:lnTo>
                  <a:pt x="3404" y="463"/>
                </a:lnTo>
                <a:lnTo>
                  <a:pt x="3408" y="481"/>
                </a:lnTo>
                <a:lnTo>
                  <a:pt x="3412" y="501"/>
                </a:lnTo>
                <a:lnTo>
                  <a:pt x="3419" y="539"/>
                </a:lnTo>
                <a:lnTo>
                  <a:pt x="3426" y="581"/>
                </a:lnTo>
                <a:lnTo>
                  <a:pt x="3426" y="495"/>
                </a:lnTo>
                <a:lnTo>
                  <a:pt x="3426" y="407"/>
                </a:lnTo>
                <a:lnTo>
                  <a:pt x="3426" y="18"/>
                </a:lnTo>
                <a:lnTo>
                  <a:pt x="3491" y="18"/>
                </a:lnTo>
                <a:lnTo>
                  <a:pt x="3491" y="788"/>
                </a:lnTo>
                <a:lnTo>
                  <a:pt x="3412" y="788"/>
                </a:lnTo>
                <a:lnTo>
                  <a:pt x="3320" y="383"/>
                </a:lnTo>
                <a:lnTo>
                  <a:pt x="3312" y="345"/>
                </a:lnTo>
                <a:lnTo>
                  <a:pt x="3305" y="307"/>
                </a:lnTo>
                <a:lnTo>
                  <a:pt x="3297" y="269"/>
                </a:lnTo>
                <a:lnTo>
                  <a:pt x="3290" y="228"/>
                </a:lnTo>
                <a:lnTo>
                  <a:pt x="3290" y="403"/>
                </a:lnTo>
                <a:lnTo>
                  <a:pt x="3290" y="788"/>
                </a:lnTo>
                <a:lnTo>
                  <a:pt x="3226" y="788"/>
                </a:lnTo>
                <a:lnTo>
                  <a:pt x="3226" y="18"/>
                </a:lnTo>
                <a:lnTo>
                  <a:pt x="3306" y="18"/>
                </a:lnTo>
                <a:close/>
                <a:moveTo>
                  <a:pt x="3618" y="735"/>
                </a:moveTo>
                <a:lnTo>
                  <a:pt x="3611" y="719"/>
                </a:lnTo>
                <a:lnTo>
                  <a:pt x="3605" y="701"/>
                </a:lnTo>
                <a:lnTo>
                  <a:pt x="3599" y="681"/>
                </a:lnTo>
                <a:lnTo>
                  <a:pt x="3597" y="669"/>
                </a:lnTo>
                <a:lnTo>
                  <a:pt x="3595" y="659"/>
                </a:lnTo>
                <a:lnTo>
                  <a:pt x="3591" y="635"/>
                </a:lnTo>
                <a:lnTo>
                  <a:pt x="3589" y="609"/>
                </a:lnTo>
                <a:lnTo>
                  <a:pt x="3588" y="595"/>
                </a:lnTo>
                <a:lnTo>
                  <a:pt x="3587" y="581"/>
                </a:lnTo>
                <a:lnTo>
                  <a:pt x="3587" y="549"/>
                </a:lnTo>
                <a:lnTo>
                  <a:pt x="3587" y="18"/>
                </a:lnTo>
                <a:lnTo>
                  <a:pt x="3652" y="18"/>
                </a:lnTo>
                <a:lnTo>
                  <a:pt x="3652" y="543"/>
                </a:lnTo>
                <a:lnTo>
                  <a:pt x="3652" y="563"/>
                </a:lnTo>
                <a:lnTo>
                  <a:pt x="3652" y="581"/>
                </a:lnTo>
                <a:lnTo>
                  <a:pt x="3653" y="597"/>
                </a:lnTo>
                <a:lnTo>
                  <a:pt x="3655" y="611"/>
                </a:lnTo>
                <a:lnTo>
                  <a:pt x="3657" y="625"/>
                </a:lnTo>
                <a:lnTo>
                  <a:pt x="3659" y="637"/>
                </a:lnTo>
                <a:lnTo>
                  <a:pt x="3662" y="649"/>
                </a:lnTo>
                <a:lnTo>
                  <a:pt x="3665" y="659"/>
                </a:lnTo>
                <a:lnTo>
                  <a:pt x="3669" y="667"/>
                </a:lnTo>
                <a:lnTo>
                  <a:pt x="3674" y="675"/>
                </a:lnTo>
                <a:lnTo>
                  <a:pt x="3679" y="683"/>
                </a:lnTo>
                <a:lnTo>
                  <a:pt x="3685" y="689"/>
                </a:lnTo>
                <a:lnTo>
                  <a:pt x="3688" y="691"/>
                </a:lnTo>
                <a:lnTo>
                  <a:pt x="3692" y="693"/>
                </a:lnTo>
                <a:lnTo>
                  <a:pt x="3699" y="697"/>
                </a:lnTo>
                <a:lnTo>
                  <a:pt x="3706" y="699"/>
                </a:lnTo>
                <a:lnTo>
                  <a:pt x="3715" y="699"/>
                </a:lnTo>
                <a:lnTo>
                  <a:pt x="3723" y="699"/>
                </a:lnTo>
                <a:lnTo>
                  <a:pt x="3731" y="697"/>
                </a:lnTo>
                <a:lnTo>
                  <a:pt x="3738" y="693"/>
                </a:lnTo>
                <a:lnTo>
                  <a:pt x="3744" y="689"/>
                </a:lnTo>
                <a:lnTo>
                  <a:pt x="3750" y="683"/>
                </a:lnTo>
                <a:lnTo>
                  <a:pt x="3755" y="675"/>
                </a:lnTo>
                <a:lnTo>
                  <a:pt x="3760" y="667"/>
                </a:lnTo>
                <a:lnTo>
                  <a:pt x="3764" y="659"/>
                </a:lnTo>
                <a:lnTo>
                  <a:pt x="3768" y="649"/>
                </a:lnTo>
                <a:lnTo>
                  <a:pt x="3770" y="637"/>
                </a:lnTo>
                <a:lnTo>
                  <a:pt x="3773" y="625"/>
                </a:lnTo>
                <a:lnTo>
                  <a:pt x="3775" y="613"/>
                </a:lnTo>
                <a:lnTo>
                  <a:pt x="3776" y="597"/>
                </a:lnTo>
                <a:lnTo>
                  <a:pt x="3777" y="581"/>
                </a:lnTo>
                <a:lnTo>
                  <a:pt x="3778" y="563"/>
                </a:lnTo>
                <a:lnTo>
                  <a:pt x="3778" y="543"/>
                </a:lnTo>
                <a:lnTo>
                  <a:pt x="3778" y="18"/>
                </a:lnTo>
                <a:lnTo>
                  <a:pt x="3843" y="18"/>
                </a:lnTo>
                <a:lnTo>
                  <a:pt x="3843" y="549"/>
                </a:lnTo>
                <a:lnTo>
                  <a:pt x="3843" y="581"/>
                </a:lnTo>
                <a:lnTo>
                  <a:pt x="3842" y="595"/>
                </a:lnTo>
                <a:lnTo>
                  <a:pt x="3841" y="609"/>
                </a:lnTo>
                <a:lnTo>
                  <a:pt x="3838" y="635"/>
                </a:lnTo>
                <a:lnTo>
                  <a:pt x="3835" y="659"/>
                </a:lnTo>
                <a:lnTo>
                  <a:pt x="3833" y="669"/>
                </a:lnTo>
                <a:lnTo>
                  <a:pt x="3830" y="681"/>
                </a:lnTo>
                <a:lnTo>
                  <a:pt x="3825" y="701"/>
                </a:lnTo>
                <a:lnTo>
                  <a:pt x="3822" y="709"/>
                </a:lnTo>
                <a:lnTo>
                  <a:pt x="3819" y="719"/>
                </a:lnTo>
                <a:lnTo>
                  <a:pt x="3815" y="727"/>
                </a:lnTo>
                <a:lnTo>
                  <a:pt x="3812" y="735"/>
                </a:lnTo>
                <a:lnTo>
                  <a:pt x="3807" y="744"/>
                </a:lnTo>
                <a:lnTo>
                  <a:pt x="3802" y="752"/>
                </a:lnTo>
                <a:lnTo>
                  <a:pt x="3792" y="766"/>
                </a:lnTo>
                <a:lnTo>
                  <a:pt x="3781" y="778"/>
                </a:lnTo>
                <a:lnTo>
                  <a:pt x="3775" y="784"/>
                </a:lnTo>
                <a:lnTo>
                  <a:pt x="3769" y="788"/>
                </a:lnTo>
                <a:lnTo>
                  <a:pt x="3757" y="796"/>
                </a:lnTo>
                <a:lnTo>
                  <a:pt x="3750" y="800"/>
                </a:lnTo>
                <a:lnTo>
                  <a:pt x="3743" y="802"/>
                </a:lnTo>
                <a:lnTo>
                  <a:pt x="3729" y="806"/>
                </a:lnTo>
                <a:lnTo>
                  <a:pt x="3722" y="806"/>
                </a:lnTo>
                <a:lnTo>
                  <a:pt x="3715" y="806"/>
                </a:lnTo>
                <a:lnTo>
                  <a:pt x="3700" y="806"/>
                </a:lnTo>
                <a:lnTo>
                  <a:pt x="3686" y="802"/>
                </a:lnTo>
                <a:lnTo>
                  <a:pt x="3679" y="800"/>
                </a:lnTo>
                <a:lnTo>
                  <a:pt x="3673" y="796"/>
                </a:lnTo>
                <a:lnTo>
                  <a:pt x="3660" y="788"/>
                </a:lnTo>
                <a:lnTo>
                  <a:pt x="3648" y="778"/>
                </a:lnTo>
                <a:lnTo>
                  <a:pt x="3637" y="766"/>
                </a:lnTo>
                <a:lnTo>
                  <a:pt x="3627" y="750"/>
                </a:lnTo>
                <a:lnTo>
                  <a:pt x="3623" y="742"/>
                </a:lnTo>
                <a:lnTo>
                  <a:pt x="3618" y="735"/>
                </a:lnTo>
                <a:close/>
                <a:moveTo>
                  <a:pt x="4052" y="806"/>
                </a:moveTo>
                <a:lnTo>
                  <a:pt x="4036" y="806"/>
                </a:lnTo>
                <a:lnTo>
                  <a:pt x="4020" y="802"/>
                </a:lnTo>
                <a:lnTo>
                  <a:pt x="4006" y="796"/>
                </a:lnTo>
                <a:lnTo>
                  <a:pt x="4000" y="792"/>
                </a:lnTo>
                <a:lnTo>
                  <a:pt x="3993" y="788"/>
                </a:lnTo>
                <a:lnTo>
                  <a:pt x="3981" y="780"/>
                </a:lnTo>
                <a:lnTo>
                  <a:pt x="3975" y="774"/>
                </a:lnTo>
                <a:lnTo>
                  <a:pt x="3970" y="768"/>
                </a:lnTo>
                <a:lnTo>
                  <a:pt x="3960" y="756"/>
                </a:lnTo>
                <a:lnTo>
                  <a:pt x="3956" y="748"/>
                </a:lnTo>
                <a:lnTo>
                  <a:pt x="3951" y="740"/>
                </a:lnTo>
                <a:lnTo>
                  <a:pt x="3947" y="733"/>
                </a:lnTo>
                <a:lnTo>
                  <a:pt x="3943" y="725"/>
                </a:lnTo>
                <a:lnTo>
                  <a:pt x="3939" y="717"/>
                </a:lnTo>
                <a:lnTo>
                  <a:pt x="3936" y="707"/>
                </a:lnTo>
                <a:lnTo>
                  <a:pt x="3930" y="687"/>
                </a:lnTo>
                <a:lnTo>
                  <a:pt x="3926" y="667"/>
                </a:lnTo>
                <a:lnTo>
                  <a:pt x="3924" y="657"/>
                </a:lnTo>
                <a:lnTo>
                  <a:pt x="3922" y="645"/>
                </a:lnTo>
                <a:lnTo>
                  <a:pt x="3919" y="623"/>
                </a:lnTo>
                <a:lnTo>
                  <a:pt x="3918" y="599"/>
                </a:lnTo>
                <a:lnTo>
                  <a:pt x="3917" y="585"/>
                </a:lnTo>
                <a:lnTo>
                  <a:pt x="3917" y="573"/>
                </a:lnTo>
                <a:lnTo>
                  <a:pt x="3980" y="545"/>
                </a:lnTo>
                <a:lnTo>
                  <a:pt x="3981" y="567"/>
                </a:lnTo>
                <a:lnTo>
                  <a:pt x="3982" y="587"/>
                </a:lnTo>
                <a:lnTo>
                  <a:pt x="3984" y="603"/>
                </a:lnTo>
                <a:lnTo>
                  <a:pt x="3986" y="619"/>
                </a:lnTo>
                <a:lnTo>
                  <a:pt x="3988" y="627"/>
                </a:lnTo>
                <a:lnTo>
                  <a:pt x="3989" y="635"/>
                </a:lnTo>
                <a:lnTo>
                  <a:pt x="3993" y="647"/>
                </a:lnTo>
                <a:lnTo>
                  <a:pt x="3997" y="659"/>
                </a:lnTo>
                <a:lnTo>
                  <a:pt x="4001" y="667"/>
                </a:lnTo>
                <a:lnTo>
                  <a:pt x="4006" y="677"/>
                </a:lnTo>
                <a:lnTo>
                  <a:pt x="4012" y="683"/>
                </a:lnTo>
                <a:lnTo>
                  <a:pt x="4018" y="689"/>
                </a:lnTo>
                <a:lnTo>
                  <a:pt x="4025" y="693"/>
                </a:lnTo>
                <a:lnTo>
                  <a:pt x="4032" y="697"/>
                </a:lnTo>
                <a:lnTo>
                  <a:pt x="4039" y="699"/>
                </a:lnTo>
                <a:lnTo>
                  <a:pt x="4047" y="701"/>
                </a:lnTo>
                <a:lnTo>
                  <a:pt x="4056" y="701"/>
                </a:lnTo>
                <a:lnTo>
                  <a:pt x="4063" y="701"/>
                </a:lnTo>
                <a:lnTo>
                  <a:pt x="4070" y="699"/>
                </a:lnTo>
                <a:lnTo>
                  <a:pt x="4077" y="697"/>
                </a:lnTo>
                <a:lnTo>
                  <a:pt x="4083" y="695"/>
                </a:lnTo>
                <a:lnTo>
                  <a:pt x="4089" y="691"/>
                </a:lnTo>
                <a:lnTo>
                  <a:pt x="4095" y="685"/>
                </a:lnTo>
                <a:lnTo>
                  <a:pt x="4100" y="679"/>
                </a:lnTo>
                <a:lnTo>
                  <a:pt x="4105" y="673"/>
                </a:lnTo>
                <a:lnTo>
                  <a:pt x="4109" y="665"/>
                </a:lnTo>
                <a:lnTo>
                  <a:pt x="4113" y="657"/>
                </a:lnTo>
                <a:lnTo>
                  <a:pt x="4116" y="649"/>
                </a:lnTo>
                <a:lnTo>
                  <a:pt x="4119" y="639"/>
                </a:lnTo>
                <a:lnTo>
                  <a:pt x="4121" y="627"/>
                </a:lnTo>
                <a:lnTo>
                  <a:pt x="4122" y="623"/>
                </a:lnTo>
                <a:lnTo>
                  <a:pt x="4123" y="617"/>
                </a:lnTo>
                <a:lnTo>
                  <a:pt x="4124" y="605"/>
                </a:lnTo>
                <a:lnTo>
                  <a:pt x="4124" y="591"/>
                </a:lnTo>
                <a:lnTo>
                  <a:pt x="4124" y="581"/>
                </a:lnTo>
                <a:lnTo>
                  <a:pt x="4123" y="571"/>
                </a:lnTo>
                <a:lnTo>
                  <a:pt x="4122" y="563"/>
                </a:lnTo>
                <a:lnTo>
                  <a:pt x="4121" y="553"/>
                </a:lnTo>
                <a:lnTo>
                  <a:pt x="4119" y="545"/>
                </a:lnTo>
                <a:lnTo>
                  <a:pt x="4117" y="537"/>
                </a:lnTo>
                <a:lnTo>
                  <a:pt x="4115" y="529"/>
                </a:lnTo>
                <a:lnTo>
                  <a:pt x="4112" y="521"/>
                </a:lnTo>
                <a:lnTo>
                  <a:pt x="4104" y="505"/>
                </a:lnTo>
                <a:lnTo>
                  <a:pt x="4100" y="497"/>
                </a:lnTo>
                <a:lnTo>
                  <a:pt x="4095" y="491"/>
                </a:lnTo>
                <a:lnTo>
                  <a:pt x="4084" y="477"/>
                </a:lnTo>
                <a:lnTo>
                  <a:pt x="4071" y="465"/>
                </a:lnTo>
                <a:lnTo>
                  <a:pt x="4007" y="407"/>
                </a:lnTo>
                <a:lnTo>
                  <a:pt x="3998" y="399"/>
                </a:lnTo>
                <a:lnTo>
                  <a:pt x="3988" y="389"/>
                </a:lnTo>
                <a:lnTo>
                  <a:pt x="3972" y="369"/>
                </a:lnTo>
                <a:lnTo>
                  <a:pt x="3958" y="349"/>
                </a:lnTo>
                <a:lnTo>
                  <a:pt x="3953" y="337"/>
                </a:lnTo>
                <a:lnTo>
                  <a:pt x="3947" y="325"/>
                </a:lnTo>
                <a:lnTo>
                  <a:pt x="3942" y="313"/>
                </a:lnTo>
                <a:lnTo>
                  <a:pt x="3937" y="299"/>
                </a:lnTo>
                <a:lnTo>
                  <a:pt x="3934" y="285"/>
                </a:lnTo>
                <a:lnTo>
                  <a:pt x="3931" y="269"/>
                </a:lnTo>
                <a:lnTo>
                  <a:pt x="3929" y="253"/>
                </a:lnTo>
                <a:lnTo>
                  <a:pt x="3928" y="246"/>
                </a:lnTo>
                <a:lnTo>
                  <a:pt x="3927" y="238"/>
                </a:lnTo>
                <a:lnTo>
                  <a:pt x="3927" y="220"/>
                </a:lnTo>
                <a:lnTo>
                  <a:pt x="3926" y="200"/>
                </a:lnTo>
                <a:lnTo>
                  <a:pt x="3926" y="188"/>
                </a:lnTo>
                <a:lnTo>
                  <a:pt x="3927" y="176"/>
                </a:lnTo>
                <a:lnTo>
                  <a:pt x="3928" y="164"/>
                </a:lnTo>
                <a:lnTo>
                  <a:pt x="3929" y="152"/>
                </a:lnTo>
                <a:lnTo>
                  <a:pt x="3930" y="142"/>
                </a:lnTo>
                <a:lnTo>
                  <a:pt x="3932" y="132"/>
                </a:lnTo>
                <a:lnTo>
                  <a:pt x="3936" y="112"/>
                </a:lnTo>
                <a:lnTo>
                  <a:pt x="3939" y="102"/>
                </a:lnTo>
                <a:lnTo>
                  <a:pt x="3942" y="94"/>
                </a:lnTo>
                <a:lnTo>
                  <a:pt x="3949" y="78"/>
                </a:lnTo>
                <a:lnTo>
                  <a:pt x="3957" y="62"/>
                </a:lnTo>
                <a:lnTo>
                  <a:pt x="3961" y="56"/>
                </a:lnTo>
                <a:lnTo>
                  <a:pt x="3965" y="50"/>
                </a:lnTo>
                <a:lnTo>
                  <a:pt x="3974" y="38"/>
                </a:lnTo>
                <a:lnTo>
                  <a:pt x="3984" y="28"/>
                </a:lnTo>
                <a:lnTo>
                  <a:pt x="3994" y="20"/>
                </a:lnTo>
                <a:lnTo>
                  <a:pt x="4005" y="12"/>
                </a:lnTo>
                <a:lnTo>
                  <a:pt x="4017" y="6"/>
                </a:lnTo>
                <a:lnTo>
                  <a:pt x="4029" y="4"/>
                </a:lnTo>
                <a:lnTo>
                  <a:pt x="4042" y="0"/>
                </a:lnTo>
                <a:lnTo>
                  <a:pt x="4055" y="0"/>
                </a:lnTo>
                <a:lnTo>
                  <a:pt x="4070" y="2"/>
                </a:lnTo>
                <a:lnTo>
                  <a:pt x="4085" y="4"/>
                </a:lnTo>
                <a:lnTo>
                  <a:pt x="4098" y="10"/>
                </a:lnTo>
                <a:lnTo>
                  <a:pt x="4104" y="14"/>
                </a:lnTo>
                <a:lnTo>
                  <a:pt x="4110" y="18"/>
                </a:lnTo>
                <a:lnTo>
                  <a:pt x="4122" y="26"/>
                </a:lnTo>
                <a:lnTo>
                  <a:pt x="4132" y="38"/>
                </a:lnTo>
                <a:lnTo>
                  <a:pt x="4141" y="50"/>
                </a:lnTo>
                <a:lnTo>
                  <a:pt x="4149" y="64"/>
                </a:lnTo>
                <a:lnTo>
                  <a:pt x="4153" y="72"/>
                </a:lnTo>
                <a:lnTo>
                  <a:pt x="4156" y="78"/>
                </a:lnTo>
                <a:lnTo>
                  <a:pt x="4159" y="86"/>
                </a:lnTo>
                <a:lnTo>
                  <a:pt x="4162" y="94"/>
                </a:lnTo>
                <a:lnTo>
                  <a:pt x="4167" y="112"/>
                </a:lnTo>
                <a:lnTo>
                  <a:pt x="4172" y="128"/>
                </a:lnTo>
                <a:lnTo>
                  <a:pt x="4175" y="146"/>
                </a:lnTo>
                <a:lnTo>
                  <a:pt x="4177" y="166"/>
                </a:lnTo>
                <a:lnTo>
                  <a:pt x="4179" y="184"/>
                </a:lnTo>
                <a:lnTo>
                  <a:pt x="4179" y="202"/>
                </a:lnTo>
                <a:lnTo>
                  <a:pt x="4117" y="228"/>
                </a:lnTo>
                <a:lnTo>
                  <a:pt x="4117" y="212"/>
                </a:lnTo>
                <a:lnTo>
                  <a:pt x="4115" y="198"/>
                </a:lnTo>
                <a:lnTo>
                  <a:pt x="4114" y="186"/>
                </a:lnTo>
                <a:lnTo>
                  <a:pt x="4112" y="172"/>
                </a:lnTo>
                <a:lnTo>
                  <a:pt x="4109" y="162"/>
                </a:lnTo>
                <a:lnTo>
                  <a:pt x="4106" y="152"/>
                </a:lnTo>
                <a:lnTo>
                  <a:pt x="4103" y="142"/>
                </a:lnTo>
                <a:lnTo>
                  <a:pt x="4099" y="136"/>
                </a:lnTo>
                <a:lnTo>
                  <a:pt x="4095" y="128"/>
                </a:lnTo>
                <a:lnTo>
                  <a:pt x="4090" y="122"/>
                </a:lnTo>
                <a:lnTo>
                  <a:pt x="4085" y="118"/>
                </a:lnTo>
                <a:lnTo>
                  <a:pt x="4079" y="114"/>
                </a:lnTo>
                <a:lnTo>
                  <a:pt x="4073" y="110"/>
                </a:lnTo>
                <a:lnTo>
                  <a:pt x="4067" y="108"/>
                </a:lnTo>
                <a:lnTo>
                  <a:pt x="4060" y="108"/>
                </a:lnTo>
                <a:lnTo>
                  <a:pt x="4052" y="106"/>
                </a:lnTo>
                <a:lnTo>
                  <a:pt x="4040" y="108"/>
                </a:lnTo>
                <a:lnTo>
                  <a:pt x="4028" y="112"/>
                </a:lnTo>
                <a:lnTo>
                  <a:pt x="4023" y="116"/>
                </a:lnTo>
                <a:lnTo>
                  <a:pt x="4018" y="120"/>
                </a:lnTo>
                <a:lnTo>
                  <a:pt x="4013" y="124"/>
                </a:lnTo>
                <a:lnTo>
                  <a:pt x="4009" y="128"/>
                </a:lnTo>
                <a:lnTo>
                  <a:pt x="4005" y="134"/>
                </a:lnTo>
                <a:lnTo>
                  <a:pt x="4002" y="140"/>
                </a:lnTo>
                <a:lnTo>
                  <a:pt x="3999" y="148"/>
                </a:lnTo>
                <a:lnTo>
                  <a:pt x="3996" y="156"/>
                </a:lnTo>
                <a:lnTo>
                  <a:pt x="3994" y="164"/>
                </a:lnTo>
                <a:lnTo>
                  <a:pt x="3993" y="174"/>
                </a:lnTo>
                <a:lnTo>
                  <a:pt x="3992" y="184"/>
                </a:lnTo>
                <a:lnTo>
                  <a:pt x="3992" y="194"/>
                </a:lnTo>
                <a:lnTo>
                  <a:pt x="3992" y="204"/>
                </a:lnTo>
                <a:lnTo>
                  <a:pt x="3992" y="214"/>
                </a:lnTo>
                <a:lnTo>
                  <a:pt x="3993" y="224"/>
                </a:lnTo>
                <a:lnTo>
                  <a:pt x="3994" y="232"/>
                </a:lnTo>
                <a:lnTo>
                  <a:pt x="3996" y="240"/>
                </a:lnTo>
                <a:lnTo>
                  <a:pt x="3998" y="248"/>
                </a:lnTo>
                <a:lnTo>
                  <a:pt x="4001" y="255"/>
                </a:lnTo>
                <a:lnTo>
                  <a:pt x="4003" y="261"/>
                </a:lnTo>
                <a:lnTo>
                  <a:pt x="4007" y="267"/>
                </a:lnTo>
                <a:lnTo>
                  <a:pt x="4010" y="273"/>
                </a:lnTo>
                <a:lnTo>
                  <a:pt x="4019" y="285"/>
                </a:lnTo>
                <a:lnTo>
                  <a:pt x="4029" y="297"/>
                </a:lnTo>
                <a:lnTo>
                  <a:pt x="4041" y="309"/>
                </a:lnTo>
                <a:lnTo>
                  <a:pt x="4103" y="363"/>
                </a:lnTo>
                <a:lnTo>
                  <a:pt x="4113" y="373"/>
                </a:lnTo>
                <a:lnTo>
                  <a:pt x="4123" y="383"/>
                </a:lnTo>
                <a:lnTo>
                  <a:pt x="4133" y="393"/>
                </a:lnTo>
                <a:lnTo>
                  <a:pt x="4141" y="405"/>
                </a:lnTo>
                <a:lnTo>
                  <a:pt x="4149" y="417"/>
                </a:lnTo>
                <a:lnTo>
                  <a:pt x="4156" y="427"/>
                </a:lnTo>
                <a:lnTo>
                  <a:pt x="4162" y="441"/>
                </a:lnTo>
                <a:lnTo>
                  <a:pt x="4168" y="453"/>
                </a:lnTo>
                <a:lnTo>
                  <a:pt x="4173" y="467"/>
                </a:lnTo>
                <a:lnTo>
                  <a:pt x="4177" y="481"/>
                </a:lnTo>
                <a:lnTo>
                  <a:pt x="4181" y="495"/>
                </a:lnTo>
                <a:lnTo>
                  <a:pt x="4184" y="511"/>
                </a:lnTo>
                <a:lnTo>
                  <a:pt x="4186" y="527"/>
                </a:lnTo>
                <a:lnTo>
                  <a:pt x="4187" y="537"/>
                </a:lnTo>
                <a:lnTo>
                  <a:pt x="4187" y="545"/>
                </a:lnTo>
                <a:lnTo>
                  <a:pt x="4188" y="563"/>
                </a:lnTo>
                <a:lnTo>
                  <a:pt x="4189" y="583"/>
                </a:lnTo>
                <a:lnTo>
                  <a:pt x="4188" y="609"/>
                </a:lnTo>
                <a:lnTo>
                  <a:pt x="4186" y="633"/>
                </a:lnTo>
                <a:lnTo>
                  <a:pt x="4185" y="645"/>
                </a:lnTo>
                <a:lnTo>
                  <a:pt x="4183" y="655"/>
                </a:lnTo>
                <a:lnTo>
                  <a:pt x="4181" y="667"/>
                </a:lnTo>
                <a:lnTo>
                  <a:pt x="4179" y="677"/>
                </a:lnTo>
                <a:lnTo>
                  <a:pt x="4177" y="687"/>
                </a:lnTo>
                <a:lnTo>
                  <a:pt x="4174" y="697"/>
                </a:lnTo>
                <a:lnTo>
                  <a:pt x="4167" y="715"/>
                </a:lnTo>
                <a:lnTo>
                  <a:pt x="4164" y="723"/>
                </a:lnTo>
                <a:lnTo>
                  <a:pt x="4160" y="733"/>
                </a:lnTo>
                <a:lnTo>
                  <a:pt x="4152" y="746"/>
                </a:lnTo>
                <a:lnTo>
                  <a:pt x="4147" y="754"/>
                </a:lnTo>
                <a:lnTo>
                  <a:pt x="4142" y="760"/>
                </a:lnTo>
                <a:lnTo>
                  <a:pt x="4137" y="766"/>
                </a:lnTo>
                <a:lnTo>
                  <a:pt x="4132" y="772"/>
                </a:lnTo>
                <a:lnTo>
                  <a:pt x="4121" y="782"/>
                </a:lnTo>
                <a:lnTo>
                  <a:pt x="4109" y="790"/>
                </a:lnTo>
                <a:lnTo>
                  <a:pt x="4096" y="798"/>
                </a:lnTo>
                <a:lnTo>
                  <a:pt x="4082" y="802"/>
                </a:lnTo>
                <a:lnTo>
                  <a:pt x="4075" y="804"/>
                </a:lnTo>
                <a:lnTo>
                  <a:pt x="4068" y="804"/>
                </a:lnTo>
                <a:lnTo>
                  <a:pt x="4052" y="806"/>
                </a:lnTo>
                <a:close/>
                <a:moveTo>
                  <a:pt x="1669" y="1273"/>
                </a:moveTo>
                <a:lnTo>
                  <a:pt x="1669" y="1936"/>
                </a:lnTo>
                <a:lnTo>
                  <a:pt x="1604" y="1936"/>
                </a:lnTo>
                <a:lnTo>
                  <a:pt x="1604" y="1273"/>
                </a:lnTo>
                <a:lnTo>
                  <a:pt x="1506" y="1273"/>
                </a:lnTo>
                <a:lnTo>
                  <a:pt x="1506" y="1166"/>
                </a:lnTo>
                <a:lnTo>
                  <a:pt x="1767" y="1166"/>
                </a:lnTo>
                <a:lnTo>
                  <a:pt x="1767" y="1273"/>
                </a:lnTo>
                <a:lnTo>
                  <a:pt x="1669" y="1273"/>
                </a:lnTo>
                <a:close/>
                <a:moveTo>
                  <a:pt x="1832" y="1936"/>
                </a:moveTo>
                <a:lnTo>
                  <a:pt x="1832" y="1166"/>
                </a:lnTo>
                <a:lnTo>
                  <a:pt x="2060" y="1166"/>
                </a:lnTo>
                <a:lnTo>
                  <a:pt x="2060" y="1273"/>
                </a:lnTo>
                <a:lnTo>
                  <a:pt x="1897" y="1273"/>
                </a:lnTo>
                <a:lnTo>
                  <a:pt x="1897" y="1489"/>
                </a:lnTo>
                <a:lnTo>
                  <a:pt x="2030" y="1489"/>
                </a:lnTo>
                <a:lnTo>
                  <a:pt x="2030" y="1593"/>
                </a:lnTo>
                <a:lnTo>
                  <a:pt x="1897" y="1593"/>
                </a:lnTo>
                <a:lnTo>
                  <a:pt x="1897" y="1828"/>
                </a:lnTo>
                <a:lnTo>
                  <a:pt x="2060" y="1828"/>
                </a:lnTo>
                <a:lnTo>
                  <a:pt x="2060" y="1936"/>
                </a:lnTo>
                <a:lnTo>
                  <a:pt x="1832" y="1936"/>
                </a:lnTo>
                <a:close/>
                <a:moveTo>
                  <a:pt x="2260" y="1954"/>
                </a:moveTo>
                <a:lnTo>
                  <a:pt x="2251" y="1954"/>
                </a:lnTo>
                <a:lnTo>
                  <a:pt x="2242" y="1952"/>
                </a:lnTo>
                <a:lnTo>
                  <a:pt x="2234" y="1950"/>
                </a:lnTo>
                <a:lnTo>
                  <a:pt x="2226" y="1948"/>
                </a:lnTo>
                <a:lnTo>
                  <a:pt x="2218" y="1944"/>
                </a:lnTo>
                <a:lnTo>
                  <a:pt x="2211" y="1938"/>
                </a:lnTo>
                <a:lnTo>
                  <a:pt x="2204" y="1932"/>
                </a:lnTo>
                <a:lnTo>
                  <a:pt x="2197" y="1926"/>
                </a:lnTo>
                <a:lnTo>
                  <a:pt x="2190" y="1920"/>
                </a:lnTo>
                <a:lnTo>
                  <a:pt x="2184" y="1912"/>
                </a:lnTo>
                <a:lnTo>
                  <a:pt x="2178" y="1902"/>
                </a:lnTo>
                <a:lnTo>
                  <a:pt x="2172" y="1892"/>
                </a:lnTo>
                <a:lnTo>
                  <a:pt x="2166" y="1882"/>
                </a:lnTo>
                <a:lnTo>
                  <a:pt x="2161" y="1872"/>
                </a:lnTo>
                <a:lnTo>
                  <a:pt x="2156" y="1860"/>
                </a:lnTo>
                <a:lnTo>
                  <a:pt x="2151" y="1846"/>
                </a:lnTo>
                <a:lnTo>
                  <a:pt x="2147" y="1834"/>
                </a:lnTo>
                <a:lnTo>
                  <a:pt x="2143" y="1820"/>
                </a:lnTo>
                <a:lnTo>
                  <a:pt x="2139" y="1804"/>
                </a:lnTo>
                <a:lnTo>
                  <a:pt x="2135" y="1788"/>
                </a:lnTo>
                <a:lnTo>
                  <a:pt x="2132" y="1772"/>
                </a:lnTo>
                <a:lnTo>
                  <a:pt x="2129" y="1756"/>
                </a:lnTo>
                <a:lnTo>
                  <a:pt x="2126" y="1738"/>
                </a:lnTo>
                <a:lnTo>
                  <a:pt x="2124" y="1720"/>
                </a:lnTo>
                <a:lnTo>
                  <a:pt x="2121" y="1701"/>
                </a:lnTo>
                <a:lnTo>
                  <a:pt x="2120" y="1681"/>
                </a:lnTo>
                <a:lnTo>
                  <a:pt x="2118" y="1661"/>
                </a:lnTo>
                <a:lnTo>
                  <a:pt x="2117" y="1641"/>
                </a:lnTo>
                <a:lnTo>
                  <a:pt x="2115" y="1597"/>
                </a:lnTo>
                <a:lnTo>
                  <a:pt x="2114" y="1575"/>
                </a:lnTo>
                <a:lnTo>
                  <a:pt x="2114" y="1551"/>
                </a:lnTo>
                <a:lnTo>
                  <a:pt x="2115" y="1505"/>
                </a:lnTo>
                <a:lnTo>
                  <a:pt x="2117" y="1461"/>
                </a:lnTo>
                <a:lnTo>
                  <a:pt x="2118" y="1441"/>
                </a:lnTo>
                <a:lnTo>
                  <a:pt x="2120" y="1421"/>
                </a:lnTo>
                <a:lnTo>
                  <a:pt x="2124" y="1383"/>
                </a:lnTo>
                <a:lnTo>
                  <a:pt x="2126" y="1363"/>
                </a:lnTo>
                <a:lnTo>
                  <a:pt x="2129" y="1347"/>
                </a:lnTo>
                <a:lnTo>
                  <a:pt x="2135" y="1313"/>
                </a:lnTo>
                <a:lnTo>
                  <a:pt x="2139" y="1297"/>
                </a:lnTo>
                <a:lnTo>
                  <a:pt x="2143" y="1283"/>
                </a:lnTo>
                <a:lnTo>
                  <a:pt x="2147" y="1269"/>
                </a:lnTo>
                <a:lnTo>
                  <a:pt x="2151" y="1255"/>
                </a:lnTo>
                <a:lnTo>
                  <a:pt x="2156" y="1243"/>
                </a:lnTo>
                <a:lnTo>
                  <a:pt x="2161" y="1231"/>
                </a:lnTo>
                <a:lnTo>
                  <a:pt x="2166" y="1220"/>
                </a:lnTo>
                <a:lnTo>
                  <a:pt x="2172" y="1210"/>
                </a:lnTo>
                <a:lnTo>
                  <a:pt x="2178" y="1200"/>
                </a:lnTo>
                <a:lnTo>
                  <a:pt x="2184" y="1192"/>
                </a:lnTo>
                <a:lnTo>
                  <a:pt x="2197" y="1176"/>
                </a:lnTo>
                <a:lnTo>
                  <a:pt x="2204" y="1170"/>
                </a:lnTo>
                <a:lnTo>
                  <a:pt x="2211" y="1164"/>
                </a:lnTo>
                <a:lnTo>
                  <a:pt x="2218" y="1160"/>
                </a:lnTo>
                <a:lnTo>
                  <a:pt x="2226" y="1156"/>
                </a:lnTo>
                <a:lnTo>
                  <a:pt x="2234" y="1152"/>
                </a:lnTo>
                <a:lnTo>
                  <a:pt x="2242" y="1150"/>
                </a:lnTo>
                <a:lnTo>
                  <a:pt x="2251" y="1148"/>
                </a:lnTo>
                <a:lnTo>
                  <a:pt x="2260" y="1148"/>
                </a:lnTo>
                <a:lnTo>
                  <a:pt x="2268" y="1148"/>
                </a:lnTo>
                <a:lnTo>
                  <a:pt x="2277" y="1150"/>
                </a:lnTo>
                <a:lnTo>
                  <a:pt x="2285" y="1152"/>
                </a:lnTo>
                <a:lnTo>
                  <a:pt x="2293" y="1156"/>
                </a:lnTo>
                <a:lnTo>
                  <a:pt x="2301" y="1160"/>
                </a:lnTo>
                <a:lnTo>
                  <a:pt x="2308" y="1164"/>
                </a:lnTo>
                <a:lnTo>
                  <a:pt x="2316" y="1170"/>
                </a:lnTo>
                <a:lnTo>
                  <a:pt x="2323" y="1176"/>
                </a:lnTo>
                <a:lnTo>
                  <a:pt x="2329" y="1184"/>
                </a:lnTo>
                <a:lnTo>
                  <a:pt x="2336" y="1192"/>
                </a:lnTo>
                <a:lnTo>
                  <a:pt x="2342" y="1200"/>
                </a:lnTo>
                <a:lnTo>
                  <a:pt x="2348" y="1210"/>
                </a:lnTo>
                <a:lnTo>
                  <a:pt x="2353" y="1220"/>
                </a:lnTo>
                <a:lnTo>
                  <a:pt x="2359" y="1229"/>
                </a:lnTo>
                <a:lnTo>
                  <a:pt x="2364" y="1241"/>
                </a:lnTo>
                <a:lnTo>
                  <a:pt x="2368" y="1255"/>
                </a:lnTo>
                <a:lnTo>
                  <a:pt x="2377" y="1283"/>
                </a:lnTo>
                <a:lnTo>
                  <a:pt x="2381" y="1297"/>
                </a:lnTo>
                <a:lnTo>
                  <a:pt x="2385" y="1313"/>
                </a:lnTo>
                <a:lnTo>
                  <a:pt x="2391" y="1345"/>
                </a:lnTo>
                <a:lnTo>
                  <a:pt x="2394" y="1363"/>
                </a:lnTo>
                <a:lnTo>
                  <a:pt x="2396" y="1381"/>
                </a:lnTo>
                <a:lnTo>
                  <a:pt x="2398" y="1401"/>
                </a:lnTo>
                <a:lnTo>
                  <a:pt x="2400" y="1421"/>
                </a:lnTo>
                <a:lnTo>
                  <a:pt x="2402" y="1441"/>
                </a:lnTo>
                <a:lnTo>
                  <a:pt x="2403" y="1461"/>
                </a:lnTo>
                <a:lnTo>
                  <a:pt x="2404" y="1483"/>
                </a:lnTo>
                <a:lnTo>
                  <a:pt x="2405" y="1505"/>
                </a:lnTo>
                <a:lnTo>
                  <a:pt x="2405" y="1527"/>
                </a:lnTo>
                <a:lnTo>
                  <a:pt x="2406" y="1551"/>
                </a:lnTo>
                <a:lnTo>
                  <a:pt x="2405" y="1597"/>
                </a:lnTo>
                <a:lnTo>
                  <a:pt x="2403" y="1641"/>
                </a:lnTo>
                <a:lnTo>
                  <a:pt x="2402" y="1663"/>
                </a:lnTo>
                <a:lnTo>
                  <a:pt x="2400" y="1683"/>
                </a:lnTo>
                <a:lnTo>
                  <a:pt x="2396" y="1720"/>
                </a:lnTo>
                <a:lnTo>
                  <a:pt x="2394" y="1738"/>
                </a:lnTo>
                <a:lnTo>
                  <a:pt x="2391" y="1756"/>
                </a:lnTo>
                <a:lnTo>
                  <a:pt x="2388" y="1772"/>
                </a:lnTo>
                <a:lnTo>
                  <a:pt x="2385" y="1790"/>
                </a:lnTo>
                <a:lnTo>
                  <a:pt x="2381" y="1804"/>
                </a:lnTo>
                <a:lnTo>
                  <a:pt x="2377" y="1820"/>
                </a:lnTo>
                <a:lnTo>
                  <a:pt x="2373" y="1834"/>
                </a:lnTo>
                <a:lnTo>
                  <a:pt x="2368" y="1846"/>
                </a:lnTo>
                <a:lnTo>
                  <a:pt x="2364" y="1860"/>
                </a:lnTo>
                <a:lnTo>
                  <a:pt x="2359" y="1872"/>
                </a:lnTo>
                <a:lnTo>
                  <a:pt x="2353" y="1882"/>
                </a:lnTo>
                <a:lnTo>
                  <a:pt x="2348" y="1894"/>
                </a:lnTo>
                <a:lnTo>
                  <a:pt x="2342" y="1902"/>
                </a:lnTo>
                <a:lnTo>
                  <a:pt x="2336" y="1912"/>
                </a:lnTo>
                <a:lnTo>
                  <a:pt x="2329" y="1920"/>
                </a:lnTo>
                <a:lnTo>
                  <a:pt x="2323" y="1926"/>
                </a:lnTo>
                <a:lnTo>
                  <a:pt x="2316" y="1934"/>
                </a:lnTo>
                <a:lnTo>
                  <a:pt x="2308" y="1938"/>
                </a:lnTo>
                <a:lnTo>
                  <a:pt x="2301" y="1944"/>
                </a:lnTo>
                <a:lnTo>
                  <a:pt x="2293" y="1948"/>
                </a:lnTo>
                <a:lnTo>
                  <a:pt x="2285" y="1950"/>
                </a:lnTo>
                <a:lnTo>
                  <a:pt x="2277" y="1952"/>
                </a:lnTo>
                <a:lnTo>
                  <a:pt x="2268" y="1954"/>
                </a:lnTo>
                <a:lnTo>
                  <a:pt x="2260" y="1954"/>
                </a:lnTo>
                <a:close/>
                <a:moveTo>
                  <a:pt x="2260" y="1257"/>
                </a:moveTo>
                <a:lnTo>
                  <a:pt x="2251" y="1257"/>
                </a:lnTo>
                <a:lnTo>
                  <a:pt x="2246" y="1259"/>
                </a:lnTo>
                <a:lnTo>
                  <a:pt x="2242" y="1259"/>
                </a:lnTo>
                <a:lnTo>
                  <a:pt x="2234" y="1265"/>
                </a:lnTo>
                <a:lnTo>
                  <a:pt x="2227" y="1271"/>
                </a:lnTo>
                <a:lnTo>
                  <a:pt x="2223" y="1275"/>
                </a:lnTo>
                <a:lnTo>
                  <a:pt x="2220" y="1281"/>
                </a:lnTo>
                <a:lnTo>
                  <a:pt x="2216" y="1287"/>
                </a:lnTo>
                <a:lnTo>
                  <a:pt x="2213" y="1293"/>
                </a:lnTo>
                <a:lnTo>
                  <a:pt x="2210" y="1299"/>
                </a:lnTo>
                <a:lnTo>
                  <a:pt x="2207" y="1307"/>
                </a:lnTo>
                <a:lnTo>
                  <a:pt x="2201" y="1323"/>
                </a:lnTo>
                <a:lnTo>
                  <a:pt x="2199" y="1331"/>
                </a:lnTo>
                <a:lnTo>
                  <a:pt x="2196" y="1341"/>
                </a:lnTo>
                <a:lnTo>
                  <a:pt x="2192" y="1363"/>
                </a:lnTo>
                <a:lnTo>
                  <a:pt x="2188" y="1387"/>
                </a:lnTo>
                <a:lnTo>
                  <a:pt x="2187" y="1399"/>
                </a:lnTo>
                <a:lnTo>
                  <a:pt x="2185" y="1413"/>
                </a:lnTo>
                <a:lnTo>
                  <a:pt x="2183" y="1443"/>
                </a:lnTo>
                <a:lnTo>
                  <a:pt x="2181" y="1477"/>
                </a:lnTo>
                <a:lnTo>
                  <a:pt x="2180" y="1513"/>
                </a:lnTo>
                <a:lnTo>
                  <a:pt x="2180" y="1551"/>
                </a:lnTo>
                <a:lnTo>
                  <a:pt x="2180" y="1591"/>
                </a:lnTo>
                <a:lnTo>
                  <a:pt x="2181" y="1627"/>
                </a:lnTo>
                <a:lnTo>
                  <a:pt x="2183" y="1659"/>
                </a:lnTo>
                <a:lnTo>
                  <a:pt x="2185" y="1689"/>
                </a:lnTo>
                <a:lnTo>
                  <a:pt x="2188" y="1714"/>
                </a:lnTo>
                <a:lnTo>
                  <a:pt x="2192" y="1738"/>
                </a:lnTo>
                <a:lnTo>
                  <a:pt x="2196" y="1760"/>
                </a:lnTo>
                <a:lnTo>
                  <a:pt x="2201" y="1780"/>
                </a:lnTo>
                <a:lnTo>
                  <a:pt x="2207" y="1796"/>
                </a:lnTo>
                <a:lnTo>
                  <a:pt x="2213" y="1810"/>
                </a:lnTo>
                <a:lnTo>
                  <a:pt x="2220" y="1820"/>
                </a:lnTo>
                <a:lnTo>
                  <a:pt x="2227" y="1830"/>
                </a:lnTo>
                <a:lnTo>
                  <a:pt x="2234" y="1836"/>
                </a:lnTo>
                <a:lnTo>
                  <a:pt x="2242" y="1842"/>
                </a:lnTo>
                <a:lnTo>
                  <a:pt x="2251" y="1844"/>
                </a:lnTo>
                <a:lnTo>
                  <a:pt x="2260" y="1846"/>
                </a:lnTo>
                <a:lnTo>
                  <a:pt x="2269" y="1844"/>
                </a:lnTo>
                <a:lnTo>
                  <a:pt x="2273" y="1844"/>
                </a:lnTo>
                <a:lnTo>
                  <a:pt x="2277" y="1842"/>
                </a:lnTo>
                <a:lnTo>
                  <a:pt x="2285" y="1836"/>
                </a:lnTo>
                <a:lnTo>
                  <a:pt x="2293" y="1830"/>
                </a:lnTo>
                <a:lnTo>
                  <a:pt x="2296" y="1826"/>
                </a:lnTo>
                <a:lnTo>
                  <a:pt x="2300" y="1820"/>
                </a:lnTo>
                <a:lnTo>
                  <a:pt x="2306" y="1808"/>
                </a:lnTo>
                <a:lnTo>
                  <a:pt x="2309" y="1802"/>
                </a:lnTo>
                <a:lnTo>
                  <a:pt x="2312" y="1796"/>
                </a:lnTo>
                <a:lnTo>
                  <a:pt x="2318" y="1778"/>
                </a:lnTo>
                <a:lnTo>
                  <a:pt x="2320" y="1770"/>
                </a:lnTo>
                <a:lnTo>
                  <a:pt x="2323" y="1760"/>
                </a:lnTo>
                <a:lnTo>
                  <a:pt x="2327" y="1738"/>
                </a:lnTo>
                <a:lnTo>
                  <a:pt x="2331" y="1714"/>
                </a:lnTo>
                <a:lnTo>
                  <a:pt x="2332" y="1703"/>
                </a:lnTo>
                <a:lnTo>
                  <a:pt x="2334" y="1689"/>
                </a:lnTo>
                <a:lnTo>
                  <a:pt x="2336" y="1659"/>
                </a:lnTo>
                <a:lnTo>
                  <a:pt x="2338" y="1625"/>
                </a:lnTo>
                <a:lnTo>
                  <a:pt x="2339" y="1591"/>
                </a:lnTo>
                <a:lnTo>
                  <a:pt x="2340" y="1551"/>
                </a:lnTo>
                <a:lnTo>
                  <a:pt x="2339" y="1513"/>
                </a:lnTo>
                <a:lnTo>
                  <a:pt x="2338" y="1477"/>
                </a:lnTo>
                <a:lnTo>
                  <a:pt x="2336" y="1443"/>
                </a:lnTo>
                <a:lnTo>
                  <a:pt x="2334" y="1415"/>
                </a:lnTo>
                <a:lnTo>
                  <a:pt x="2331" y="1387"/>
                </a:lnTo>
                <a:lnTo>
                  <a:pt x="2327" y="1363"/>
                </a:lnTo>
                <a:lnTo>
                  <a:pt x="2323" y="1341"/>
                </a:lnTo>
                <a:lnTo>
                  <a:pt x="2318" y="1323"/>
                </a:lnTo>
                <a:lnTo>
                  <a:pt x="2312" y="1307"/>
                </a:lnTo>
                <a:lnTo>
                  <a:pt x="2306" y="1293"/>
                </a:lnTo>
                <a:lnTo>
                  <a:pt x="2300" y="1281"/>
                </a:lnTo>
                <a:lnTo>
                  <a:pt x="2293" y="1271"/>
                </a:lnTo>
                <a:lnTo>
                  <a:pt x="2285" y="1265"/>
                </a:lnTo>
                <a:lnTo>
                  <a:pt x="2277" y="1259"/>
                </a:lnTo>
                <a:lnTo>
                  <a:pt x="2273" y="1259"/>
                </a:lnTo>
                <a:lnTo>
                  <a:pt x="2269" y="1257"/>
                </a:lnTo>
                <a:lnTo>
                  <a:pt x="2260" y="1257"/>
                </a:lnTo>
                <a:close/>
                <a:moveTo>
                  <a:pt x="2485" y="1936"/>
                </a:moveTo>
                <a:lnTo>
                  <a:pt x="2485" y="1166"/>
                </a:lnTo>
                <a:lnTo>
                  <a:pt x="2549" y="1166"/>
                </a:lnTo>
                <a:lnTo>
                  <a:pt x="2549" y="1828"/>
                </a:lnTo>
                <a:lnTo>
                  <a:pt x="2709" y="1828"/>
                </a:lnTo>
                <a:lnTo>
                  <a:pt x="2709" y="1936"/>
                </a:lnTo>
                <a:lnTo>
                  <a:pt x="2485" y="1936"/>
                </a:lnTo>
                <a:close/>
                <a:moveTo>
                  <a:pt x="2769" y="1936"/>
                </a:moveTo>
                <a:lnTo>
                  <a:pt x="2769" y="1166"/>
                </a:lnTo>
                <a:lnTo>
                  <a:pt x="2835" y="1166"/>
                </a:lnTo>
                <a:lnTo>
                  <a:pt x="2835" y="1828"/>
                </a:lnTo>
                <a:lnTo>
                  <a:pt x="2994" y="1828"/>
                </a:lnTo>
                <a:lnTo>
                  <a:pt x="2994" y="1936"/>
                </a:lnTo>
                <a:lnTo>
                  <a:pt x="2769" y="1936"/>
                </a:lnTo>
                <a:close/>
                <a:moveTo>
                  <a:pt x="3055" y="1166"/>
                </a:moveTo>
                <a:lnTo>
                  <a:pt x="3120" y="1166"/>
                </a:lnTo>
                <a:lnTo>
                  <a:pt x="3120" y="1936"/>
                </a:lnTo>
                <a:lnTo>
                  <a:pt x="3055" y="1936"/>
                </a:lnTo>
                <a:lnTo>
                  <a:pt x="3055" y="1166"/>
                </a:lnTo>
                <a:close/>
                <a:moveTo>
                  <a:pt x="3337" y="1954"/>
                </a:moveTo>
                <a:lnTo>
                  <a:pt x="3321" y="1954"/>
                </a:lnTo>
                <a:lnTo>
                  <a:pt x="3305" y="1950"/>
                </a:lnTo>
                <a:lnTo>
                  <a:pt x="3291" y="1944"/>
                </a:lnTo>
                <a:lnTo>
                  <a:pt x="3284" y="1940"/>
                </a:lnTo>
                <a:lnTo>
                  <a:pt x="3278" y="1936"/>
                </a:lnTo>
                <a:lnTo>
                  <a:pt x="3266" y="1928"/>
                </a:lnTo>
                <a:lnTo>
                  <a:pt x="3260" y="1922"/>
                </a:lnTo>
                <a:lnTo>
                  <a:pt x="3255" y="1916"/>
                </a:lnTo>
                <a:lnTo>
                  <a:pt x="3245" y="1902"/>
                </a:lnTo>
                <a:lnTo>
                  <a:pt x="3241" y="1896"/>
                </a:lnTo>
                <a:lnTo>
                  <a:pt x="3236" y="1888"/>
                </a:lnTo>
                <a:lnTo>
                  <a:pt x="3232" y="1880"/>
                </a:lnTo>
                <a:lnTo>
                  <a:pt x="3229" y="1872"/>
                </a:lnTo>
                <a:lnTo>
                  <a:pt x="3225" y="1864"/>
                </a:lnTo>
                <a:lnTo>
                  <a:pt x="3222" y="1854"/>
                </a:lnTo>
                <a:lnTo>
                  <a:pt x="3216" y="1834"/>
                </a:lnTo>
                <a:lnTo>
                  <a:pt x="3211" y="1814"/>
                </a:lnTo>
                <a:lnTo>
                  <a:pt x="3210" y="1804"/>
                </a:lnTo>
                <a:lnTo>
                  <a:pt x="3208" y="1792"/>
                </a:lnTo>
                <a:lnTo>
                  <a:pt x="3205" y="1770"/>
                </a:lnTo>
                <a:lnTo>
                  <a:pt x="3203" y="1746"/>
                </a:lnTo>
                <a:lnTo>
                  <a:pt x="3203" y="1732"/>
                </a:lnTo>
                <a:lnTo>
                  <a:pt x="3203" y="1720"/>
                </a:lnTo>
                <a:lnTo>
                  <a:pt x="3265" y="1693"/>
                </a:lnTo>
                <a:lnTo>
                  <a:pt x="3266" y="1714"/>
                </a:lnTo>
                <a:lnTo>
                  <a:pt x="3267" y="1734"/>
                </a:lnTo>
                <a:lnTo>
                  <a:pt x="3269" y="1750"/>
                </a:lnTo>
                <a:lnTo>
                  <a:pt x="3271" y="1766"/>
                </a:lnTo>
                <a:lnTo>
                  <a:pt x="3273" y="1774"/>
                </a:lnTo>
                <a:lnTo>
                  <a:pt x="3274" y="1782"/>
                </a:lnTo>
                <a:lnTo>
                  <a:pt x="3278" y="1794"/>
                </a:lnTo>
                <a:lnTo>
                  <a:pt x="3282" y="1804"/>
                </a:lnTo>
                <a:lnTo>
                  <a:pt x="3286" y="1814"/>
                </a:lnTo>
                <a:lnTo>
                  <a:pt x="3291" y="1824"/>
                </a:lnTo>
                <a:lnTo>
                  <a:pt x="3297" y="1830"/>
                </a:lnTo>
                <a:lnTo>
                  <a:pt x="3303" y="1836"/>
                </a:lnTo>
                <a:lnTo>
                  <a:pt x="3310" y="1840"/>
                </a:lnTo>
                <a:lnTo>
                  <a:pt x="3317" y="1844"/>
                </a:lnTo>
                <a:lnTo>
                  <a:pt x="3324" y="1846"/>
                </a:lnTo>
                <a:lnTo>
                  <a:pt x="3332" y="1848"/>
                </a:lnTo>
                <a:lnTo>
                  <a:pt x="3341" y="1848"/>
                </a:lnTo>
                <a:lnTo>
                  <a:pt x="3348" y="1848"/>
                </a:lnTo>
                <a:lnTo>
                  <a:pt x="3355" y="1846"/>
                </a:lnTo>
                <a:lnTo>
                  <a:pt x="3362" y="1844"/>
                </a:lnTo>
                <a:lnTo>
                  <a:pt x="3368" y="1842"/>
                </a:lnTo>
                <a:lnTo>
                  <a:pt x="3374" y="1838"/>
                </a:lnTo>
                <a:lnTo>
                  <a:pt x="3380" y="1832"/>
                </a:lnTo>
                <a:lnTo>
                  <a:pt x="3385" y="1826"/>
                </a:lnTo>
                <a:lnTo>
                  <a:pt x="3390" y="1820"/>
                </a:lnTo>
                <a:lnTo>
                  <a:pt x="3394" y="1812"/>
                </a:lnTo>
                <a:lnTo>
                  <a:pt x="3398" y="1804"/>
                </a:lnTo>
                <a:lnTo>
                  <a:pt x="3401" y="1796"/>
                </a:lnTo>
                <a:lnTo>
                  <a:pt x="3404" y="1786"/>
                </a:lnTo>
                <a:lnTo>
                  <a:pt x="3406" y="1774"/>
                </a:lnTo>
                <a:lnTo>
                  <a:pt x="3407" y="1770"/>
                </a:lnTo>
                <a:lnTo>
                  <a:pt x="3408" y="1764"/>
                </a:lnTo>
                <a:lnTo>
                  <a:pt x="3409" y="1752"/>
                </a:lnTo>
                <a:lnTo>
                  <a:pt x="3409" y="1738"/>
                </a:lnTo>
                <a:lnTo>
                  <a:pt x="3409" y="1728"/>
                </a:lnTo>
                <a:lnTo>
                  <a:pt x="3408" y="1718"/>
                </a:lnTo>
                <a:lnTo>
                  <a:pt x="3407" y="1711"/>
                </a:lnTo>
                <a:lnTo>
                  <a:pt x="3406" y="1701"/>
                </a:lnTo>
                <a:lnTo>
                  <a:pt x="3404" y="1693"/>
                </a:lnTo>
                <a:lnTo>
                  <a:pt x="3402" y="1685"/>
                </a:lnTo>
                <a:lnTo>
                  <a:pt x="3400" y="1677"/>
                </a:lnTo>
                <a:lnTo>
                  <a:pt x="3396" y="1669"/>
                </a:lnTo>
                <a:lnTo>
                  <a:pt x="3389" y="1653"/>
                </a:lnTo>
                <a:lnTo>
                  <a:pt x="3385" y="1645"/>
                </a:lnTo>
                <a:lnTo>
                  <a:pt x="3380" y="1639"/>
                </a:lnTo>
                <a:lnTo>
                  <a:pt x="3369" y="1625"/>
                </a:lnTo>
                <a:lnTo>
                  <a:pt x="3356" y="1613"/>
                </a:lnTo>
                <a:lnTo>
                  <a:pt x="3292" y="1555"/>
                </a:lnTo>
                <a:lnTo>
                  <a:pt x="3282" y="1547"/>
                </a:lnTo>
                <a:lnTo>
                  <a:pt x="3273" y="1537"/>
                </a:lnTo>
                <a:lnTo>
                  <a:pt x="3257" y="1517"/>
                </a:lnTo>
                <a:lnTo>
                  <a:pt x="3243" y="1497"/>
                </a:lnTo>
                <a:lnTo>
                  <a:pt x="3237" y="1485"/>
                </a:lnTo>
                <a:lnTo>
                  <a:pt x="3232" y="1473"/>
                </a:lnTo>
                <a:lnTo>
                  <a:pt x="3227" y="1461"/>
                </a:lnTo>
                <a:lnTo>
                  <a:pt x="3223" y="1447"/>
                </a:lnTo>
                <a:lnTo>
                  <a:pt x="3220" y="1433"/>
                </a:lnTo>
                <a:lnTo>
                  <a:pt x="3217" y="1417"/>
                </a:lnTo>
                <a:lnTo>
                  <a:pt x="3215" y="1401"/>
                </a:lnTo>
                <a:lnTo>
                  <a:pt x="3214" y="1393"/>
                </a:lnTo>
                <a:lnTo>
                  <a:pt x="3213" y="1385"/>
                </a:lnTo>
                <a:lnTo>
                  <a:pt x="3212" y="1367"/>
                </a:lnTo>
                <a:lnTo>
                  <a:pt x="3212" y="1347"/>
                </a:lnTo>
                <a:lnTo>
                  <a:pt x="3212" y="1335"/>
                </a:lnTo>
                <a:lnTo>
                  <a:pt x="3213" y="1323"/>
                </a:lnTo>
                <a:lnTo>
                  <a:pt x="3214" y="1311"/>
                </a:lnTo>
                <a:lnTo>
                  <a:pt x="3215" y="1299"/>
                </a:lnTo>
                <a:lnTo>
                  <a:pt x="3216" y="1289"/>
                </a:lnTo>
                <a:lnTo>
                  <a:pt x="3218" y="1279"/>
                </a:lnTo>
                <a:lnTo>
                  <a:pt x="3222" y="1259"/>
                </a:lnTo>
                <a:lnTo>
                  <a:pt x="3225" y="1249"/>
                </a:lnTo>
                <a:lnTo>
                  <a:pt x="3228" y="1241"/>
                </a:lnTo>
                <a:lnTo>
                  <a:pt x="3234" y="1225"/>
                </a:lnTo>
                <a:lnTo>
                  <a:pt x="3241" y="1210"/>
                </a:lnTo>
                <a:lnTo>
                  <a:pt x="3245" y="1204"/>
                </a:lnTo>
                <a:lnTo>
                  <a:pt x="3250" y="1198"/>
                </a:lnTo>
                <a:lnTo>
                  <a:pt x="3259" y="1186"/>
                </a:lnTo>
                <a:lnTo>
                  <a:pt x="3269" y="1176"/>
                </a:lnTo>
                <a:lnTo>
                  <a:pt x="3279" y="1166"/>
                </a:lnTo>
                <a:lnTo>
                  <a:pt x="3290" y="1160"/>
                </a:lnTo>
                <a:lnTo>
                  <a:pt x="3302" y="1154"/>
                </a:lnTo>
                <a:lnTo>
                  <a:pt x="3314" y="1150"/>
                </a:lnTo>
                <a:lnTo>
                  <a:pt x="3327" y="1148"/>
                </a:lnTo>
                <a:lnTo>
                  <a:pt x="3340" y="1148"/>
                </a:lnTo>
                <a:lnTo>
                  <a:pt x="3355" y="1150"/>
                </a:lnTo>
                <a:lnTo>
                  <a:pt x="3370" y="1152"/>
                </a:lnTo>
                <a:lnTo>
                  <a:pt x="3383" y="1158"/>
                </a:lnTo>
                <a:lnTo>
                  <a:pt x="3389" y="1162"/>
                </a:lnTo>
                <a:lnTo>
                  <a:pt x="3395" y="1166"/>
                </a:lnTo>
                <a:lnTo>
                  <a:pt x="3407" y="1174"/>
                </a:lnTo>
                <a:lnTo>
                  <a:pt x="3417" y="1186"/>
                </a:lnTo>
                <a:lnTo>
                  <a:pt x="3426" y="1198"/>
                </a:lnTo>
                <a:lnTo>
                  <a:pt x="3434" y="1212"/>
                </a:lnTo>
                <a:lnTo>
                  <a:pt x="3438" y="1218"/>
                </a:lnTo>
                <a:lnTo>
                  <a:pt x="3441" y="1225"/>
                </a:lnTo>
                <a:lnTo>
                  <a:pt x="3444" y="1233"/>
                </a:lnTo>
                <a:lnTo>
                  <a:pt x="3447" y="1241"/>
                </a:lnTo>
                <a:lnTo>
                  <a:pt x="3452" y="1259"/>
                </a:lnTo>
                <a:lnTo>
                  <a:pt x="3457" y="1275"/>
                </a:lnTo>
                <a:lnTo>
                  <a:pt x="3460" y="1293"/>
                </a:lnTo>
                <a:lnTo>
                  <a:pt x="3462" y="1313"/>
                </a:lnTo>
                <a:lnTo>
                  <a:pt x="3464" y="1331"/>
                </a:lnTo>
                <a:lnTo>
                  <a:pt x="3464" y="1349"/>
                </a:lnTo>
                <a:lnTo>
                  <a:pt x="3402" y="1375"/>
                </a:lnTo>
                <a:lnTo>
                  <a:pt x="3402" y="1359"/>
                </a:lnTo>
                <a:lnTo>
                  <a:pt x="3400" y="1345"/>
                </a:lnTo>
                <a:lnTo>
                  <a:pt x="3399" y="1331"/>
                </a:lnTo>
                <a:lnTo>
                  <a:pt x="3397" y="1319"/>
                </a:lnTo>
                <a:lnTo>
                  <a:pt x="3394" y="1309"/>
                </a:lnTo>
                <a:lnTo>
                  <a:pt x="3391" y="1299"/>
                </a:lnTo>
                <a:lnTo>
                  <a:pt x="3388" y="1289"/>
                </a:lnTo>
                <a:lnTo>
                  <a:pt x="3384" y="1281"/>
                </a:lnTo>
                <a:lnTo>
                  <a:pt x="3380" y="1275"/>
                </a:lnTo>
                <a:lnTo>
                  <a:pt x="3375" y="1269"/>
                </a:lnTo>
                <a:lnTo>
                  <a:pt x="3370" y="1265"/>
                </a:lnTo>
                <a:lnTo>
                  <a:pt x="3364" y="1261"/>
                </a:lnTo>
                <a:lnTo>
                  <a:pt x="3358" y="1257"/>
                </a:lnTo>
                <a:lnTo>
                  <a:pt x="3352" y="1255"/>
                </a:lnTo>
                <a:lnTo>
                  <a:pt x="3345" y="1255"/>
                </a:lnTo>
                <a:lnTo>
                  <a:pt x="3337" y="1253"/>
                </a:lnTo>
                <a:lnTo>
                  <a:pt x="3325" y="1255"/>
                </a:lnTo>
                <a:lnTo>
                  <a:pt x="3313" y="1259"/>
                </a:lnTo>
                <a:lnTo>
                  <a:pt x="3308" y="1263"/>
                </a:lnTo>
                <a:lnTo>
                  <a:pt x="3303" y="1267"/>
                </a:lnTo>
                <a:lnTo>
                  <a:pt x="3298" y="1271"/>
                </a:lnTo>
                <a:lnTo>
                  <a:pt x="3294" y="1275"/>
                </a:lnTo>
                <a:lnTo>
                  <a:pt x="3290" y="1281"/>
                </a:lnTo>
                <a:lnTo>
                  <a:pt x="3287" y="1287"/>
                </a:lnTo>
                <a:lnTo>
                  <a:pt x="3284" y="1295"/>
                </a:lnTo>
                <a:lnTo>
                  <a:pt x="3281" y="1303"/>
                </a:lnTo>
                <a:lnTo>
                  <a:pt x="3279" y="1311"/>
                </a:lnTo>
                <a:lnTo>
                  <a:pt x="3278" y="1321"/>
                </a:lnTo>
                <a:lnTo>
                  <a:pt x="3277" y="1331"/>
                </a:lnTo>
                <a:lnTo>
                  <a:pt x="3276" y="1341"/>
                </a:lnTo>
                <a:lnTo>
                  <a:pt x="3277" y="1351"/>
                </a:lnTo>
                <a:lnTo>
                  <a:pt x="3277" y="1361"/>
                </a:lnTo>
                <a:lnTo>
                  <a:pt x="3278" y="1371"/>
                </a:lnTo>
                <a:lnTo>
                  <a:pt x="3279" y="1379"/>
                </a:lnTo>
                <a:lnTo>
                  <a:pt x="3281" y="1387"/>
                </a:lnTo>
                <a:lnTo>
                  <a:pt x="3283" y="1395"/>
                </a:lnTo>
                <a:lnTo>
                  <a:pt x="3286" y="1403"/>
                </a:lnTo>
                <a:lnTo>
                  <a:pt x="3288" y="1409"/>
                </a:lnTo>
                <a:lnTo>
                  <a:pt x="3292" y="1415"/>
                </a:lnTo>
                <a:lnTo>
                  <a:pt x="3295" y="1421"/>
                </a:lnTo>
                <a:lnTo>
                  <a:pt x="3304" y="1433"/>
                </a:lnTo>
                <a:lnTo>
                  <a:pt x="3314" y="1445"/>
                </a:lnTo>
                <a:lnTo>
                  <a:pt x="3326" y="1457"/>
                </a:lnTo>
                <a:lnTo>
                  <a:pt x="3388" y="1511"/>
                </a:lnTo>
                <a:lnTo>
                  <a:pt x="3398" y="1521"/>
                </a:lnTo>
                <a:lnTo>
                  <a:pt x="3408" y="1531"/>
                </a:lnTo>
                <a:lnTo>
                  <a:pt x="3418" y="1541"/>
                </a:lnTo>
                <a:lnTo>
                  <a:pt x="3426" y="1553"/>
                </a:lnTo>
                <a:lnTo>
                  <a:pt x="3434" y="1565"/>
                </a:lnTo>
                <a:lnTo>
                  <a:pt x="3441" y="1575"/>
                </a:lnTo>
                <a:lnTo>
                  <a:pt x="3447" y="1589"/>
                </a:lnTo>
                <a:lnTo>
                  <a:pt x="3453" y="1601"/>
                </a:lnTo>
                <a:lnTo>
                  <a:pt x="3458" y="1615"/>
                </a:lnTo>
                <a:lnTo>
                  <a:pt x="3462" y="1629"/>
                </a:lnTo>
                <a:lnTo>
                  <a:pt x="3466" y="1643"/>
                </a:lnTo>
                <a:lnTo>
                  <a:pt x="3469" y="1659"/>
                </a:lnTo>
                <a:lnTo>
                  <a:pt x="3471" y="1675"/>
                </a:lnTo>
                <a:lnTo>
                  <a:pt x="3472" y="1685"/>
                </a:lnTo>
                <a:lnTo>
                  <a:pt x="3472" y="1693"/>
                </a:lnTo>
                <a:lnTo>
                  <a:pt x="3473" y="1711"/>
                </a:lnTo>
                <a:lnTo>
                  <a:pt x="3474" y="1730"/>
                </a:lnTo>
                <a:lnTo>
                  <a:pt x="3473" y="1756"/>
                </a:lnTo>
                <a:lnTo>
                  <a:pt x="3471" y="1780"/>
                </a:lnTo>
                <a:lnTo>
                  <a:pt x="3470" y="1792"/>
                </a:lnTo>
                <a:lnTo>
                  <a:pt x="3468" y="1802"/>
                </a:lnTo>
                <a:lnTo>
                  <a:pt x="3466" y="1814"/>
                </a:lnTo>
                <a:lnTo>
                  <a:pt x="3464" y="1824"/>
                </a:lnTo>
                <a:lnTo>
                  <a:pt x="3461" y="1834"/>
                </a:lnTo>
                <a:lnTo>
                  <a:pt x="3459" y="1844"/>
                </a:lnTo>
                <a:lnTo>
                  <a:pt x="3452" y="1862"/>
                </a:lnTo>
                <a:lnTo>
                  <a:pt x="3449" y="1870"/>
                </a:lnTo>
                <a:lnTo>
                  <a:pt x="3445" y="1880"/>
                </a:lnTo>
                <a:lnTo>
                  <a:pt x="3437" y="1894"/>
                </a:lnTo>
                <a:lnTo>
                  <a:pt x="3432" y="1902"/>
                </a:lnTo>
                <a:lnTo>
                  <a:pt x="3427" y="1908"/>
                </a:lnTo>
                <a:lnTo>
                  <a:pt x="3422" y="1914"/>
                </a:lnTo>
                <a:lnTo>
                  <a:pt x="3417" y="1920"/>
                </a:lnTo>
                <a:lnTo>
                  <a:pt x="3406" y="1930"/>
                </a:lnTo>
                <a:lnTo>
                  <a:pt x="3394" y="1938"/>
                </a:lnTo>
                <a:lnTo>
                  <a:pt x="3381" y="1946"/>
                </a:lnTo>
                <a:lnTo>
                  <a:pt x="3367" y="1950"/>
                </a:lnTo>
                <a:lnTo>
                  <a:pt x="3360" y="1952"/>
                </a:lnTo>
                <a:lnTo>
                  <a:pt x="3353" y="1952"/>
                </a:lnTo>
                <a:lnTo>
                  <a:pt x="3337" y="1954"/>
                </a:lnTo>
                <a:close/>
                <a:moveTo>
                  <a:pt x="3582" y="1882"/>
                </a:moveTo>
                <a:lnTo>
                  <a:pt x="3574" y="1866"/>
                </a:lnTo>
                <a:lnTo>
                  <a:pt x="3567" y="1848"/>
                </a:lnTo>
                <a:lnTo>
                  <a:pt x="3562" y="1828"/>
                </a:lnTo>
                <a:lnTo>
                  <a:pt x="3559" y="1816"/>
                </a:lnTo>
                <a:lnTo>
                  <a:pt x="3557" y="1806"/>
                </a:lnTo>
                <a:lnTo>
                  <a:pt x="3554" y="1782"/>
                </a:lnTo>
                <a:lnTo>
                  <a:pt x="3551" y="1756"/>
                </a:lnTo>
                <a:lnTo>
                  <a:pt x="3550" y="1742"/>
                </a:lnTo>
                <a:lnTo>
                  <a:pt x="3550" y="1726"/>
                </a:lnTo>
                <a:lnTo>
                  <a:pt x="3549" y="1697"/>
                </a:lnTo>
                <a:lnTo>
                  <a:pt x="3549" y="1166"/>
                </a:lnTo>
                <a:lnTo>
                  <a:pt x="3615" y="1166"/>
                </a:lnTo>
                <a:lnTo>
                  <a:pt x="3615" y="1691"/>
                </a:lnTo>
                <a:lnTo>
                  <a:pt x="3615" y="1711"/>
                </a:lnTo>
                <a:lnTo>
                  <a:pt x="3616" y="1728"/>
                </a:lnTo>
                <a:lnTo>
                  <a:pt x="3617" y="1744"/>
                </a:lnTo>
                <a:lnTo>
                  <a:pt x="3618" y="1758"/>
                </a:lnTo>
                <a:lnTo>
                  <a:pt x="3620" y="1772"/>
                </a:lnTo>
                <a:lnTo>
                  <a:pt x="3623" y="1784"/>
                </a:lnTo>
                <a:lnTo>
                  <a:pt x="3625" y="1796"/>
                </a:lnTo>
                <a:lnTo>
                  <a:pt x="3629" y="1804"/>
                </a:lnTo>
                <a:lnTo>
                  <a:pt x="3633" y="1814"/>
                </a:lnTo>
                <a:lnTo>
                  <a:pt x="3637" y="1822"/>
                </a:lnTo>
                <a:lnTo>
                  <a:pt x="3643" y="1830"/>
                </a:lnTo>
                <a:lnTo>
                  <a:pt x="3649" y="1836"/>
                </a:lnTo>
                <a:lnTo>
                  <a:pt x="3652" y="1838"/>
                </a:lnTo>
                <a:lnTo>
                  <a:pt x="3655" y="1840"/>
                </a:lnTo>
                <a:lnTo>
                  <a:pt x="3662" y="1844"/>
                </a:lnTo>
                <a:lnTo>
                  <a:pt x="3670" y="1846"/>
                </a:lnTo>
                <a:lnTo>
                  <a:pt x="3678" y="1846"/>
                </a:lnTo>
                <a:lnTo>
                  <a:pt x="3686" y="1846"/>
                </a:lnTo>
                <a:lnTo>
                  <a:pt x="3694" y="1844"/>
                </a:lnTo>
                <a:lnTo>
                  <a:pt x="3701" y="1840"/>
                </a:lnTo>
                <a:lnTo>
                  <a:pt x="3708" y="1836"/>
                </a:lnTo>
                <a:lnTo>
                  <a:pt x="3713" y="1830"/>
                </a:lnTo>
                <a:lnTo>
                  <a:pt x="3719" y="1822"/>
                </a:lnTo>
                <a:lnTo>
                  <a:pt x="3723" y="1814"/>
                </a:lnTo>
                <a:lnTo>
                  <a:pt x="3728" y="1804"/>
                </a:lnTo>
                <a:lnTo>
                  <a:pt x="3731" y="1796"/>
                </a:lnTo>
                <a:lnTo>
                  <a:pt x="3734" y="1784"/>
                </a:lnTo>
                <a:lnTo>
                  <a:pt x="3736" y="1772"/>
                </a:lnTo>
                <a:lnTo>
                  <a:pt x="3738" y="1758"/>
                </a:lnTo>
                <a:lnTo>
                  <a:pt x="3740" y="1744"/>
                </a:lnTo>
                <a:lnTo>
                  <a:pt x="3741" y="1728"/>
                </a:lnTo>
                <a:lnTo>
                  <a:pt x="3741" y="1711"/>
                </a:lnTo>
                <a:lnTo>
                  <a:pt x="3741" y="1691"/>
                </a:lnTo>
                <a:lnTo>
                  <a:pt x="3741" y="1166"/>
                </a:lnTo>
                <a:lnTo>
                  <a:pt x="3807" y="1166"/>
                </a:lnTo>
                <a:lnTo>
                  <a:pt x="3807" y="1697"/>
                </a:lnTo>
                <a:lnTo>
                  <a:pt x="3806" y="1726"/>
                </a:lnTo>
                <a:lnTo>
                  <a:pt x="3805" y="1742"/>
                </a:lnTo>
                <a:lnTo>
                  <a:pt x="3805" y="1756"/>
                </a:lnTo>
                <a:lnTo>
                  <a:pt x="3802" y="1782"/>
                </a:lnTo>
                <a:lnTo>
                  <a:pt x="3798" y="1806"/>
                </a:lnTo>
                <a:lnTo>
                  <a:pt x="3796" y="1816"/>
                </a:lnTo>
                <a:lnTo>
                  <a:pt x="3794" y="1828"/>
                </a:lnTo>
                <a:lnTo>
                  <a:pt x="3788" y="1848"/>
                </a:lnTo>
                <a:lnTo>
                  <a:pt x="3785" y="1856"/>
                </a:lnTo>
                <a:lnTo>
                  <a:pt x="3782" y="1866"/>
                </a:lnTo>
                <a:lnTo>
                  <a:pt x="3779" y="1874"/>
                </a:lnTo>
                <a:lnTo>
                  <a:pt x="3775" y="1882"/>
                </a:lnTo>
                <a:lnTo>
                  <a:pt x="3771" y="1890"/>
                </a:lnTo>
                <a:lnTo>
                  <a:pt x="3766" y="1898"/>
                </a:lnTo>
                <a:lnTo>
                  <a:pt x="3756" y="1914"/>
                </a:lnTo>
                <a:lnTo>
                  <a:pt x="3745" y="1926"/>
                </a:lnTo>
                <a:lnTo>
                  <a:pt x="3739" y="1930"/>
                </a:lnTo>
                <a:lnTo>
                  <a:pt x="3733" y="1936"/>
                </a:lnTo>
                <a:lnTo>
                  <a:pt x="3720" y="1944"/>
                </a:lnTo>
                <a:lnTo>
                  <a:pt x="3714" y="1946"/>
                </a:lnTo>
                <a:lnTo>
                  <a:pt x="3707" y="1950"/>
                </a:lnTo>
                <a:lnTo>
                  <a:pt x="3693" y="1952"/>
                </a:lnTo>
                <a:lnTo>
                  <a:pt x="3685" y="1954"/>
                </a:lnTo>
                <a:lnTo>
                  <a:pt x="3678" y="1954"/>
                </a:lnTo>
                <a:lnTo>
                  <a:pt x="3663" y="1952"/>
                </a:lnTo>
                <a:lnTo>
                  <a:pt x="3649" y="1950"/>
                </a:lnTo>
                <a:lnTo>
                  <a:pt x="3643" y="1946"/>
                </a:lnTo>
                <a:lnTo>
                  <a:pt x="3636" y="1944"/>
                </a:lnTo>
                <a:lnTo>
                  <a:pt x="3624" y="1936"/>
                </a:lnTo>
                <a:lnTo>
                  <a:pt x="3612" y="1926"/>
                </a:lnTo>
                <a:lnTo>
                  <a:pt x="3601" y="1914"/>
                </a:lnTo>
                <a:lnTo>
                  <a:pt x="3591" y="1898"/>
                </a:lnTo>
                <a:lnTo>
                  <a:pt x="3586" y="1890"/>
                </a:lnTo>
                <a:lnTo>
                  <a:pt x="3582" y="1882"/>
                </a:lnTo>
                <a:close/>
                <a:moveTo>
                  <a:pt x="3934" y="1882"/>
                </a:moveTo>
                <a:lnTo>
                  <a:pt x="3927" y="1866"/>
                </a:lnTo>
                <a:lnTo>
                  <a:pt x="3920" y="1848"/>
                </a:lnTo>
                <a:lnTo>
                  <a:pt x="3915" y="1828"/>
                </a:lnTo>
                <a:lnTo>
                  <a:pt x="3912" y="1816"/>
                </a:lnTo>
                <a:lnTo>
                  <a:pt x="3910" y="1806"/>
                </a:lnTo>
                <a:lnTo>
                  <a:pt x="3907" y="1782"/>
                </a:lnTo>
                <a:lnTo>
                  <a:pt x="3904" y="1756"/>
                </a:lnTo>
                <a:lnTo>
                  <a:pt x="3903" y="1742"/>
                </a:lnTo>
                <a:lnTo>
                  <a:pt x="3903" y="1726"/>
                </a:lnTo>
                <a:lnTo>
                  <a:pt x="3902" y="1697"/>
                </a:lnTo>
                <a:lnTo>
                  <a:pt x="3902" y="1166"/>
                </a:lnTo>
                <a:lnTo>
                  <a:pt x="3968" y="1166"/>
                </a:lnTo>
                <a:lnTo>
                  <a:pt x="3968" y="1691"/>
                </a:lnTo>
                <a:lnTo>
                  <a:pt x="3968" y="1711"/>
                </a:lnTo>
                <a:lnTo>
                  <a:pt x="3969" y="1728"/>
                </a:lnTo>
                <a:lnTo>
                  <a:pt x="3970" y="1744"/>
                </a:lnTo>
                <a:lnTo>
                  <a:pt x="3972" y="1758"/>
                </a:lnTo>
                <a:lnTo>
                  <a:pt x="3973" y="1772"/>
                </a:lnTo>
                <a:lnTo>
                  <a:pt x="3976" y="1784"/>
                </a:lnTo>
                <a:lnTo>
                  <a:pt x="3979" y="1796"/>
                </a:lnTo>
                <a:lnTo>
                  <a:pt x="3982" y="1804"/>
                </a:lnTo>
                <a:lnTo>
                  <a:pt x="3986" y="1814"/>
                </a:lnTo>
                <a:lnTo>
                  <a:pt x="3991" y="1822"/>
                </a:lnTo>
                <a:lnTo>
                  <a:pt x="3996" y="1830"/>
                </a:lnTo>
                <a:lnTo>
                  <a:pt x="4002" y="1836"/>
                </a:lnTo>
                <a:lnTo>
                  <a:pt x="4005" y="1838"/>
                </a:lnTo>
                <a:lnTo>
                  <a:pt x="4008" y="1840"/>
                </a:lnTo>
                <a:lnTo>
                  <a:pt x="4015" y="1844"/>
                </a:lnTo>
                <a:lnTo>
                  <a:pt x="4023" y="1846"/>
                </a:lnTo>
                <a:lnTo>
                  <a:pt x="4031" y="1846"/>
                </a:lnTo>
                <a:lnTo>
                  <a:pt x="4040" y="1846"/>
                </a:lnTo>
                <a:lnTo>
                  <a:pt x="4047" y="1844"/>
                </a:lnTo>
                <a:lnTo>
                  <a:pt x="4054" y="1840"/>
                </a:lnTo>
                <a:lnTo>
                  <a:pt x="4061" y="1836"/>
                </a:lnTo>
                <a:lnTo>
                  <a:pt x="4067" y="1830"/>
                </a:lnTo>
                <a:lnTo>
                  <a:pt x="4072" y="1822"/>
                </a:lnTo>
                <a:lnTo>
                  <a:pt x="4077" y="1814"/>
                </a:lnTo>
                <a:lnTo>
                  <a:pt x="4081" y="1804"/>
                </a:lnTo>
                <a:lnTo>
                  <a:pt x="4084" y="1796"/>
                </a:lnTo>
                <a:lnTo>
                  <a:pt x="4087" y="1784"/>
                </a:lnTo>
                <a:lnTo>
                  <a:pt x="4090" y="1772"/>
                </a:lnTo>
                <a:lnTo>
                  <a:pt x="4091" y="1758"/>
                </a:lnTo>
                <a:lnTo>
                  <a:pt x="4093" y="1744"/>
                </a:lnTo>
                <a:lnTo>
                  <a:pt x="4094" y="1728"/>
                </a:lnTo>
                <a:lnTo>
                  <a:pt x="4094" y="1711"/>
                </a:lnTo>
                <a:lnTo>
                  <a:pt x="4094" y="1691"/>
                </a:lnTo>
                <a:lnTo>
                  <a:pt x="4094" y="1166"/>
                </a:lnTo>
                <a:lnTo>
                  <a:pt x="4160" y="1166"/>
                </a:lnTo>
                <a:lnTo>
                  <a:pt x="4160" y="1697"/>
                </a:lnTo>
                <a:lnTo>
                  <a:pt x="4159" y="1726"/>
                </a:lnTo>
                <a:lnTo>
                  <a:pt x="4159" y="1742"/>
                </a:lnTo>
                <a:lnTo>
                  <a:pt x="4158" y="1756"/>
                </a:lnTo>
                <a:lnTo>
                  <a:pt x="4155" y="1782"/>
                </a:lnTo>
                <a:lnTo>
                  <a:pt x="4152" y="1806"/>
                </a:lnTo>
                <a:lnTo>
                  <a:pt x="4149" y="1816"/>
                </a:lnTo>
                <a:lnTo>
                  <a:pt x="4147" y="1828"/>
                </a:lnTo>
                <a:lnTo>
                  <a:pt x="4142" y="1848"/>
                </a:lnTo>
                <a:lnTo>
                  <a:pt x="4139" y="1856"/>
                </a:lnTo>
                <a:lnTo>
                  <a:pt x="4135" y="1866"/>
                </a:lnTo>
                <a:lnTo>
                  <a:pt x="4132" y="1874"/>
                </a:lnTo>
                <a:lnTo>
                  <a:pt x="4128" y="1882"/>
                </a:lnTo>
                <a:lnTo>
                  <a:pt x="4124" y="1890"/>
                </a:lnTo>
                <a:lnTo>
                  <a:pt x="4119" y="1898"/>
                </a:lnTo>
                <a:lnTo>
                  <a:pt x="4109" y="1914"/>
                </a:lnTo>
                <a:lnTo>
                  <a:pt x="4098" y="1926"/>
                </a:lnTo>
                <a:lnTo>
                  <a:pt x="4092" y="1930"/>
                </a:lnTo>
                <a:lnTo>
                  <a:pt x="4086" y="1936"/>
                </a:lnTo>
                <a:lnTo>
                  <a:pt x="4073" y="1944"/>
                </a:lnTo>
                <a:lnTo>
                  <a:pt x="4067" y="1946"/>
                </a:lnTo>
                <a:lnTo>
                  <a:pt x="4060" y="1950"/>
                </a:lnTo>
                <a:lnTo>
                  <a:pt x="4046" y="1952"/>
                </a:lnTo>
                <a:lnTo>
                  <a:pt x="4039" y="1954"/>
                </a:lnTo>
                <a:lnTo>
                  <a:pt x="4031" y="1954"/>
                </a:lnTo>
                <a:lnTo>
                  <a:pt x="4017" y="1952"/>
                </a:lnTo>
                <a:lnTo>
                  <a:pt x="4003" y="1950"/>
                </a:lnTo>
                <a:lnTo>
                  <a:pt x="3996" y="1946"/>
                </a:lnTo>
                <a:lnTo>
                  <a:pt x="3989" y="1944"/>
                </a:lnTo>
                <a:lnTo>
                  <a:pt x="3977" y="1936"/>
                </a:lnTo>
                <a:lnTo>
                  <a:pt x="3965" y="1926"/>
                </a:lnTo>
                <a:lnTo>
                  <a:pt x="3954" y="1914"/>
                </a:lnTo>
                <a:lnTo>
                  <a:pt x="3943" y="1898"/>
                </a:lnTo>
                <a:lnTo>
                  <a:pt x="3938" y="1890"/>
                </a:lnTo>
                <a:lnTo>
                  <a:pt x="3934" y="1882"/>
                </a:lnTo>
                <a:close/>
                <a:moveTo>
                  <a:pt x="4370" y="1954"/>
                </a:moveTo>
                <a:lnTo>
                  <a:pt x="4354" y="1954"/>
                </a:lnTo>
                <a:lnTo>
                  <a:pt x="4339" y="1950"/>
                </a:lnTo>
                <a:lnTo>
                  <a:pt x="4324" y="1944"/>
                </a:lnTo>
                <a:lnTo>
                  <a:pt x="4317" y="1940"/>
                </a:lnTo>
                <a:lnTo>
                  <a:pt x="4310" y="1936"/>
                </a:lnTo>
                <a:lnTo>
                  <a:pt x="4298" y="1928"/>
                </a:lnTo>
                <a:lnTo>
                  <a:pt x="4292" y="1922"/>
                </a:lnTo>
                <a:lnTo>
                  <a:pt x="4287" y="1916"/>
                </a:lnTo>
                <a:lnTo>
                  <a:pt x="4277" y="1902"/>
                </a:lnTo>
                <a:lnTo>
                  <a:pt x="4273" y="1896"/>
                </a:lnTo>
                <a:lnTo>
                  <a:pt x="4268" y="1888"/>
                </a:lnTo>
                <a:lnTo>
                  <a:pt x="4264" y="1880"/>
                </a:lnTo>
                <a:lnTo>
                  <a:pt x="4261" y="1872"/>
                </a:lnTo>
                <a:lnTo>
                  <a:pt x="4257" y="1864"/>
                </a:lnTo>
                <a:lnTo>
                  <a:pt x="4254" y="1854"/>
                </a:lnTo>
                <a:lnTo>
                  <a:pt x="4248" y="1834"/>
                </a:lnTo>
                <a:lnTo>
                  <a:pt x="4244" y="1814"/>
                </a:lnTo>
                <a:lnTo>
                  <a:pt x="4242" y="1804"/>
                </a:lnTo>
                <a:lnTo>
                  <a:pt x="4240" y="1792"/>
                </a:lnTo>
                <a:lnTo>
                  <a:pt x="4237" y="1770"/>
                </a:lnTo>
                <a:lnTo>
                  <a:pt x="4236" y="1746"/>
                </a:lnTo>
                <a:lnTo>
                  <a:pt x="4235" y="1732"/>
                </a:lnTo>
                <a:lnTo>
                  <a:pt x="4235" y="1720"/>
                </a:lnTo>
                <a:lnTo>
                  <a:pt x="4298" y="1693"/>
                </a:lnTo>
                <a:lnTo>
                  <a:pt x="4298" y="1714"/>
                </a:lnTo>
                <a:lnTo>
                  <a:pt x="4299" y="1734"/>
                </a:lnTo>
                <a:lnTo>
                  <a:pt x="4301" y="1750"/>
                </a:lnTo>
                <a:lnTo>
                  <a:pt x="4303" y="1766"/>
                </a:lnTo>
                <a:lnTo>
                  <a:pt x="4305" y="1774"/>
                </a:lnTo>
                <a:lnTo>
                  <a:pt x="4306" y="1782"/>
                </a:lnTo>
                <a:lnTo>
                  <a:pt x="4310" y="1794"/>
                </a:lnTo>
                <a:lnTo>
                  <a:pt x="4314" y="1804"/>
                </a:lnTo>
                <a:lnTo>
                  <a:pt x="4318" y="1814"/>
                </a:lnTo>
                <a:lnTo>
                  <a:pt x="4324" y="1824"/>
                </a:lnTo>
                <a:lnTo>
                  <a:pt x="4330" y="1830"/>
                </a:lnTo>
                <a:lnTo>
                  <a:pt x="4336" y="1836"/>
                </a:lnTo>
                <a:lnTo>
                  <a:pt x="4343" y="1840"/>
                </a:lnTo>
                <a:lnTo>
                  <a:pt x="4350" y="1844"/>
                </a:lnTo>
                <a:lnTo>
                  <a:pt x="4357" y="1846"/>
                </a:lnTo>
                <a:lnTo>
                  <a:pt x="4365" y="1848"/>
                </a:lnTo>
                <a:lnTo>
                  <a:pt x="4374" y="1848"/>
                </a:lnTo>
                <a:lnTo>
                  <a:pt x="4381" y="1848"/>
                </a:lnTo>
                <a:lnTo>
                  <a:pt x="4388" y="1846"/>
                </a:lnTo>
                <a:lnTo>
                  <a:pt x="4395" y="1844"/>
                </a:lnTo>
                <a:lnTo>
                  <a:pt x="4401" y="1842"/>
                </a:lnTo>
                <a:lnTo>
                  <a:pt x="4407" y="1838"/>
                </a:lnTo>
                <a:lnTo>
                  <a:pt x="4413" y="1832"/>
                </a:lnTo>
                <a:lnTo>
                  <a:pt x="4418" y="1826"/>
                </a:lnTo>
                <a:lnTo>
                  <a:pt x="4423" y="1820"/>
                </a:lnTo>
                <a:lnTo>
                  <a:pt x="4427" y="1812"/>
                </a:lnTo>
                <a:lnTo>
                  <a:pt x="4431" y="1804"/>
                </a:lnTo>
                <a:lnTo>
                  <a:pt x="4434" y="1796"/>
                </a:lnTo>
                <a:lnTo>
                  <a:pt x="4437" y="1786"/>
                </a:lnTo>
                <a:lnTo>
                  <a:pt x="4439" y="1774"/>
                </a:lnTo>
                <a:lnTo>
                  <a:pt x="4440" y="1770"/>
                </a:lnTo>
                <a:lnTo>
                  <a:pt x="4441" y="1764"/>
                </a:lnTo>
                <a:lnTo>
                  <a:pt x="4442" y="1752"/>
                </a:lnTo>
                <a:lnTo>
                  <a:pt x="4442" y="1738"/>
                </a:lnTo>
                <a:lnTo>
                  <a:pt x="4442" y="1728"/>
                </a:lnTo>
                <a:lnTo>
                  <a:pt x="4442" y="1718"/>
                </a:lnTo>
                <a:lnTo>
                  <a:pt x="4441" y="1711"/>
                </a:lnTo>
                <a:lnTo>
                  <a:pt x="4439" y="1701"/>
                </a:lnTo>
                <a:lnTo>
                  <a:pt x="4437" y="1693"/>
                </a:lnTo>
                <a:lnTo>
                  <a:pt x="4435" y="1685"/>
                </a:lnTo>
                <a:lnTo>
                  <a:pt x="4433" y="1677"/>
                </a:lnTo>
                <a:lnTo>
                  <a:pt x="4430" y="1669"/>
                </a:lnTo>
                <a:lnTo>
                  <a:pt x="4422" y="1653"/>
                </a:lnTo>
                <a:lnTo>
                  <a:pt x="4418" y="1645"/>
                </a:lnTo>
                <a:lnTo>
                  <a:pt x="4413" y="1639"/>
                </a:lnTo>
                <a:lnTo>
                  <a:pt x="4402" y="1625"/>
                </a:lnTo>
                <a:lnTo>
                  <a:pt x="4389" y="1613"/>
                </a:lnTo>
                <a:lnTo>
                  <a:pt x="4325" y="1555"/>
                </a:lnTo>
                <a:lnTo>
                  <a:pt x="4315" y="1547"/>
                </a:lnTo>
                <a:lnTo>
                  <a:pt x="4305" y="1537"/>
                </a:lnTo>
                <a:lnTo>
                  <a:pt x="4289" y="1517"/>
                </a:lnTo>
                <a:lnTo>
                  <a:pt x="4275" y="1497"/>
                </a:lnTo>
                <a:lnTo>
                  <a:pt x="4270" y="1485"/>
                </a:lnTo>
                <a:lnTo>
                  <a:pt x="4264" y="1473"/>
                </a:lnTo>
                <a:lnTo>
                  <a:pt x="4260" y="1461"/>
                </a:lnTo>
                <a:lnTo>
                  <a:pt x="4255" y="1447"/>
                </a:lnTo>
                <a:lnTo>
                  <a:pt x="4252" y="1433"/>
                </a:lnTo>
                <a:lnTo>
                  <a:pt x="4249" y="1417"/>
                </a:lnTo>
                <a:lnTo>
                  <a:pt x="4247" y="1401"/>
                </a:lnTo>
                <a:lnTo>
                  <a:pt x="4246" y="1393"/>
                </a:lnTo>
                <a:lnTo>
                  <a:pt x="4245" y="1385"/>
                </a:lnTo>
                <a:lnTo>
                  <a:pt x="4244" y="1367"/>
                </a:lnTo>
                <a:lnTo>
                  <a:pt x="4244" y="1347"/>
                </a:lnTo>
                <a:lnTo>
                  <a:pt x="4244" y="1335"/>
                </a:lnTo>
                <a:lnTo>
                  <a:pt x="4245" y="1323"/>
                </a:lnTo>
                <a:lnTo>
                  <a:pt x="4246" y="1311"/>
                </a:lnTo>
                <a:lnTo>
                  <a:pt x="4247" y="1299"/>
                </a:lnTo>
                <a:lnTo>
                  <a:pt x="4248" y="1289"/>
                </a:lnTo>
                <a:lnTo>
                  <a:pt x="4250" y="1279"/>
                </a:lnTo>
                <a:lnTo>
                  <a:pt x="4254" y="1259"/>
                </a:lnTo>
                <a:lnTo>
                  <a:pt x="4257" y="1249"/>
                </a:lnTo>
                <a:lnTo>
                  <a:pt x="4260" y="1241"/>
                </a:lnTo>
                <a:lnTo>
                  <a:pt x="4266" y="1225"/>
                </a:lnTo>
                <a:lnTo>
                  <a:pt x="4273" y="1210"/>
                </a:lnTo>
                <a:lnTo>
                  <a:pt x="4277" y="1204"/>
                </a:lnTo>
                <a:lnTo>
                  <a:pt x="4282" y="1198"/>
                </a:lnTo>
                <a:lnTo>
                  <a:pt x="4291" y="1186"/>
                </a:lnTo>
                <a:lnTo>
                  <a:pt x="4301" y="1176"/>
                </a:lnTo>
                <a:lnTo>
                  <a:pt x="4311" y="1166"/>
                </a:lnTo>
                <a:lnTo>
                  <a:pt x="4323" y="1160"/>
                </a:lnTo>
                <a:lnTo>
                  <a:pt x="4335" y="1154"/>
                </a:lnTo>
                <a:lnTo>
                  <a:pt x="4347" y="1150"/>
                </a:lnTo>
                <a:lnTo>
                  <a:pt x="4360" y="1148"/>
                </a:lnTo>
                <a:lnTo>
                  <a:pt x="4373" y="1148"/>
                </a:lnTo>
                <a:lnTo>
                  <a:pt x="4388" y="1150"/>
                </a:lnTo>
                <a:lnTo>
                  <a:pt x="4403" y="1152"/>
                </a:lnTo>
                <a:lnTo>
                  <a:pt x="4416" y="1158"/>
                </a:lnTo>
                <a:lnTo>
                  <a:pt x="4422" y="1162"/>
                </a:lnTo>
                <a:lnTo>
                  <a:pt x="4428" y="1166"/>
                </a:lnTo>
                <a:lnTo>
                  <a:pt x="4440" y="1174"/>
                </a:lnTo>
                <a:lnTo>
                  <a:pt x="4450" y="1186"/>
                </a:lnTo>
                <a:lnTo>
                  <a:pt x="4459" y="1198"/>
                </a:lnTo>
                <a:lnTo>
                  <a:pt x="4467" y="1212"/>
                </a:lnTo>
                <a:lnTo>
                  <a:pt x="4471" y="1218"/>
                </a:lnTo>
                <a:lnTo>
                  <a:pt x="4474" y="1225"/>
                </a:lnTo>
                <a:lnTo>
                  <a:pt x="4477" y="1233"/>
                </a:lnTo>
                <a:lnTo>
                  <a:pt x="4480" y="1241"/>
                </a:lnTo>
                <a:lnTo>
                  <a:pt x="4485" y="1259"/>
                </a:lnTo>
                <a:lnTo>
                  <a:pt x="4490" y="1275"/>
                </a:lnTo>
                <a:lnTo>
                  <a:pt x="4493" y="1293"/>
                </a:lnTo>
                <a:lnTo>
                  <a:pt x="4495" y="1313"/>
                </a:lnTo>
                <a:lnTo>
                  <a:pt x="4497" y="1331"/>
                </a:lnTo>
                <a:lnTo>
                  <a:pt x="4497" y="1349"/>
                </a:lnTo>
                <a:lnTo>
                  <a:pt x="4435" y="1375"/>
                </a:lnTo>
                <a:lnTo>
                  <a:pt x="4435" y="1359"/>
                </a:lnTo>
                <a:lnTo>
                  <a:pt x="4433" y="1345"/>
                </a:lnTo>
                <a:lnTo>
                  <a:pt x="4432" y="1331"/>
                </a:lnTo>
                <a:lnTo>
                  <a:pt x="4430" y="1319"/>
                </a:lnTo>
                <a:lnTo>
                  <a:pt x="4427" y="1309"/>
                </a:lnTo>
                <a:lnTo>
                  <a:pt x="4426" y="1303"/>
                </a:lnTo>
                <a:lnTo>
                  <a:pt x="4424" y="1299"/>
                </a:lnTo>
                <a:lnTo>
                  <a:pt x="4421" y="1289"/>
                </a:lnTo>
                <a:lnTo>
                  <a:pt x="4417" y="1281"/>
                </a:lnTo>
                <a:lnTo>
                  <a:pt x="4413" y="1275"/>
                </a:lnTo>
                <a:lnTo>
                  <a:pt x="4408" y="1269"/>
                </a:lnTo>
                <a:lnTo>
                  <a:pt x="4403" y="1265"/>
                </a:lnTo>
                <a:lnTo>
                  <a:pt x="4397" y="1261"/>
                </a:lnTo>
                <a:lnTo>
                  <a:pt x="4391" y="1257"/>
                </a:lnTo>
                <a:lnTo>
                  <a:pt x="4385" y="1255"/>
                </a:lnTo>
                <a:lnTo>
                  <a:pt x="4378" y="1255"/>
                </a:lnTo>
                <a:lnTo>
                  <a:pt x="4370" y="1253"/>
                </a:lnTo>
                <a:lnTo>
                  <a:pt x="4358" y="1255"/>
                </a:lnTo>
                <a:lnTo>
                  <a:pt x="4346" y="1259"/>
                </a:lnTo>
                <a:lnTo>
                  <a:pt x="4341" y="1263"/>
                </a:lnTo>
                <a:lnTo>
                  <a:pt x="4336" y="1267"/>
                </a:lnTo>
                <a:lnTo>
                  <a:pt x="4331" y="1271"/>
                </a:lnTo>
                <a:lnTo>
                  <a:pt x="4327" y="1275"/>
                </a:lnTo>
                <a:lnTo>
                  <a:pt x="4323" y="1281"/>
                </a:lnTo>
                <a:lnTo>
                  <a:pt x="4319" y="1287"/>
                </a:lnTo>
                <a:lnTo>
                  <a:pt x="4316" y="1295"/>
                </a:lnTo>
                <a:lnTo>
                  <a:pt x="4313" y="1303"/>
                </a:lnTo>
                <a:lnTo>
                  <a:pt x="4311" y="1311"/>
                </a:lnTo>
                <a:lnTo>
                  <a:pt x="4310" y="1321"/>
                </a:lnTo>
                <a:lnTo>
                  <a:pt x="4309" y="1331"/>
                </a:lnTo>
                <a:lnTo>
                  <a:pt x="4308" y="1341"/>
                </a:lnTo>
                <a:lnTo>
                  <a:pt x="4309" y="1351"/>
                </a:lnTo>
                <a:lnTo>
                  <a:pt x="4309" y="1361"/>
                </a:lnTo>
                <a:lnTo>
                  <a:pt x="4310" y="1371"/>
                </a:lnTo>
                <a:lnTo>
                  <a:pt x="4311" y="1379"/>
                </a:lnTo>
                <a:lnTo>
                  <a:pt x="4313" y="1387"/>
                </a:lnTo>
                <a:lnTo>
                  <a:pt x="4315" y="1395"/>
                </a:lnTo>
                <a:lnTo>
                  <a:pt x="4318" y="1403"/>
                </a:lnTo>
                <a:lnTo>
                  <a:pt x="4321" y="1409"/>
                </a:lnTo>
                <a:lnTo>
                  <a:pt x="4325" y="1415"/>
                </a:lnTo>
                <a:lnTo>
                  <a:pt x="4328" y="1421"/>
                </a:lnTo>
                <a:lnTo>
                  <a:pt x="4337" y="1433"/>
                </a:lnTo>
                <a:lnTo>
                  <a:pt x="4347" y="1445"/>
                </a:lnTo>
                <a:lnTo>
                  <a:pt x="4359" y="1457"/>
                </a:lnTo>
                <a:lnTo>
                  <a:pt x="4421" y="1511"/>
                </a:lnTo>
                <a:lnTo>
                  <a:pt x="4431" y="1521"/>
                </a:lnTo>
                <a:lnTo>
                  <a:pt x="4442" y="1531"/>
                </a:lnTo>
                <a:lnTo>
                  <a:pt x="4451" y="1541"/>
                </a:lnTo>
                <a:lnTo>
                  <a:pt x="4459" y="1553"/>
                </a:lnTo>
                <a:lnTo>
                  <a:pt x="4467" y="1565"/>
                </a:lnTo>
                <a:lnTo>
                  <a:pt x="4474" y="1575"/>
                </a:lnTo>
                <a:lnTo>
                  <a:pt x="4480" y="1589"/>
                </a:lnTo>
                <a:lnTo>
                  <a:pt x="4486" y="1601"/>
                </a:lnTo>
                <a:lnTo>
                  <a:pt x="4491" y="1615"/>
                </a:lnTo>
                <a:lnTo>
                  <a:pt x="4495" y="1629"/>
                </a:lnTo>
                <a:lnTo>
                  <a:pt x="4499" y="1643"/>
                </a:lnTo>
                <a:lnTo>
                  <a:pt x="4502" y="1659"/>
                </a:lnTo>
                <a:lnTo>
                  <a:pt x="4504" y="1675"/>
                </a:lnTo>
                <a:lnTo>
                  <a:pt x="4505" y="1685"/>
                </a:lnTo>
                <a:lnTo>
                  <a:pt x="4505" y="1693"/>
                </a:lnTo>
                <a:lnTo>
                  <a:pt x="4506" y="1711"/>
                </a:lnTo>
                <a:lnTo>
                  <a:pt x="4507" y="1730"/>
                </a:lnTo>
                <a:lnTo>
                  <a:pt x="4506" y="1756"/>
                </a:lnTo>
                <a:lnTo>
                  <a:pt x="4504" y="1780"/>
                </a:lnTo>
                <a:lnTo>
                  <a:pt x="4503" y="1792"/>
                </a:lnTo>
                <a:lnTo>
                  <a:pt x="4501" y="1802"/>
                </a:lnTo>
                <a:lnTo>
                  <a:pt x="4499" y="1814"/>
                </a:lnTo>
                <a:lnTo>
                  <a:pt x="4497" y="1824"/>
                </a:lnTo>
                <a:lnTo>
                  <a:pt x="4494" y="1834"/>
                </a:lnTo>
                <a:lnTo>
                  <a:pt x="4492" y="1844"/>
                </a:lnTo>
                <a:lnTo>
                  <a:pt x="4485" y="1862"/>
                </a:lnTo>
                <a:lnTo>
                  <a:pt x="4482" y="1870"/>
                </a:lnTo>
                <a:lnTo>
                  <a:pt x="4478" y="1880"/>
                </a:lnTo>
                <a:lnTo>
                  <a:pt x="4470" y="1894"/>
                </a:lnTo>
                <a:lnTo>
                  <a:pt x="4465" y="1902"/>
                </a:lnTo>
                <a:lnTo>
                  <a:pt x="4460" y="1908"/>
                </a:lnTo>
                <a:lnTo>
                  <a:pt x="4455" y="1914"/>
                </a:lnTo>
                <a:lnTo>
                  <a:pt x="4450" y="1920"/>
                </a:lnTo>
                <a:lnTo>
                  <a:pt x="4439" y="1930"/>
                </a:lnTo>
                <a:lnTo>
                  <a:pt x="4427" y="1938"/>
                </a:lnTo>
                <a:lnTo>
                  <a:pt x="4414" y="1946"/>
                </a:lnTo>
                <a:lnTo>
                  <a:pt x="4400" y="1950"/>
                </a:lnTo>
                <a:lnTo>
                  <a:pt x="4393" y="1952"/>
                </a:lnTo>
                <a:lnTo>
                  <a:pt x="4386" y="1952"/>
                </a:lnTo>
                <a:lnTo>
                  <a:pt x="4370" y="195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7DE48D-705B-612C-7DFA-B303012D79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98587" y="5517232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F5A17A4-EA2D-AFFF-38DF-9699B925DC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98587" y="5805264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1867781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6924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3755CC-1185-51FC-E3B8-4147606A50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E6B893-6B04-6927-CE94-9A66F78D614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D925BA-5B20-3CBA-B94B-28B753A84A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9DB9DA-0014-416F-A49F-5F0523B83842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7193C2-3638-0637-9E42-4D47B9D9F3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FAE3C4-91D4-D1BC-C03D-1496593FA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53113933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3755CC-1185-51FC-E3B8-4147606A50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5"/>
            <a:ext cx="10008494" cy="1008063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E6B893-6B04-6927-CE94-9A66F78D61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28775"/>
            <a:ext cx="10008493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D925BA-5B20-3CBA-B94B-28B753A84A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8C6F09-4074-4420-B54B-D211DD59A96D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7193C2-3638-0637-9E42-4D47B9D9F3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FAE3C4-91D4-D1BC-C03D-1496593FA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217567068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oitusdia Sinin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89437-0A9F-6907-E834-ECE3DB6251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1700" cy="2304529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BA9B7E5-3139-76AA-C2C3-60620F1D9B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4509120"/>
            <a:ext cx="9791700" cy="864096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98F4D-E89B-8263-EB37-8F8B305D4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3769D48-694E-4B28-9A79-FE5EA2D4027E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B5C31-D7B7-0A4A-9FF1-A8910751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9B765-A518-625F-2D82-59131FF13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CD5646D-347F-0693-85B7-82EEFAEE1F7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07368" y="333375"/>
            <a:ext cx="2325003" cy="504000"/>
          </a:xfrm>
          <a:custGeom>
            <a:avLst/>
            <a:gdLst>
              <a:gd name="T0" fmla="*/ 11 w 4507"/>
              <a:gd name="T1" fmla="*/ 18 h 1954"/>
              <a:gd name="T2" fmla="*/ 659 w 4507"/>
              <a:gd name="T3" fmla="*/ 297 h 1954"/>
              <a:gd name="T4" fmla="*/ 666 w 4507"/>
              <a:gd name="T5" fmla="*/ 916 h 1954"/>
              <a:gd name="T6" fmla="*/ 347 w 4507"/>
              <a:gd name="T7" fmla="*/ 880 h 1954"/>
              <a:gd name="T8" fmla="*/ 471 w 4507"/>
              <a:gd name="T9" fmla="*/ 675 h 1954"/>
              <a:gd name="T10" fmla="*/ 375 w 4507"/>
              <a:gd name="T11" fmla="*/ 401 h 1954"/>
              <a:gd name="T12" fmla="*/ 1722 w 4507"/>
              <a:gd name="T13" fmla="*/ 26 h 1954"/>
              <a:gd name="T14" fmla="*/ 1804 w 4507"/>
              <a:gd name="T15" fmla="*/ 309 h 1954"/>
              <a:gd name="T16" fmla="*/ 1741 w 4507"/>
              <a:gd name="T17" fmla="*/ 269 h 1954"/>
              <a:gd name="T18" fmla="*/ 1854 w 4507"/>
              <a:gd name="T19" fmla="*/ 788 h 1954"/>
              <a:gd name="T20" fmla="*/ 2410 w 4507"/>
              <a:gd name="T21" fmla="*/ 18 h 1954"/>
              <a:gd name="T22" fmla="*/ 3053 w 4507"/>
              <a:gd name="T23" fmla="*/ 553 h 1954"/>
              <a:gd name="T24" fmla="*/ 3419 w 4507"/>
              <a:gd name="T25" fmla="*/ 539 h 1954"/>
              <a:gd name="T26" fmla="*/ 3595 w 4507"/>
              <a:gd name="T27" fmla="*/ 659 h 1954"/>
              <a:gd name="T28" fmla="*/ 3699 w 4507"/>
              <a:gd name="T29" fmla="*/ 697 h 1954"/>
              <a:gd name="T30" fmla="*/ 3842 w 4507"/>
              <a:gd name="T31" fmla="*/ 595 h 1954"/>
              <a:gd name="T32" fmla="*/ 3700 w 4507"/>
              <a:gd name="T33" fmla="*/ 806 h 1954"/>
              <a:gd name="T34" fmla="*/ 3943 w 4507"/>
              <a:gd name="T35" fmla="*/ 725 h 1954"/>
              <a:gd name="T36" fmla="*/ 4018 w 4507"/>
              <a:gd name="T37" fmla="*/ 689 h 1954"/>
              <a:gd name="T38" fmla="*/ 4124 w 4507"/>
              <a:gd name="T39" fmla="*/ 581 h 1954"/>
              <a:gd name="T40" fmla="*/ 3931 w 4507"/>
              <a:gd name="T41" fmla="*/ 269 h 1954"/>
              <a:gd name="T42" fmla="*/ 4017 w 4507"/>
              <a:gd name="T43" fmla="*/ 6 h 1954"/>
              <a:gd name="T44" fmla="*/ 4117 w 4507"/>
              <a:gd name="T45" fmla="*/ 228 h 1954"/>
              <a:gd name="T46" fmla="*/ 4005 w 4507"/>
              <a:gd name="T47" fmla="*/ 134 h 1954"/>
              <a:gd name="T48" fmla="*/ 4123 w 4507"/>
              <a:gd name="T49" fmla="*/ 383 h 1954"/>
              <a:gd name="T50" fmla="*/ 4174 w 4507"/>
              <a:gd name="T51" fmla="*/ 697 h 1954"/>
              <a:gd name="T52" fmla="*/ 1767 w 4507"/>
              <a:gd name="T53" fmla="*/ 1273 h 1954"/>
              <a:gd name="T54" fmla="*/ 2197 w 4507"/>
              <a:gd name="T55" fmla="*/ 1926 h 1954"/>
              <a:gd name="T56" fmla="*/ 2114 w 4507"/>
              <a:gd name="T57" fmla="*/ 1551 h 1954"/>
              <a:gd name="T58" fmla="*/ 2226 w 4507"/>
              <a:gd name="T59" fmla="*/ 1156 h 1954"/>
              <a:gd name="T60" fmla="*/ 2385 w 4507"/>
              <a:gd name="T61" fmla="*/ 1313 h 1954"/>
              <a:gd name="T62" fmla="*/ 2373 w 4507"/>
              <a:gd name="T63" fmla="*/ 1834 h 1954"/>
              <a:gd name="T64" fmla="*/ 2227 w 4507"/>
              <a:gd name="T65" fmla="*/ 1271 h 1954"/>
              <a:gd name="T66" fmla="*/ 2192 w 4507"/>
              <a:gd name="T67" fmla="*/ 1738 h 1954"/>
              <a:gd name="T68" fmla="*/ 2323 w 4507"/>
              <a:gd name="T69" fmla="*/ 1760 h 1954"/>
              <a:gd name="T70" fmla="*/ 2273 w 4507"/>
              <a:gd name="T71" fmla="*/ 1259 h 1954"/>
              <a:gd name="T72" fmla="*/ 3321 w 4507"/>
              <a:gd name="T73" fmla="*/ 1954 h 1954"/>
              <a:gd name="T74" fmla="*/ 3265 w 4507"/>
              <a:gd name="T75" fmla="*/ 1693 h 1954"/>
              <a:gd name="T76" fmla="*/ 3380 w 4507"/>
              <a:gd name="T77" fmla="*/ 1832 h 1954"/>
              <a:gd name="T78" fmla="*/ 3369 w 4507"/>
              <a:gd name="T79" fmla="*/ 1625 h 1954"/>
              <a:gd name="T80" fmla="*/ 3218 w 4507"/>
              <a:gd name="T81" fmla="*/ 1279 h 1954"/>
              <a:gd name="T82" fmla="*/ 3426 w 4507"/>
              <a:gd name="T83" fmla="*/ 1198 h 1954"/>
              <a:gd name="T84" fmla="*/ 3370 w 4507"/>
              <a:gd name="T85" fmla="*/ 1265 h 1954"/>
              <a:gd name="T86" fmla="*/ 3279 w 4507"/>
              <a:gd name="T87" fmla="*/ 1379 h 1954"/>
              <a:gd name="T88" fmla="*/ 3471 w 4507"/>
              <a:gd name="T89" fmla="*/ 1675 h 1954"/>
              <a:gd name="T90" fmla="*/ 3381 w 4507"/>
              <a:gd name="T91" fmla="*/ 1946 h 1954"/>
              <a:gd name="T92" fmla="*/ 3620 w 4507"/>
              <a:gd name="T93" fmla="*/ 1772 h 1954"/>
              <a:gd name="T94" fmla="*/ 3736 w 4507"/>
              <a:gd name="T95" fmla="*/ 1772 h 1954"/>
              <a:gd name="T96" fmla="*/ 3756 w 4507"/>
              <a:gd name="T97" fmla="*/ 1914 h 1954"/>
              <a:gd name="T98" fmla="*/ 3915 w 4507"/>
              <a:gd name="T99" fmla="*/ 1828 h 1954"/>
              <a:gd name="T100" fmla="*/ 4005 w 4507"/>
              <a:gd name="T101" fmla="*/ 1838 h 1954"/>
              <a:gd name="T102" fmla="*/ 4160 w 4507"/>
              <a:gd name="T103" fmla="*/ 1697 h 1954"/>
              <a:gd name="T104" fmla="*/ 4039 w 4507"/>
              <a:gd name="T105" fmla="*/ 1954 h 1954"/>
              <a:gd name="T106" fmla="*/ 4268 w 4507"/>
              <a:gd name="T107" fmla="*/ 1888 h 1954"/>
              <a:gd name="T108" fmla="*/ 4324 w 4507"/>
              <a:gd name="T109" fmla="*/ 1824 h 1954"/>
              <a:gd name="T110" fmla="*/ 4442 w 4507"/>
              <a:gd name="T111" fmla="*/ 1752 h 1954"/>
              <a:gd name="T112" fmla="*/ 4255 w 4507"/>
              <a:gd name="T113" fmla="*/ 1447 h 1954"/>
              <a:gd name="T114" fmla="*/ 4311 w 4507"/>
              <a:gd name="T115" fmla="*/ 1166 h 1954"/>
              <a:gd name="T116" fmla="*/ 4497 w 4507"/>
              <a:gd name="T117" fmla="*/ 1331 h 1954"/>
              <a:gd name="T118" fmla="*/ 4336 w 4507"/>
              <a:gd name="T119" fmla="*/ 1267 h 1954"/>
              <a:gd name="T120" fmla="*/ 4359 w 4507"/>
              <a:gd name="T121" fmla="*/ 1457 h 1954"/>
              <a:gd name="T122" fmla="*/ 4499 w 4507"/>
              <a:gd name="T123" fmla="*/ 1814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507" h="1954">
                <a:moveTo>
                  <a:pt x="4307" y="327"/>
                </a:moveTo>
                <a:lnTo>
                  <a:pt x="4377" y="327"/>
                </a:lnTo>
                <a:lnTo>
                  <a:pt x="4377" y="463"/>
                </a:lnTo>
                <a:lnTo>
                  <a:pt x="4307" y="463"/>
                </a:lnTo>
                <a:lnTo>
                  <a:pt x="4307" y="327"/>
                </a:lnTo>
                <a:close/>
                <a:moveTo>
                  <a:pt x="1248" y="18"/>
                </a:moveTo>
                <a:lnTo>
                  <a:pt x="1248" y="473"/>
                </a:lnTo>
                <a:lnTo>
                  <a:pt x="1051" y="473"/>
                </a:lnTo>
                <a:lnTo>
                  <a:pt x="1051" y="1936"/>
                </a:lnTo>
                <a:lnTo>
                  <a:pt x="821" y="1936"/>
                </a:lnTo>
                <a:lnTo>
                  <a:pt x="821" y="473"/>
                </a:lnTo>
                <a:lnTo>
                  <a:pt x="655" y="18"/>
                </a:lnTo>
                <a:lnTo>
                  <a:pt x="1248" y="18"/>
                </a:lnTo>
                <a:close/>
                <a:moveTo>
                  <a:pt x="0" y="1481"/>
                </a:moveTo>
                <a:lnTo>
                  <a:pt x="230" y="1481"/>
                </a:lnTo>
                <a:lnTo>
                  <a:pt x="230" y="1936"/>
                </a:lnTo>
                <a:lnTo>
                  <a:pt x="0" y="1936"/>
                </a:lnTo>
                <a:lnTo>
                  <a:pt x="0" y="1481"/>
                </a:lnTo>
                <a:close/>
                <a:moveTo>
                  <a:pt x="487" y="1186"/>
                </a:moveTo>
                <a:lnTo>
                  <a:pt x="752" y="1936"/>
                </a:lnTo>
                <a:lnTo>
                  <a:pt x="495" y="1936"/>
                </a:lnTo>
                <a:lnTo>
                  <a:pt x="11" y="559"/>
                </a:lnTo>
                <a:lnTo>
                  <a:pt x="11" y="18"/>
                </a:lnTo>
                <a:lnTo>
                  <a:pt x="309" y="18"/>
                </a:lnTo>
                <a:lnTo>
                  <a:pt x="335" y="18"/>
                </a:lnTo>
                <a:lnTo>
                  <a:pt x="359" y="20"/>
                </a:lnTo>
                <a:lnTo>
                  <a:pt x="382" y="24"/>
                </a:lnTo>
                <a:lnTo>
                  <a:pt x="404" y="30"/>
                </a:lnTo>
                <a:lnTo>
                  <a:pt x="426" y="36"/>
                </a:lnTo>
                <a:lnTo>
                  <a:pt x="447" y="44"/>
                </a:lnTo>
                <a:lnTo>
                  <a:pt x="467" y="52"/>
                </a:lnTo>
                <a:lnTo>
                  <a:pt x="476" y="58"/>
                </a:lnTo>
                <a:lnTo>
                  <a:pt x="486" y="62"/>
                </a:lnTo>
                <a:lnTo>
                  <a:pt x="504" y="74"/>
                </a:lnTo>
                <a:lnTo>
                  <a:pt x="521" y="88"/>
                </a:lnTo>
                <a:lnTo>
                  <a:pt x="538" y="102"/>
                </a:lnTo>
                <a:lnTo>
                  <a:pt x="553" y="116"/>
                </a:lnTo>
                <a:lnTo>
                  <a:pt x="569" y="132"/>
                </a:lnTo>
                <a:lnTo>
                  <a:pt x="583" y="150"/>
                </a:lnTo>
                <a:lnTo>
                  <a:pt x="596" y="168"/>
                </a:lnTo>
                <a:lnTo>
                  <a:pt x="609" y="188"/>
                </a:lnTo>
                <a:lnTo>
                  <a:pt x="620" y="208"/>
                </a:lnTo>
                <a:lnTo>
                  <a:pt x="631" y="230"/>
                </a:lnTo>
                <a:lnTo>
                  <a:pt x="641" y="251"/>
                </a:lnTo>
                <a:lnTo>
                  <a:pt x="650" y="273"/>
                </a:lnTo>
                <a:lnTo>
                  <a:pt x="659" y="297"/>
                </a:lnTo>
                <a:lnTo>
                  <a:pt x="666" y="323"/>
                </a:lnTo>
                <a:lnTo>
                  <a:pt x="673" y="349"/>
                </a:lnTo>
                <a:lnTo>
                  <a:pt x="680" y="375"/>
                </a:lnTo>
                <a:lnTo>
                  <a:pt x="685" y="401"/>
                </a:lnTo>
                <a:lnTo>
                  <a:pt x="690" y="429"/>
                </a:lnTo>
                <a:lnTo>
                  <a:pt x="694" y="459"/>
                </a:lnTo>
                <a:lnTo>
                  <a:pt x="697" y="487"/>
                </a:lnTo>
                <a:lnTo>
                  <a:pt x="699" y="517"/>
                </a:lnTo>
                <a:lnTo>
                  <a:pt x="701" y="547"/>
                </a:lnTo>
                <a:lnTo>
                  <a:pt x="702" y="579"/>
                </a:lnTo>
                <a:lnTo>
                  <a:pt x="703" y="611"/>
                </a:lnTo>
                <a:lnTo>
                  <a:pt x="702" y="661"/>
                </a:lnTo>
                <a:lnTo>
                  <a:pt x="701" y="687"/>
                </a:lnTo>
                <a:lnTo>
                  <a:pt x="699" y="711"/>
                </a:lnTo>
                <a:lnTo>
                  <a:pt x="697" y="735"/>
                </a:lnTo>
                <a:lnTo>
                  <a:pt x="695" y="758"/>
                </a:lnTo>
                <a:lnTo>
                  <a:pt x="692" y="782"/>
                </a:lnTo>
                <a:lnTo>
                  <a:pt x="689" y="806"/>
                </a:lnTo>
                <a:lnTo>
                  <a:pt x="685" y="830"/>
                </a:lnTo>
                <a:lnTo>
                  <a:pt x="681" y="852"/>
                </a:lnTo>
                <a:lnTo>
                  <a:pt x="677" y="874"/>
                </a:lnTo>
                <a:lnTo>
                  <a:pt x="672" y="896"/>
                </a:lnTo>
                <a:lnTo>
                  <a:pt x="666" y="916"/>
                </a:lnTo>
                <a:lnTo>
                  <a:pt x="661" y="938"/>
                </a:lnTo>
                <a:lnTo>
                  <a:pt x="655" y="958"/>
                </a:lnTo>
                <a:lnTo>
                  <a:pt x="648" y="976"/>
                </a:lnTo>
                <a:lnTo>
                  <a:pt x="641" y="996"/>
                </a:lnTo>
                <a:lnTo>
                  <a:pt x="634" y="1014"/>
                </a:lnTo>
                <a:lnTo>
                  <a:pt x="626" y="1030"/>
                </a:lnTo>
                <a:lnTo>
                  <a:pt x="618" y="1048"/>
                </a:lnTo>
                <a:lnTo>
                  <a:pt x="609" y="1064"/>
                </a:lnTo>
                <a:lnTo>
                  <a:pt x="600" y="1080"/>
                </a:lnTo>
                <a:lnTo>
                  <a:pt x="591" y="1094"/>
                </a:lnTo>
                <a:lnTo>
                  <a:pt x="581" y="1108"/>
                </a:lnTo>
                <a:lnTo>
                  <a:pt x="571" y="1120"/>
                </a:lnTo>
                <a:lnTo>
                  <a:pt x="559" y="1132"/>
                </a:lnTo>
                <a:lnTo>
                  <a:pt x="548" y="1144"/>
                </a:lnTo>
                <a:lnTo>
                  <a:pt x="537" y="1154"/>
                </a:lnTo>
                <a:lnTo>
                  <a:pt x="525" y="1164"/>
                </a:lnTo>
                <a:lnTo>
                  <a:pt x="513" y="1172"/>
                </a:lnTo>
                <a:lnTo>
                  <a:pt x="500" y="1180"/>
                </a:lnTo>
                <a:lnTo>
                  <a:pt x="487" y="1186"/>
                </a:lnTo>
                <a:close/>
                <a:moveTo>
                  <a:pt x="239" y="391"/>
                </a:moveTo>
                <a:lnTo>
                  <a:pt x="239" y="880"/>
                </a:lnTo>
                <a:lnTo>
                  <a:pt x="337" y="880"/>
                </a:lnTo>
                <a:lnTo>
                  <a:pt x="347" y="880"/>
                </a:lnTo>
                <a:lnTo>
                  <a:pt x="357" y="880"/>
                </a:lnTo>
                <a:lnTo>
                  <a:pt x="367" y="878"/>
                </a:lnTo>
                <a:lnTo>
                  <a:pt x="376" y="874"/>
                </a:lnTo>
                <a:lnTo>
                  <a:pt x="384" y="872"/>
                </a:lnTo>
                <a:lnTo>
                  <a:pt x="392" y="868"/>
                </a:lnTo>
                <a:lnTo>
                  <a:pt x="400" y="862"/>
                </a:lnTo>
                <a:lnTo>
                  <a:pt x="407" y="858"/>
                </a:lnTo>
                <a:lnTo>
                  <a:pt x="413" y="852"/>
                </a:lnTo>
                <a:lnTo>
                  <a:pt x="419" y="844"/>
                </a:lnTo>
                <a:lnTo>
                  <a:pt x="425" y="838"/>
                </a:lnTo>
                <a:lnTo>
                  <a:pt x="430" y="830"/>
                </a:lnTo>
                <a:lnTo>
                  <a:pt x="435" y="822"/>
                </a:lnTo>
                <a:lnTo>
                  <a:pt x="440" y="814"/>
                </a:lnTo>
                <a:lnTo>
                  <a:pt x="444" y="806"/>
                </a:lnTo>
                <a:lnTo>
                  <a:pt x="448" y="796"/>
                </a:lnTo>
                <a:lnTo>
                  <a:pt x="451" y="788"/>
                </a:lnTo>
                <a:lnTo>
                  <a:pt x="454" y="778"/>
                </a:lnTo>
                <a:lnTo>
                  <a:pt x="457" y="768"/>
                </a:lnTo>
                <a:lnTo>
                  <a:pt x="460" y="758"/>
                </a:lnTo>
                <a:lnTo>
                  <a:pt x="464" y="738"/>
                </a:lnTo>
                <a:lnTo>
                  <a:pt x="467" y="717"/>
                </a:lnTo>
                <a:lnTo>
                  <a:pt x="470" y="697"/>
                </a:lnTo>
                <a:lnTo>
                  <a:pt x="471" y="675"/>
                </a:lnTo>
                <a:lnTo>
                  <a:pt x="472" y="655"/>
                </a:lnTo>
                <a:lnTo>
                  <a:pt x="472" y="635"/>
                </a:lnTo>
                <a:lnTo>
                  <a:pt x="472" y="615"/>
                </a:lnTo>
                <a:lnTo>
                  <a:pt x="470" y="593"/>
                </a:lnTo>
                <a:lnTo>
                  <a:pt x="468" y="573"/>
                </a:lnTo>
                <a:lnTo>
                  <a:pt x="464" y="551"/>
                </a:lnTo>
                <a:lnTo>
                  <a:pt x="462" y="541"/>
                </a:lnTo>
                <a:lnTo>
                  <a:pt x="459" y="531"/>
                </a:lnTo>
                <a:lnTo>
                  <a:pt x="457" y="521"/>
                </a:lnTo>
                <a:lnTo>
                  <a:pt x="454" y="511"/>
                </a:lnTo>
                <a:lnTo>
                  <a:pt x="447" y="491"/>
                </a:lnTo>
                <a:lnTo>
                  <a:pt x="443" y="483"/>
                </a:lnTo>
                <a:lnTo>
                  <a:pt x="439" y="473"/>
                </a:lnTo>
                <a:lnTo>
                  <a:pt x="435" y="465"/>
                </a:lnTo>
                <a:lnTo>
                  <a:pt x="430" y="457"/>
                </a:lnTo>
                <a:lnTo>
                  <a:pt x="420" y="441"/>
                </a:lnTo>
                <a:lnTo>
                  <a:pt x="414" y="433"/>
                </a:lnTo>
                <a:lnTo>
                  <a:pt x="408" y="427"/>
                </a:lnTo>
                <a:lnTo>
                  <a:pt x="402" y="421"/>
                </a:lnTo>
                <a:lnTo>
                  <a:pt x="396" y="415"/>
                </a:lnTo>
                <a:lnTo>
                  <a:pt x="389" y="409"/>
                </a:lnTo>
                <a:lnTo>
                  <a:pt x="382" y="405"/>
                </a:lnTo>
                <a:lnTo>
                  <a:pt x="375" y="401"/>
                </a:lnTo>
                <a:lnTo>
                  <a:pt x="367" y="397"/>
                </a:lnTo>
                <a:lnTo>
                  <a:pt x="359" y="395"/>
                </a:lnTo>
                <a:lnTo>
                  <a:pt x="351" y="393"/>
                </a:lnTo>
                <a:lnTo>
                  <a:pt x="333" y="391"/>
                </a:lnTo>
                <a:lnTo>
                  <a:pt x="239" y="391"/>
                </a:lnTo>
                <a:close/>
                <a:moveTo>
                  <a:pt x="1780" y="395"/>
                </a:moveTo>
                <a:lnTo>
                  <a:pt x="1776" y="403"/>
                </a:lnTo>
                <a:lnTo>
                  <a:pt x="1772" y="411"/>
                </a:lnTo>
                <a:lnTo>
                  <a:pt x="1763" y="423"/>
                </a:lnTo>
                <a:lnTo>
                  <a:pt x="1754" y="433"/>
                </a:lnTo>
                <a:lnTo>
                  <a:pt x="1743" y="443"/>
                </a:lnTo>
                <a:lnTo>
                  <a:pt x="1814" y="788"/>
                </a:lnTo>
                <a:lnTo>
                  <a:pt x="1742" y="788"/>
                </a:lnTo>
                <a:lnTo>
                  <a:pt x="1683" y="465"/>
                </a:lnTo>
                <a:lnTo>
                  <a:pt x="1607" y="465"/>
                </a:lnTo>
                <a:lnTo>
                  <a:pt x="1607" y="788"/>
                </a:lnTo>
                <a:lnTo>
                  <a:pt x="1543" y="788"/>
                </a:lnTo>
                <a:lnTo>
                  <a:pt x="1543" y="18"/>
                </a:lnTo>
                <a:lnTo>
                  <a:pt x="1681" y="18"/>
                </a:lnTo>
                <a:lnTo>
                  <a:pt x="1696" y="18"/>
                </a:lnTo>
                <a:lnTo>
                  <a:pt x="1703" y="20"/>
                </a:lnTo>
                <a:lnTo>
                  <a:pt x="1710" y="22"/>
                </a:lnTo>
                <a:lnTo>
                  <a:pt x="1722" y="26"/>
                </a:lnTo>
                <a:lnTo>
                  <a:pt x="1734" y="32"/>
                </a:lnTo>
                <a:lnTo>
                  <a:pt x="1745" y="40"/>
                </a:lnTo>
                <a:lnTo>
                  <a:pt x="1755" y="50"/>
                </a:lnTo>
                <a:lnTo>
                  <a:pt x="1765" y="62"/>
                </a:lnTo>
                <a:lnTo>
                  <a:pt x="1769" y="68"/>
                </a:lnTo>
                <a:lnTo>
                  <a:pt x="1773" y="76"/>
                </a:lnTo>
                <a:lnTo>
                  <a:pt x="1781" y="92"/>
                </a:lnTo>
                <a:lnTo>
                  <a:pt x="1788" y="108"/>
                </a:lnTo>
                <a:lnTo>
                  <a:pt x="1791" y="118"/>
                </a:lnTo>
                <a:lnTo>
                  <a:pt x="1794" y="126"/>
                </a:lnTo>
                <a:lnTo>
                  <a:pt x="1799" y="146"/>
                </a:lnTo>
                <a:lnTo>
                  <a:pt x="1803" y="168"/>
                </a:lnTo>
                <a:lnTo>
                  <a:pt x="1805" y="178"/>
                </a:lnTo>
                <a:lnTo>
                  <a:pt x="1806" y="190"/>
                </a:lnTo>
                <a:lnTo>
                  <a:pt x="1807" y="200"/>
                </a:lnTo>
                <a:lnTo>
                  <a:pt x="1808" y="212"/>
                </a:lnTo>
                <a:lnTo>
                  <a:pt x="1808" y="224"/>
                </a:lnTo>
                <a:lnTo>
                  <a:pt x="1808" y="236"/>
                </a:lnTo>
                <a:lnTo>
                  <a:pt x="1808" y="263"/>
                </a:lnTo>
                <a:lnTo>
                  <a:pt x="1807" y="275"/>
                </a:lnTo>
                <a:lnTo>
                  <a:pt x="1806" y="287"/>
                </a:lnTo>
                <a:lnTo>
                  <a:pt x="1805" y="299"/>
                </a:lnTo>
                <a:lnTo>
                  <a:pt x="1804" y="309"/>
                </a:lnTo>
                <a:lnTo>
                  <a:pt x="1801" y="331"/>
                </a:lnTo>
                <a:lnTo>
                  <a:pt x="1797" y="349"/>
                </a:lnTo>
                <a:lnTo>
                  <a:pt x="1792" y="367"/>
                </a:lnTo>
                <a:lnTo>
                  <a:pt x="1786" y="381"/>
                </a:lnTo>
                <a:lnTo>
                  <a:pt x="1780" y="395"/>
                </a:lnTo>
                <a:close/>
                <a:moveTo>
                  <a:pt x="1678" y="122"/>
                </a:moveTo>
                <a:lnTo>
                  <a:pt x="1607" y="122"/>
                </a:lnTo>
                <a:lnTo>
                  <a:pt x="1607" y="365"/>
                </a:lnTo>
                <a:lnTo>
                  <a:pt x="1678" y="365"/>
                </a:lnTo>
                <a:lnTo>
                  <a:pt x="1686" y="363"/>
                </a:lnTo>
                <a:lnTo>
                  <a:pt x="1694" y="361"/>
                </a:lnTo>
                <a:lnTo>
                  <a:pt x="1700" y="359"/>
                </a:lnTo>
                <a:lnTo>
                  <a:pt x="1707" y="355"/>
                </a:lnTo>
                <a:lnTo>
                  <a:pt x="1712" y="351"/>
                </a:lnTo>
                <a:lnTo>
                  <a:pt x="1717" y="345"/>
                </a:lnTo>
                <a:lnTo>
                  <a:pt x="1722" y="339"/>
                </a:lnTo>
                <a:lnTo>
                  <a:pt x="1726" y="331"/>
                </a:lnTo>
                <a:lnTo>
                  <a:pt x="1730" y="323"/>
                </a:lnTo>
                <a:lnTo>
                  <a:pt x="1733" y="313"/>
                </a:lnTo>
                <a:lnTo>
                  <a:pt x="1736" y="303"/>
                </a:lnTo>
                <a:lnTo>
                  <a:pt x="1738" y="293"/>
                </a:lnTo>
                <a:lnTo>
                  <a:pt x="1740" y="281"/>
                </a:lnTo>
                <a:lnTo>
                  <a:pt x="1741" y="269"/>
                </a:lnTo>
                <a:lnTo>
                  <a:pt x="1742" y="257"/>
                </a:lnTo>
                <a:lnTo>
                  <a:pt x="1742" y="244"/>
                </a:lnTo>
                <a:lnTo>
                  <a:pt x="1742" y="230"/>
                </a:lnTo>
                <a:lnTo>
                  <a:pt x="1742" y="218"/>
                </a:lnTo>
                <a:lnTo>
                  <a:pt x="1740" y="206"/>
                </a:lnTo>
                <a:lnTo>
                  <a:pt x="1739" y="194"/>
                </a:lnTo>
                <a:lnTo>
                  <a:pt x="1737" y="184"/>
                </a:lnTo>
                <a:lnTo>
                  <a:pt x="1734" y="174"/>
                </a:lnTo>
                <a:lnTo>
                  <a:pt x="1731" y="164"/>
                </a:lnTo>
                <a:lnTo>
                  <a:pt x="1728" y="156"/>
                </a:lnTo>
                <a:lnTo>
                  <a:pt x="1723" y="148"/>
                </a:lnTo>
                <a:lnTo>
                  <a:pt x="1719" y="142"/>
                </a:lnTo>
                <a:lnTo>
                  <a:pt x="1713" y="136"/>
                </a:lnTo>
                <a:lnTo>
                  <a:pt x="1708" y="132"/>
                </a:lnTo>
                <a:lnTo>
                  <a:pt x="1701" y="128"/>
                </a:lnTo>
                <a:lnTo>
                  <a:pt x="1694" y="124"/>
                </a:lnTo>
                <a:lnTo>
                  <a:pt x="1686" y="122"/>
                </a:lnTo>
                <a:lnTo>
                  <a:pt x="1678" y="122"/>
                </a:lnTo>
                <a:close/>
                <a:moveTo>
                  <a:pt x="2090" y="788"/>
                </a:moveTo>
                <a:lnTo>
                  <a:pt x="2069" y="635"/>
                </a:lnTo>
                <a:lnTo>
                  <a:pt x="1942" y="635"/>
                </a:lnTo>
                <a:lnTo>
                  <a:pt x="1921" y="788"/>
                </a:lnTo>
                <a:lnTo>
                  <a:pt x="1854" y="788"/>
                </a:lnTo>
                <a:lnTo>
                  <a:pt x="1975" y="18"/>
                </a:lnTo>
                <a:lnTo>
                  <a:pt x="2037" y="18"/>
                </a:lnTo>
                <a:lnTo>
                  <a:pt x="2160" y="788"/>
                </a:lnTo>
                <a:lnTo>
                  <a:pt x="2090" y="788"/>
                </a:lnTo>
                <a:close/>
                <a:moveTo>
                  <a:pt x="2026" y="323"/>
                </a:moveTo>
                <a:lnTo>
                  <a:pt x="2015" y="250"/>
                </a:lnTo>
                <a:lnTo>
                  <a:pt x="2010" y="210"/>
                </a:lnTo>
                <a:lnTo>
                  <a:pt x="2006" y="170"/>
                </a:lnTo>
                <a:lnTo>
                  <a:pt x="2001" y="210"/>
                </a:lnTo>
                <a:lnTo>
                  <a:pt x="1996" y="250"/>
                </a:lnTo>
                <a:lnTo>
                  <a:pt x="1986" y="325"/>
                </a:lnTo>
                <a:lnTo>
                  <a:pt x="1957" y="529"/>
                </a:lnTo>
                <a:lnTo>
                  <a:pt x="2053" y="529"/>
                </a:lnTo>
                <a:lnTo>
                  <a:pt x="2026" y="323"/>
                </a:lnTo>
                <a:close/>
                <a:moveTo>
                  <a:pt x="2419" y="788"/>
                </a:moveTo>
                <a:lnTo>
                  <a:pt x="2323" y="431"/>
                </a:lnTo>
                <a:lnTo>
                  <a:pt x="2285" y="527"/>
                </a:lnTo>
                <a:lnTo>
                  <a:pt x="2285" y="788"/>
                </a:lnTo>
                <a:lnTo>
                  <a:pt x="2220" y="788"/>
                </a:lnTo>
                <a:lnTo>
                  <a:pt x="2220" y="18"/>
                </a:lnTo>
                <a:lnTo>
                  <a:pt x="2285" y="18"/>
                </a:lnTo>
                <a:lnTo>
                  <a:pt x="2285" y="347"/>
                </a:lnTo>
                <a:lnTo>
                  <a:pt x="2410" y="18"/>
                </a:lnTo>
                <a:lnTo>
                  <a:pt x="2492" y="18"/>
                </a:lnTo>
                <a:lnTo>
                  <a:pt x="2363" y="333"/>
                </a:lnTo>
                <a:lnTo>
                  <a:pt x="2498" y="788"/>
                </a:lnTo>
                <a:lnTo>
                  <a:pt x="2419" y="788"/>
                </a:lnTo>
                <a:close/>
                <a:moveTo>
                  <a:pt x="2558" y="788"/>
                </a:moveTo>
                <a:lnTo>
                  <a:pt x="2558" y="18"/>
                </a:lnTo>
                <a:lnTo>
                  <a:pt x="2786" y="18"/>
                </a:lnTo>
                <a:lnTo>
                  <a:pt x="2786" y="126"/>
                </a:lnTo>
                <a:lnTo>
                  <a:pt x="2623" y="126"/>
                </a:lnTo>
                <a:lnTo>
                  <a:pt x="2623" y="341"/>
                </a:lnTo>
                <a:lnTo>
                  <a:pt x="2756" y="341"/>
                </a:lnTo>
                <a:lnTo>
                  <a:pt x="2756" y="445"/>
                </a:lnTo>
                <a:lnTo>
                  <a:pt x="2623" y="445"/>
                </a:lnTo>
                <a:lnTo>
                  <a:pt x="2623" y="683"/>
                </a:lnTo>
                <a:lnTo>
                  <a:pt x="2786" y="683"/>
                </a:lnTo>
                <a:lnTo>
                  <a:pt x="2786" y="788"/>
                </a:lnTo>
                <a:lnTo>
                  <a:pt x="2558" y="788"/>
                </a:lnTo>
                <a:close/>
                <a:moveTo>
                  <a:pt x="2939" y="18"/>
                </a:moveTo>
                <a:lnTo>
                  <a:pt x="3030" y="439"/>
                </a:lnTo>
                <a:lnTo>
                  <a:pt x="3038" y="477"/>
                </a:lnTo>
                <a:lnTo>
                  <a:pt x="3042" y="495"/>
                </a:lnTo>
                <a:lnTo>
                  <a:pt x="3046" y="515"/>
                </a:lnTo>
                <a:lnTo>
                  <a:pt x="3053" y="553"/>
                </a:lnTo>
                <a:lnTo>
                  <a:pt x="3060" y="595"/>
                </a:lnTo>
                <a:lnTo>
                  <a:pt x="3060" y="509"/>
                </a:lnTo>
                <a:lnTo>
                  <a:pt x="3059" y="421"/>
                </a:lnTo>
                <a:lnTo>
                  <a:pt x="3059" y="18"/>
                </a:lnTo>
                <a:lnTo>
                  <a:pt x="3124" y="18"/>
                </a:lnTo>
                <a:lnTo>
                  <a:pt x="3124" y="788"/>
                </a:lnTo>
                <a:lnTo>
                  <a:pt x="3046" y="788"/>
                </a:lnTo>
                <a:lnTo>
                  <a:pt x="2954" y="369"/>
                </a:lnTo>
                <a:lnTo>
                  <a:pt x="2946" y="331"/>
                </a:lnTo>
                <a:lnTo>
                  <a:pt x="2938" y="293"/>
                </a:lnTo>
                <a:lnTo>
                  <a:pt x="2931" y="255"/>
                </a:lnTo>
                <a:lnTo>
                  <a:pt x="2923" y="214"/>
                </a:lnTo>
                <a:lnTo>
                  <a:pt x="2924" y="389"/>
                </a:lnTo>
                <a:lnTo>
                  <a:pt x="2924" y="790"/>
                </a:lnTo>
                <a:lnTo>
                  <a:pt x="2859" y="790"/>
                </a:lnTo>
                <a:lnTo>
                  <a:pt x="2859" y="18"/>
                </a:lnTo>
                <a:lnTo>
                  <a:pt x="2939" y="18"/>
                </a:lnTo>
                <a:close/>
                <a:moveTo>
                  <a:pt x="3306" y="18"/>
                </a:moveTo>
                <a:lnTo>
                  <a:pt x="3396" y="425"/>
                </a:lnTo>
                <a:lnTo>
                  <a:pt x="3404" y="463"/>
                </a:lnTo>
                <a:lnTo>
                  <a:pt x="3408" y="481"/>
                </a:lnTo>
                <a:lnTo>
                  <a:pt x="3412" y="501"/>
                </a:lnTo>
                <a:lnTo>
                  <a:pt x="3419" y="539"/>
                </a:lnTo>
                <a:lnTo>
                  <a:pt x="3426" y="581"/>
                </a:lnTo>
                <a:lnTo>
                  <a:pt x="3426" y="495"/>
                </a:lnTo>
                <a:lnTo>
                  <a:pt x="3426" y="407"/>
                </a:lnTo>
                <a:lnTo>
                  <a:pt x="3426" y="18"/>
                </a:lnTo>
                <a:lnTo>
                  <a:pt x="3491" y="18"/>
                </a:lnTo>
                <a:lnTo>
                  <a:pt x="3491" y="788"/>
                </a:lnTo>
                <a:lnTo>
                  <a:pt x="3412" y="788"/>
                </a:lnTo>
                <a:lnTo>
                  <a:pt x="3320" y="383"/>
                </a:lnTo>
                <a:lnTo>
                  <a:pt x="3312" y="345"/>
                </a:lnTo>
                <a:lnTo>
                  <a:pt x="3305" y="307"/>
                </a:lnTo>
                <a:lnTo>
                  <a:pt x="3297" y="269"/>
                </a:lnTo>
                <a:lnTo>
                  <a:pt x="3290" y="228"/>
                </a:lnTo>
                <a:lnTo>
                  <a:pt x="3290" y="403"/>
                </a:lnTo>
                <a:lnTo>
                  <a:pt x="3290" y="788"/>
                </a:lnTo>
                <a:lnTo>
                  <a:pt x="3226" y="788"/>
                </a:lnTo>
                <a:lnTo>
                  <a:pt x="3226" y="18"/>
                </a:lnTo>
                <a:lnTo>
                  <a:pt x="3306" y="18"/>
                </a:lnTo>
                <a:close/>
                <a:moveTo>
                  <a:pt x="3618" y="735"/>
                </a:moveTo>
                <a:lnTo>
                  <a:pt x="3611" y="719"/>
                </a:lnTo>
                <a:lnTo>
                  <a:pt x="3605" y="701"/>
                </a:lnTo>
                <a:lnTo>
                  <a:pt x="3599" y="681"/>
                </a:lnTo>
                <a:lnTo>
                  <a:pt x="3597" y="669"/>
                </a:lnTo>
                <a:lnTo>
                  <a:pt x="3595" y="659"/>
                </a:lnTo>
                <a:lnTo>
                  <a:pt x="3591" y="635"/>
                </a:lnTo>
                <a:lnTo>
                  <a:pt x="3589" y="609"/>
                </a:lnTo>
                <a:lnTo>
                  <a:pt x="3588" y="595"/>
                </a:lnTo>
                <a:lnTo>
                  <a:pt x="3587" y="581"/>
                </a:lnTo>
                <a:lnTo>
                  <a:pt x="3587" y="549"/>
                </a:lnTo>
                <a:lnTo>
                  <a:pt x="3587" y="18"/>
                </a:lnTo>
                <a:lnTo>
                  <a:pt x="3652" y="18"/>
                </a:lnTo>
                <a:lnTo>
                  <a:pt x="3652" y="543"/>
                </a:lnTo>
                <a:lnTo>
                  <a:pt x="3652" y="563"/>
                </a:lnTo>
                <a:lnTo>
                  <a:pt x="3652" y="581"/>
                </a:lnTo>
                <a:lnTo>
                  <a:pt x="3653" y="597"/>
                </a:lnTo>
                <a:lnTo>
                  <a:pt x="3655" y="611"/>
                </a:lnTo>
                <a:lnTo>
                  <a:pt x="3657" y="625"/>
                </a:lnTo>
                <a:lnTo>
                  <a:pt x="3659" y="637"/>
                </a:lnTo>
                <a:lnTo>
                  <a:pt x="3662" y="649"/>
                </a:lnTo>
                <a:lnTo>
                  <a:pt x="3665" y="659"/>
                </a:lnTo>
                <a:lnTo>
                  <a:pt x="3669" y="667"/>
                </a:lnTo>
                <a:lnTo>
                  <a:pt x="3674" y="675"/>
                </a:lnTo>
                <a:lnTo>
                  <a:pt x="3679" y="683"/>
                </a:lnTo>
                <a:lnTo>
                  <a:pt x="3685" y="689"/>
                </a:lnTo>
                <a:lnTo>
                  <a:pt x="3688" y="691"/>
                </a:lnTo>
                <a:lnTo>
                  <a:pt x="3692" y="693"/>
                </a:lnTo>
                <a:lnTo>
                  <a:pt x="3699" y="697"/>
                </a:lnTo>
                <a:lnTo>
                  <a:pt x="3706" y="699"/>
                </a:lnTo>
                <a:lnTo>
                  <a:pt x="3715" y="699"/>
                </a:lnTo>
                <a:lnTo>
                  <a:pt x="3723" y="699"/>
                </a:lnTo>
                <a:lnTo>
                  <a:pt x="3731" y="697"/>
                </a:lnTo>
                <a:lnTo>
                  <a:pt x="3738" y="693"/>
                </a:lnTo>
                <a:lnTo>
                  <a:pt x="3744" y="689"/>
                </a:lnTo>
                <a:lnTo>
                  <a:pt x="3750" y="683"/>
                </a:lnTo>
                <a:lnTo>
                  <a:pt x="3755" y="675"/>
                </a:lnTo>
                <a:lnTo>
                  <a:pt x="3760" y="667"/>
                </a:lnTo>
                <a:lnTo>
                  <a:pt x="3764" y="659"/>
                </a:lnTo>
                <a:lnTo>
                  <a:pt x="3768" y="649"/>
                </a:lnTo>
                <a:lnTo>
                  <a:pt x="3770" y="637"/>
                </a:lnTo>
                <a:lnTo>
                  <a:pt x="3773" y="625"/>
                </a:lnTo>
                <a:lnTo>
                  <a:pt x="3775" y="613"/>
                </a:lnTo>
                <a:lnTo>
                  <a:pt x="3776" y="597"/>
                </a:lnTo>
                <a:lnTo>
                  <a:pt x="3777" y="581"/>
                </a:lnTo>
                <a:lnTo>
                  <a:pt x="3778" y="563"/>
                </a:lnTo>
                <a:lnTo>
                  <a:pt x="3778" y="543"/>
                </a:lnTo>
                <a:lnTo>
                  <a:pt x="3778" y="18"/>
                </a:lnTo>
                <a:lnTo>
                  <a:pt x="3843" y="18"/>
                </a:lnTo>
                <a:lnTo>
                  <a:pt x="3843" y="549"/>
                </a:lnTo>
                <a:lnTo>
                  <a:pt x="3843" y="581"/>
                </a:lnTo>
                <a:lnTo>
                  <a:pt x="3842" y="595"/>
                </a:lnTo>
                <a:lnTo>
                  <a:pt x="3841" y="609"/>
                </a:lnTo>
                <a:lnTo>
                  <a:pt x="3838" y="635"/>
                </a:lnTo>
                <a:lnTo>
                  <a:pt x="3835" y="659"/>
                </a:lnTo>
                <a:lnTo>
                  <a:pt x="3833" y="669"/>
                </a:lnTo>
                <a:lnTo>
                  <a:pt x="3830" y="681"/>
                </a:lnTo>
                <a:lnTo>
                  <a:pt x="3825" y="701"/>
                </a:lnTo>
                <a:lnTo>
                  <a:pt x="3822" y="709"/>
                </a:lnTo>
                <a:lnTo>
                  <a:pt x="3819" y="719"/>
                </a:lnTo>
                <a:lnTo>
                  <a:pt x="3815" y="727"/>
                </a:lnTo>
                <a:lnTo>
                  <a:pt x="3812" y="735"/>
                </a:lnTo>
                <a:lnTo>
                  <a:pt x="3807" y="744"/>
                </a:lnTo>
                <a:lnTo>
                  <a:pt x="3802" y="752"/>
                </a:lnTo>
                <a:lnTo>
                  <a:pt x="3792" y="766"/>
                </a:lnTo>
                <a:lnTo>
                  <a:pt x="3781" y="778"/>
                </a:lnTo>
                <a:lnTo>
                  <a:pt x="3775" y="784"/>
                </a:lnTo>
                <a:lnTo>
                  <a:pt x="3769" y="788"/>
                </a:lnTo>
                <a:lnTo>
                  <a:pt x="3757" y="796"/>
                </a:lnTo>
                <a:lnTo>
                  <a:pt x="3750" y="800"/>
                </a:lnTo>
                <a:lnTo>
                  <a:pt x="3743" y="802"/>
                </a:lnTo>
                <a:lnTo>
                  <a:pt x="3729" y="806"/>
                </a:lnTo>
                <a:lnTo>
                  <a:pt x="3722" y="806"/>
                </a:lnTo>
                <a:lnTo>
                  <a:pt x="3715" y="806"/>
                </a:lnTo>
                <a:lnTo>
                  <a:pt x="3700" y="806"/>
                </a:lnTo>
                <a:lnTo>
                  <a:pt x="3686" y="802"/>
                </a:lnTo>
                <a:lnTo>
                  <a:pt x="3679" y="800"/>
                </a:lnTo>
                <a:lnTo>
                  <a:pt x="3673" y="796"/>
                </a:lnTo>
                <a:lnTo>
                  <a:pt x="3660" y="788"/>
                </a:lnTo>
                <a:lnTo>
                  <a:pt x="3648" y="778"/>
                </a:lnTo>
                <a:lnTo>
                  <a:pt x="3637" y="766"/>
                </a:lnTo>
                <a:lnTo>
                  <a:pt x="3627" y="750"/>
                </a:lnTo>
                <a:lnTo>
                  <a:pt x="3623" y="742"/>
                </a:lnTo>
                <a:lnTo>
                  <a:pt x="3618" y="735"/>
                </a:lnTo>
                <a:close/>
                <a:moveTo>
                  <a:pt x="4052" y="806"/>
                </a:moveTo>
                <a:lnTo>
                  <a:pt x="4036" y="806"/>
                </a:lnTo>
                <a:lnTo>
                  <a:pt x="4020" y="802"/>
                </a:lnTo>
                <a:lnTo>
                  <a:pt x="4006" y="796"/>
                </a:lnTo>
                <a:lnTo>
                  <a:pt x="4000" y="792"/>
                </a:lnTo>
                <a:lnTo>
                  <a:pt x="3993" y="788"/>
                </a:lnTo>
                <a:lnTo>
                  <a:pt x="3981" y="780"/>
                </a:lnTo>
                <a:lnTo>
                  <a:pt x="3975" y="774"/>
                </a:lnTo>
                <a:lnTo>
                  <a:pt x="3970" y="768"/>
                </a:lnTo>
                <a:lnTo>
                  <a:pt x="3960" y="756"/>
                </a:lnTo>
                <a:lnTo>
                  <a:pt x="3956" y="748"/>
                </a:lnTo>
                <a:lnTo>
                  <a:pt x="3951" y="740"/>
                </a:lnTo>
                <a:lnTo>
                  <a:pt x="3947" y="733"/>
                </a:lnTo>
                <a:lnTo>
                  <a:pt x="3943" y="725"/>
                </a:lnTo>
                <a:lnTo>
                  <a:pt x="3939" y="717"/>
                </a:lnTo>
                <a:lnTo>
                  <a:pt x="3936" y="707"/>
                </a:lnTo>
                <a:lnTo>
                  <a:pt x="3930" y="687"/>
                </a:lnTo>
                <a:lnTo>
                  <a:pt x="3926" y="667"/>
                </a:lnTo>
                <a:lnTo>
                  <a:pt x="3924" y="657"/>
                </a:lnTo>
                <a:lnTo>
                  <a:pt x="3922" y="645"/>
                </a:lnTo>
                <a:lnTo>
                  <a:pt x="3919" y="623"/>
                </a:lnTo>
                <a:lnTo>
                  <a:pt x="3918" y="599"/>
                </a:lnTo>
                <a:lnTo>
                  <a:pt x="3917" y="585"/>
                </a:lnTo>
                <a:lnTo>
                  <a:pt x="3917" y="573"/>
                </a:lnTo>
                <a:lnTo>
                  <a:pt x="3980" y="545"/>
                </a:lnTo>
                <a:lnTo>
                  <a:pt x="3981" y="567"/>
                </a:lnTo>
                <a:lnTo>
                  <a:pt x="3982" y="587"/>
                </a:lnTo>
                <a:lnTo>
                  <a:pt x="3984" y="603"/>
                </a:lnTo>
                <a:lnTo>
                  <a:pt x="3986" y="619"/>
                </a:lnTo>
                <a:lnTo>
                  <a:pt x="3988" y="627"/>
                </a:lnTo>
                <a:lnTo>
                  <a:pt x="3989" y="635"/>
                </a:lnTo>
                <a:lnTo>
                  <a:pt x="3993" y="647"/>
                </a:lnTo>
                <a:lnTo>
                  <a:pt x="3997" y="659"/>
                </a:lnTo>
                <a:lnTo>
                  <a:pt x="4001" y="667"/>
                </a:lnTo>
                <a:lnTo>
                  <a:pt x="4006" y="677"/>
                </a:lnTo>
                <a:lnTo>
                  <a:pt x="4012" y="683"/>
                </a:lnTo>
                <a:lnTo>
                  <a:pt x="4018" y="689"/>
                </a:lnTo>
                <a:lnTo>
                  <a:pt x="4025" y="693"/>
                </a:lnTo>
                <a:lnTo>
                  <a:pt x="4032" y="697"/>
                </a:lnTo>
                <a:lnTo>
                  <a:pt x="4039" y="699"/>
                </a:lnTo>
                <a:lnTo>
                  <a:pt x="4047" y="701"/>
                </a:lnTo>
                <a:lnTo>
                  <a:pt x="4056" y="701"/>
                </a:lnTo>
                <a:lnTo>
                  <a:pt x="4063" y="701"/>
                </a:lnTo>
                <a:lnTo>
                  <a:pt x="4070" y="699"/>
                </a:lnTo>
                <a:lnTo>
                  <a:pt x="4077" y="697"/>
                </a:lnTo>
                <a:lnTo>
                  <a:pt x="4083" y="695"/>
                </a:lnTo>
                <a:lnTo>
                  <a:pt x="4089" y="691"/>
                </a:lnTo>
                <a:lnTo>
                  <a:pt x="4095" y="685"/>
                </a:lnTo>
                <a:lnTo>
                  <a:pt x="4100" y="679"/>
                </a:lnTo>
                <a:lnTo>
                  <a:pt x="4105" y="673"/>
                </a:lnTo>
                <a:lnTo>
                  <a:pt x="4109" y="665"/>
                </a:lnTo>
                <a:lnTo>
                  <a:pt x="4113" y="657"/>
                </a:lnTo>
                <a:lnTo>
                  <a:pt x="4116" y="649"/>
                </a:lnTo>
                <a:lnTo>
                  <a:pt x="4119" y="639"/>
                </a:lnTo>
                <a:lnTo>
                  <a:pt x="4121" y="627"/>
                </a:lnTo>
                <a:lnTo>
                  <a:pt x="4122" y="623"/>
                </a:lnTo>
                <a:lnTo>
                  <a:pt x="4123" y="617"/>
                </a:lnTo>
                <a:lnTo>
                  <a:pt x="4124" y="605"/>
                </a:lnTo>
                <a:lnTo>
                  <a:pt x="4124" y="591"/>
                </a:lnTo>
                <a:lnTo>
                  <a:pt x="4124" y="581"/>
                </a:lnTo>
                <a:lnTo>
                  <a:pt x="4123" y="571"/>
                </a:lnTo>
                <a:lnTo>
                  <a:pt x="4122" y="563"/>
                </a:lnTo>
                <a:lnTo>
                  <a:pt x="4121" y="553"/>
                </a:lnTo>
                <a:lnTo>
                  <a:pt x="4119" y="545"/>
                </a:lnTo>
                <a:lnTo>
                  <a:pt x="4117" y="537"/>
                </a:lnTo>
                <a:lnTo>
                  <a:pt x="4115" y="529"/>
                </a:lnTo>
                <a:lnTo>
                  <a:pt x="4112" y="521"/>
                </a:lnTo>
                <a:lnTo>
                  <a:pt x="4104" y="505"/>
                </a:lnTo>
                <a:lnTo>
                  <a:pt x="4100" y="497"/>
                </a:lnTo>
                <a:lnTo>
                  <a:pt x="4095" y="491"/>
                </a:lnTo>
                <a:lnTo>
                  <a:pt x="4084" y="477"/>
                </a:lnTo>
                <a:lnTo>
                  <a:pt x="4071" y="465"/>
                </a:lnTo>
                <a:lnTo>
                  <a:pt x="4007" y="407"/>
                </a:lnTo>
                <a:lnTo>
                  <a:pt x="3998" y="399"/>
                </a:lnTo>
                <a:lnTo>
                  <a:pt x="3988" y="389"/>
                </a:lnTo>
                <a:lnTo>
                  <a:pt x="3972" y="369"/>
                </a:lnTo>
                <a:lnTo>
                  <a:pt x="3958" y="349"/>
                </a:lnTo>
                <a:lnTo>
                  <a:pt x="3953" y="337"/>
                </a:lnTo>
                <a:lnTo>
                  <a:pt x="3947" y="325"/>
                </a:lnTo>
                <a:lnTo>
                  <a:pt x="3942" y="313"/>
                </a:lnTo>
                <a:lnTo>
                  <a:pt x="3937" y="299"/>
                </a:lnTo>
                <a:lnTo>
                  <a:pt x="3934" y="285"/>
                </a:lnTo>
                <a:lnTo>
                  <a:pt x="3931" y="269"/>
                </a:lnTo>
                <a:lnTo>
                  <a:pt x="3929" y="253"/>
                </a:lnTo>
                <a:lnTo>
                  <a:pt x="3928" y="246"/>
                </a:lnTo>
                <a:lnTo>
                  <a:pt x="3927" y="238"/>
                </a:lnTo>
                <a:lnTo>
                  <a:pt x="3927" y="220"/>
                </a:lnTo>
                <a:lnTo>
                  <a:pt x="3926" y="200"/>
                </a:lnTo>
                <a:lnTo>
                  <a:pt x="3926" y="188"/>
                </a:lnTo>
                <a:lnTo>
                  <a:pt x="3927" y="176"/>
                </a:lnTo>
                <a:lnTo>
                  <a:pt x="3928" y="164"/>
                </a:lnTo>
                <a:lnTo>
                  <a:pt x="3929" y="152"/>
                </a:lnTo>
                <a:lnTo>
                  <a:pt x="3930" y="142"/>
                </a:lnTo>
                <a:lnTo>
                  <a:pt x="3932" y="132"/>
                </a:lnTo>
                <a:lnTo>
                  <a:pt x="3936" y="112"/>
                </a:lnTo>
                <a:lnTo>
                  <a:pt x="3939" y="102"/>
                </a:lnTo>
                <a:lnTo>
                  <a:pt x="3942" y="94"/>
                </a:lnTo>
                <a:lnTo>
                  <a:pt x="3949" y="78"/>
                </a:lnTo>
                <a:lnTo>
                  <a:pt x="3957" y="62"/>
                </a:lnTo>
                <a:lnTo>
                  <a:pt x="3961" y="56"/>
                </a:lnTo>
                <a:lnTo>
                  <a:pt x="3965" y="50"/>
                </a:lnTo>
                <a:lnTo>
                  <a:pt x="3974" y="38"/>
                </a:lnTo>
                <a:lnTo>
                  <a:pt x="3984" y="28"/>
                </a:lnTo>
                <a:lnTo>
                  <a:pt x="3994" y="20"/>
                </a:lnTo>
                <a:lnTo>
                  <a:pt x="4005" y="12"/>
                </a:lnTo>
                <a:lnTo>
                  <a:pt x="4017" y="6"/>
                </a:lnTo>
                <a:lnTo>
                  <a:pt x="4029" y="4"/>
                </a:lnTo>
                <a:lnTo>
                  <a:pt x="4042" y="0"/>
                </a:lnTo>
                <a:lnTo>
                  <a:pt x="4055" y="0"/>
                </a:lnTo>
                <a:lnTo>
                  <a:pt x="4070" y="2"/>
                </a:lnTo>
                <a:lnTo>
                  <a:pt x="4085" y="4"/>
                </a:lnTo>
                <a:lnTo>
                  <a:pt x="4098" y="10"/>
                </a:lnTo>
                <a:lnTo>
                  <a:pt x="4104" y="14"/>
                </a:lnTo>
                <a:lnTo>
                  <a:pt x="4110" y="18"/>
                </a:lnTo>
                <a:lnTo>
                  <a:pt x="4122" y="26"/>
                </a:lnTo>
                <a:lnTo>
                  <a:pt x="4132" y="38"/>
                </a:lnTo>
                <a:lnTo>
                  <a:pt x="4141" y="50"/>
                </a:lnTo>
                <a:lnTo>
                  <a:pt x="4149" y="64"/>
                </a:lnTo>
                <a:lnTo>
                  <a:pt x="4153" y="72"/>
                </a:lnTo>
                <a:lnTo>
                  <a:pt x="4156" y="78"/>
                </a:lnTo>
                <a:lnTo>
                  <a:pt x="4159" y="86"/>
                </a:lnTo>
                <a:lnTo>
                  <a:pt x="4162" y="94"/>
                </a:lnTo>
                <a:lnTo>
                  <a:pt x="4167" y="112"/>
                </a:lnTo>
                <a:lnTo>
                  <a:pt x="4172" y="128"/>
                </a:lnTo>
                <a:lnTo>
                  <a:pt x="4175" y="146"/>
                </a:lnTo>
                <a:lnTo>
                  <a:pt x="4177" y="166"/>
                </a:lnTo>
                <a:lnTo>
                  <a:pt x="4179" y="184"/>
                </a:lnTo>
                <a:lnTo>
                  <a:pt x="4179" y="202"/>
                </a:lnTo>
                <a:lnTo>
                  <a:pt x="4117" y="228"/>
                </a:lnTo>
                <a:lnTo>
                  <a:pt x="4117" y="212"/>
                </a:lnTo>
                <a:lnTo>
                  <a:pt x="4115" y="198"/>
                </a:lnTo>
                <a:lnTo>
                  <a:pt x="4114" y="186"/>
                </a:lnTo>
                <a:lnTo>
                  <a:pt x="4112" y="172"/>
                </a:lnTo>
                <a:lnTo>
                  <a:pt x="4109" y="162"/>
                </a:lnTo>
                <a:lnTo>
                  <a:pt x="4106" y="152"/>
                </a:lnTo>
                <a:lnTo>
                  <a:pt x="4103" y="142"/>
                </a:lnTo>
                <a:lnTo>
                  <a:pt x="4099" y="136"/>
                </a:lnTo>
                <a:lnTo>
                  <a:pt x="4095" y="128"/>
                </a:lnTo>
                <a:lnTo>
                  <a:pt x="4090" y="122"/>
                </a:lnTo>
                <a:lnTo>
                  <a:pt x="4085" y="118"/>
                </a:lnTo>
                <a:lnTo>
                  <a:pt x="4079" y="114"/>
                </a:lnTo>
                <a:lnTo>
                  <a:pt x="4073" y="110"/>
                </a:lnTo>
                <a:lnTo>
                  <a:pt x="4067" y="108"/>
                </a:lnTo>
                <a:lnTo>
                  <a:pt x="4060" y="108"/>
                </a:lnTo>
                <a:lnTo>
                  <a:pt x="4052" y="106"/>
                </a:lnTo>
                <a:lnTo>
                  <a:pt x="4040" y="108"/>
                </a:lnTo>
                <a:lnTo>
                  <a:pt x="4028" y="112"/>
                </a:lnTo>
                <a:lnTo>
                  <a:pt x="4023" y="116"/>
                </a:lnTo>
                <a:lnTo>
                  <a:pt x="4018" y="120"/>
                </a:lnTo>
                <a:lnTo>
                  <a:pt x="4013" y="124"/>
                </a:lnTo>
                <a:lnTo>
                  <a:pt x="4009" y="128"/>
                </a:lnTo>
                <a:lnTo>
                  <a:pt x="4005" y="134"/>
                </a:lnTo>
                <a:lnTo>
                  <a:pt x="4002" y="140"/>
                </a:lnTo>
                <a:lnTo>
                  <a:pt x="3999" y="148"/>
                </a:lnTo>
                <a:lnTo>
                  <a:pt x="3996" y="156"/>
                </a:lnTo>
                <a:lnTo>
                  <a:pt x="3994" y="164"/>
                </a:lnTo>
                <a:lnTo>
                  <a:pt x="3993" y="174"/>
                </a:lnTo>
                <a:lnTo>
                  <a:pt x="3992" y="184"/>
                </a:lnTo>
                <a:lnTo>
                  <a:pt x="3992" y="194"/>
                </a:lnTo>
                <a:lnTo>
                  <a:pt x="3992" y="204"/>
                </a:lnTo>
                <a:lnTo>
                  <a:pt x="3992" y="214"/>
                </a:lnTo>
                <a:lnTo>
                  <a:pt x="3993" y="224"/>
                </a:lnTo>
                <a:lnTo>
                  <a:pt x="3994" y="232"/>
                </a:lnTo>
                <a:lnTo>
                  <a:pt x="3996" y="240"/>
                </a:lnTo>
                <a:lnTo>
                  <a:pt x="3998" y="248"/>
                </a:lnTo>
                <a:lnTo>
                  <a:pt x="4001" y="255"/>
                </a:lnTo>
                <a:lnTo>
                  <a:pt x="4003" y="261"/>
                </a:lnTo>
                <a:lnTo>
                  <a:pt x="4007" y="267"/>
                </a:lnTo>
                <a:lnTo>
                  <a:pt x="4010" y="273"/>
                </a:lnTo>
                <a:lnTo>
                  <a:pt x="4019" y="285"/>
                </a:lnTo>
                <a:lnTo>
                  <a:pt x="4029" y="297"/>
                </a:lnTo>
                <a:lnTo>
                  <a:pt x="4041" y="309"/>
                </a:lnTo>
                <a:lnTo>
                  <a:pt x="4103" y="363"/>
                </a:lnTo>
                <a:lnTo>
                  <a:pt x="4113" y="373"/>
                </a:lnTo>
                <a:lnTo>
                  <a:pt x="4123" y="383"/>
                </a:lnTo>
                <a:lnTo>
                  <a:pt x="4133" y="393"/>
                </a:lnTo>
                <a:lnTo>
                  <a:pt x="4141" y="405"/>
                </a:lnTo>
                <a:lnTo>
                  <a:pt x="4149" y="417"/>
                </a:lnTo>
                <a:lnTo>
                  <a:pt x="4156" y="427"/>
                </a:lnTo>
                <a:lnTo>
                  <a:pt x="4162" y="441"/>
                </a:lnTo>
                <a:lnTo>
                  <a:pt x="4168" y="453"/>
                </a:lnTo>
                <a:lnTo>
                  <a:pt x="4173" y="467"/>
                </a:lnTo>
                <a:lnTo>
                  <a:pt x="4177" y="481"/>
                </a:lnTo>
                <a:lnTo>
                  <a:pt x="4181" y="495"/>
                </a:lnTo>
                <a:lnTo>
                  <a:pt x="4184" y="511"/>
                </a:lnTo>
                <a:lnTo>
                  <a:pt x="4186" y="527"/>
                </a:lnTo>
                <a:lnTo>
                  <a:pt x="4187" y="537"/>
                </a:lnTo>
                <a:lnTo>
                  <a:pt x="4187" y="545"/>
                </a:lnTo>
                <a:lnTo>
                  <a:pt x="4188" y="563"/>
                </a:lnTo>
                <a:lnTo>
                  <a:pt x="4189" y="583"/>
                </a:lnTo>
                <a:lnTo>
                  <a:pt x="4188" y="609"/>
                </a:lnTo>
                <a:lnTo>
                  <a:pt x="4186" y="633"/>
                </a:lnTo>
                <a:lnTo>
                  <a:pt x="4185" y="645"/>
                </a:lnTo>
                <a:lnTo>
                  <a:pt x="4183" y="655"/>
                </a:lnTo>
                <a:lnTo>
                  <a:pt x="4181" y="667"/>
                </a:lnTo>
                <a:lnTo>
                  <a:pt x="4179" y="677"/>
                </a:lnTo>
                <a:lnTo>
                  <a:pt x="4177" y="687"/>
                </a:lnTo>
                <a:lnTo>
                  <a:pt x="4174" y="697"/>
                </a:lnTo>
                <a:lnTo>
                  <a:pt x="4167" y="715"/>
                </a:lnTo>
                <a:lnTo>
                  <a:pt x="4164" y="723"/>
                </a:lnTo>
                <a:lnTo>
                  <a:pt x="4160" y="733"/>
                </a:lnTo>
                <a:lnTo>
                  <a:pt x="4152" y="746"/>
                </a:lnTo>
                <a:lnTo>
                  <a:pt x="4147" y="754"/>
                </a:lnTo>
                <a:lnTo>
                  <a:pt x="4142" y="760"/>
                </a:lnTo>
                <a:lnTo>
                  <a:pt x="4137" y="766"/>
                </a:lnTo>
                <a:lnTo>
                  <a:pt x="4132" y="772"/>
                </a:lnTo>
                <a:lnTo>
                  <a:pt x="4121" y="782"/>
                </a:lnTo>
                <a:lnTo>
                  <a:pt x="4109" y="790"/>
                </a:lnTo>
                <a:lnTo>
                  <a:pt x="4096" y="798"/>
                </a:lnTo>
                <a:lnTo>
                  <a:pt x="4082" y="802"/>
                </a:lnTo>
                <a:lnTo>
                  <a:pt x="4075" y="804"/>
                </a:lnTo>
                <a:lnTo>
                  <a:pt x="4068" y="804"/>
                </a:lnTo>
                <a:lnTo>
                  <a:pt x="4052" y="806"/>
                </a:lnTo>
                <a:close/>
                <a:moveTo>
                  <a:pt x="1669" y="1273"/>
                </a:moveTo>
                <a:lnTo>
                  <a:pt x="1669" y="1936"/>
                </a:lnTo>
                <a:lnTo>
                  <a:pt x="1604" y="1936"/>
                </a:lnTo>
                <a:lnTo>
                  <a:pt x="1604" y="1273"/>
                </a:lnTo>
                <a:lnTo>
                  <a:pt x="1506" y="1273"/>
                </a:lnTo>
                <a:lnTo>
                  <a:pt x="1506" y="1166"/>
                </a:lnTo>
                <a:lnTo>
                  <a:pt x="1767" y="1166"/>
                </a:lnTo>
                <a:lnTo>
                  <a:pt x="1767" y="1273"/>
                </a:lnTo>
                <a:lnTo>
                  <a:pt x="1669" y="1273"/>
                </a:lnTo>
                <a:close/>
                <a:moveTo>
                  <a:pt x="1832" y="1936"/>
                </a:moveTo>
                <a:lnTo>
                  <a:pt x="1832" y="1166"/>
                </a:lnTo>
                <a:lnTo>
                  <a:pt x="2060" y="1166"/>
                </a:lnTo>
                <a:lnTo>
                  <a:pt x="2060" y="1273"/>
                </a:lnTo>
                <a:lnTo>
                  <a:pt x="1897" y="1273"/>
                </a:lnTo>
                <a:lnTo>
                  <a:pt x="1897" y="1489"/>
                </a:lnTo>
                <a:lnTo>
                  <a:pt x="2030" y="1489"/>
                </a:lnTo>
                <a:lnTo>
                  <a:pt x="2030" y="1593"/>
                </a:lnTo>
                <a:lnTo>
                  <a:pt x="1897" y="1593"/>
                </a:lnTo>
                <a:lnTo>
                  <a:pt x="1897" y="1828"/>
                </a:lnTo>
                <a:lnTo>
                  <a:pt x="2060" y="1828"/>
                </a:lnTo>
                <a:lnTo>
                  <a:pt x="2060" y="1936"/>
                </a:lnTo>
                <a:lnTo>
                  <a:pt x="1832" y="1936"/>
                </a:lnTo>
                <a:close/>
                <a:moveTo>
                  <a:pt x="2260" y="1954"/>
                </a:moveTo>
                <a:lnTo>
                  <a:pt x="2251" y="1954"/>
                </a:lnTo>
                <a:lnTo>
                  <a:pt x="2242" y="1952"/>
                </a:lnTo>
                <a:lnTo>
                  <a:pt x="2234" y="1950"/>
                </a:lnTo>
                <a:lnTo>
                  <a:pt x="2226" y="1948"/>
                </a:lnTo>
                <a:lnTo>
                  <a:pt x="2218" y="1944"/>
                </a:lnTo>
                <a:lnTo>
                  <a:pt x="2211" y="1938"/>
                </a:lnTo>
                <a:lnTo>
                  <a:pt x="2204" y="1932"/>
                </a:lnTo>
                <a:lnTo>
                  <a:pt x="2197" y="1926"/>
                </a:lnTo>
                <a:lnTo>
                  <a:pt x="2190" y="1920"/>
                </a:lnTo>
                <a:lnTo>
                  <a:pt x="2184" y="1912"/>
                </a:lnTo>
                <a:lnTo>
                  <a:pt x="2178" y="1902"/>
                </a:lnTo>
                <a:lnTo>
                  <a:pt x="2172" y="1892"/>
                </a:lnTo>
                <a:lnTo>
                  <a:pt x="2166" y="1882"/>
                </a:lnTo>
                <a:lnTo>
                  <a:pt x="2161" y="1872"/>
                </a:lnTo>
                <a:lnTo>
                  <a:pt x="2156" y="1860"/>
                </a:lnTo>
                <a:lnTo>
                  <a:pt x="2151" y="1846"/>
                </a:lnTo>
                <a:lnTo>
                  <a:pt x="2147" y="1834"/>
                </a:lnTo>
                <a:lnTo>
                  <a:pt x="2143" y="1820"/>
                </a:lnTo>
                <a:lnTo>
                  <a:pt x="2139" y="1804"/>
                </a:lnTo>
                <a:lnTo>
                  <a:pt x="2135" y="1788"/>
                </a:lnTo>
                <a:lnTo>
                  <a:pt x="2132" y="1772"/>
                </a:lnTo>
                <a:lnTo>
                  <a:pt x="2129" y="1756"/>
                </a:lnTo>
                <a:lnTo>
                  <a:pt x="2126" y="1738"/>
                </a:lnTo>
                <a:lnTo>
                  <a:pt x="2124" y="1720"/>
                </a:lnTo>
                <a:lnTo>
                  <a:pt x="2121" y="1701"/>
                </a:lnTo>
                <a:lnTo>
                  <a:pt x="2120" y="1681"/>
                </a:lnTo>
                <a:lnTo>
                  <a:pt x="2118" y="1661"/>
                </a:lnTo>
                <a:lnTo>
                  <a:pt x="2117" y="1641"/>
                </a:lnTo>
                <a:lnTo>
                  <a:pt x="2115" y="1597"/>
                </a:lnTo>
                <a:lnTo>
                  <a:pt x="2114" y="1575"/>
                </a:lnTo>
                <a:lnTo>
                  <a:pt x="2114" y="1551"/>
                </a:lnTo>
                <a:lnTo>
                  <a:pt x="2115" y="1505"/>
                </a:lnTo>
                <a:lnTo>
                  <a:pt x="2117" y="1461"/>
                </a:lnTo>
                <a:lnTo>
                  <a:pt x="2118" y="1441"/>
                </a:lnTo>
                <a:lnTo>
                  <a:pt x="2120" y="1421"/>
                </a:lnTo>
                <a:lnTo>
                  <a:pt x="2124" y="1383"/>
                </a:lnTo>
                <a:lnTo>
                  <a:pt x="2126" y="1363"/>
                </a:lnTo>
                <a:lnTo>
                  <a:pt x="2129" y="1347"/>
                </a:lnTo>
                <a:lnTo>
                  <a:pt x="2135" y="1313"/>
                </a:lnTo>
                <a:lnTo>
                  <a:pt x="2139" y="1297"/>
                </a:lnTo>
                <a:lnTo>
                  <a:pt x="2143" y="1283"/>
                </a:lnTo>
                <a:lnTo>
                  <a:pt x="2147" y="1269"/>
                </a:lnTo>
                <a:lnTo>
                  <a:pt x="2151" y="1255"/>
                </a:lnTo>
                <a:lnTo>
                  <a:pt x="2156" y="1243"/>
                </a:lnTo>
                <a:lnTo>
                  <a:pt x="2161" y="1231"/>
                </a:lnTo>
                <a:lnTo>
                  <a:pt x="2166" y="1220"/>
                </a:lnTo>
                <a:lnTo>
                  <a:pt x="2172" y="1210"/>
                </a:lnTo>
                <a:lnTo>
                  <a:pt x="2178" y="1200"/>
                </a:lnTo>
                <a:lnTo>
                  <a:pt x="2184" y="1192"/>
                </a:lnTo>
                <a:lnTo>
                  <a:pt x="2197" y="1176"/>
                </a:lnTo>
                <a:lnTo>
                  <a:pt x="2204" y="1170"/>
                </a:lnTo>
                <a:lnTo>
                  <a:pt x="2211" y="1164"/>
                </a:lnTo>
                <a:lnTo>
                  <a:pt x="2218" y="1160"/>
                </a:lnTo>
                <a:lnTo>
                  <a:pt x="2226" y="1156"/>
                </a:lnTo>
                <a:lnTo>
                  <a:pt x="2234" y="1152"/>
                </a:lnTo>
                <a:lnTo>
                  <a:pt x="2242" y="1150"/>
                </a:lnTo>
                <a:lnTo>
                  <a:pt x="2251" y="1148"/>
                </a:lnTo>
                <a:lnTo>
                  <a:pt x="2260" y="1148"/>
                </a:lnTo>
                <a:lnTo>
                  <a:pt x="2268" y="1148"/>
                </a:lnTo>
                <a:lnTo>
                  <a:pt x="2277" y="1150"/>
                </a:lnTo>
                <a:lnTo>
                  <a:pt x="2285" y="1152"/>
                </a:lnTo>
                <a:lnTo>
                  <a:pt x="2293" y="1156"/>
                </a:lnTo>
                <a:lnTo>
                  <a:pt x="2301" y="1160"/>
                </a:lnTo>
                <a:lnTo>
                  <a:pt x="2308" y="1164"/>
                </a:lnTo>
                <a:lnTo>
                  <a:pt x="2316" y="1170"/>
                </a:lnTo>
                <a:lnTo>
                  <a:pt x="2323" y="1176"/>
                </a:lnTo>
                <a:lnTo>
                  <a:pt x="2329" y="1184"/>
                </a:lnTo>
                <a:lnTo>
                  <a:pt x="2336" y="1192"/>
                </a:lnTo>
                <a:lnTo>
                  <a:pt x="2342" y="1200"/>
                </a:lnTo>
                <a:lnTo>
                  <a:pt x="2348" y="1210"/>
                </a:lnTo>
                <a:lnTo>
                  <a:pt x="2353" y="1220"/>
                </a:lnTo>
                <a:lnTo>
                  <a:pt x="2359" y="1229"/>
                </a:lnTo>
                <a:lnTo>
                  <a:pt x="2364" y="1241"/>
                </a:lnTo>
                <a:lnTo>
                  <a:pt x="2368" y="1255"/>
                </a:lnTo>
                <a:lnTo>
                  <a:pt x="2377" y="1283"/>
                </a:lnTo>
                <a:lnTo>
                  <a:pt x="2381" y="1297"/>
                </a:lnTo>
                <a:lnTo>
                  <a:pt x="2385" y="1313"/>
                </a:lnTo>
                <a:lnTo>
                  <a:pt x="2391" y="1345"/>
                </a:lnTo>
                <a:lnTo>
                  <a:pt x="2394" y="1363"/>
                </a:lnTo>
                <a:lnTo>
                  <a:pt x="2396" y="1381"/>
                </a:lnTo>
                <a:lnTo>
                  <a:pt x="2398" y="1401"/>
                </a:lnTo>
                <a:lnTo>
                  <a:pt x="2400" y="1421"/>
                </a:lnTo>
                <a:lnTo>
                  <a:pt x="2402" y="1441"/>
                </a:lnTo>
                <a:lnTo>
                  <a:pt x="2403" y="1461"/>
                </a:lnTo>
                <a:lnTo>
                  <a:pt x="2404" y="1483"/>
                </a:lnTo>
                <a:lnTo>
                  <a:pt x="2405" y="1505"/>
                </a:lnTo>
                <a:lnTo>
                  <a:pt x="2405" y="1527"/>
                </a:lnTo>
                <a:lnTo>
                  <a:pt x="2406" y="1551"/>
                </a:lnTo>
                <a:lnTo>
                  <a:pt x="2405" y="1597"/>
                </a:lnTo>
                <a:lnTo>
                  <a:pt x="2403" y="1641"/>
                </a:lnTo>
                <a:lnTo>
                  <a:pt x="2402" y="1663"/>
                </a:lnTo>
                <a:lnTo>
                  <a:pt x="2400" y="1683"/>
                </a:lnTo>
                <a:lnTo>
                  <a:pt x="2396" y="1720"/>
                </a:lnTo>
                <a:lnTo>
                  <a:pt x="2394" y="1738"/>
                </a:lnTo>
                <a:lnTo>
                  <a:pt x="2391" y="1756"/>
                </a:lnTo>
                <a:lnTo>
                  <a:pt x="2388" y="1772"/>
                </a:lnTo>
                <a:lnTo>
                  <a:pt x="2385" y="1790"/>
                </a:lnTo>
                <a:lnTo>
                  <a:pt x="2381" y="1804"/>
                </a:lnTo>
                <a:lnTo>
                  <a:pt x="2377" y="1820"/>
                </a:lnTo>
                <a:lnTo>
                  <a:pt x="2373" y="1834"/>
                </a:lnTo>
                <a:lnTo>
                  <a:pt x="2368" y="1846"/>
                </a:lnTo>
                <a:lnTo>
                  <a:pt x="2364" y="1860"/>
                </a:lnTo>
                <a:lnTo>
                  <a:pt x="2359" y="1872"/>
                </a:lnTo>
                <a:lnTo>
                  <a:pt x="2353" y="1882"/>
                </a:lnTo>
                <a:lnTo>
                  <a:pt x="2348" y="1894"/>
                </a:lnTo>
                <a:lnTo>
                  <a:pt x="2342" y="1902"/>
                </a:lnTo>
                <a:lnTo>
                  <a:pt x="2336" y="1912"/>
                </a:lnTo>
                <a:lnTo>
                  <a:pt x="2329" y="1920"/>
                </a:lnTo>
                <a:lnTo>
                  <a:pt x="2323" y="1926"/>
                </a:lnTo>
                <a:lnTo>
                  <a:pt x="2316" y="1934"/>
                </a:lnTo>
                <a:lnTo>
                  <a:pt x="2308" y="1938"/>
                </a:lnTo>
                <a:lnTo>
                  <a:pt x="2301" y="1944"/>
                </a:lnTo>
                <a:lnTo>
                  <a:pt x="2293" y="1948"/>
                </a:lnTo>
                <a:lnTo>
                  <a:pt x="2285" y="1950"/>
                </a:lnTo>
                <a:lnTo>
                  <a:pt x="2277" y="1952"/>
                </a:lnTo>
                <a:lnTo>
                  <a:pt x="2268" y="1954"/>
                </a:lnTo>
                <a:lnTo>
                  <a:pt x="2260" y="1954"/>
                </a:lnTo>
                <a:close/>
                <a:moveTo>
                  <a:pt x="2260" y="1257"/>
                </a:moveTo>
                <a:lnTo>
                  <a:pt x="2251" y="1257"/>
                </a:lnTo>
                <a:lnTo>
                  <a:pt x="2246" y="1259"/>
                </a:lnTo>
                <a:lnTo>
                  <a:pt x="2242" y="1259"/>
                </a:lnTo>
                <a:lnTo>
                  <a:pt x="2234" y="1265"/>
                </a:lnTo>
                <a:lnTo>
                  <a:pt x="2227" y="1271"/>
                </a:lnTo>
                <a:lnTo>
                  <a:pt x="2223" y="1275"/>
                </a:lnTo>
                <a:lnTo>
                  <a:pt x="2220" y="1281"/>
                </a:lnTo>
                <a:lnTo>
                  <a:pt x="2216" y="1287"/>
                </a:lnTo>
                <a:lnTo>
                  <a:pt x="2213" y="1293"/>
                </a:lnTo>
                <a:lnTo>
                  <a:pt x="2210" y="1299"/>
                </a:lnTo>
                <a:lnTo>
                  <a:pt x="2207" y="1307"/>
                </a:lnTo>
                <a:lnTo>
                  <a:pt x="2201" y="1323"/>
                </a:lnTo>
                <a:lnTo>
                  <a:pt x="2199" y="1331"/>
                </a:lnTo>
                <a:lnTo>
                  <a:pt x="2196" y="1341"/>
                </a:lnTo>
                <a:lnTo>
                  <a:pt x="2192" y="1363"/>
                </a:lnTo>
                <a:lnTo>
                  <a:pt x="2188" y="1387"/>
                </a:lnTo>
                <a:lnTo>
                  <a:pt x="2187" y="1399"/>
                </a:lnTo>
                <a:lnTo>
                  <a:pt x="2185" y="1413"/>
                </a:lnTo>
                <a:lnTo>
                  <a:pt x="2183" y="1443"/>
                </a:lnTo>
                <a:lnTo>
                  <a:pt x="2181" y="1477"/>
                </a:lnTo>
                <a:lnTo>
                  <a:pt x="2180" y="1513"/>
                </a:lnTo>
                <a:lnTo>
                  <a:pt x="2180" y="1551"/>
                </a:lnTo>
                <a:lnTo>
                  <a:pt x="2180" y="1591"/>
                </a:lnTo>
                <a:lnTo>
                  <a:pt x="2181" y="1627"/>
                </a:lnTo>
                <a:lnTo>
                  <a:pt x="2183" y="1659"/>
                </a:lnTo>
                <a:lnTo>
                  <a:pt x="2185" y="1689"/>
                </a:lnTo>
                <a:lnTo>
                  <a:pt x="2188" y="1714"/>
                </a:lnTo>
                <a:lnTo>
                  <a:pt x="2192" y="1738"/>
                </a:lnTo>
                <a:lnTo>
                  <a:pt x="2196" y="1760"/>
                </a:lnTo>
                <a:lnTo>
                  <a:pt x="2201" y="1780"/>
                </a:lnTo>
                <a:lnTo>
                  <a:pt x="2207" y="1796"/>
                </a:lnTo>
                <a:lnTo>
                  <a:pt x="2213" y="1810"/>
                </a:lnTo>
                <a:lnTo>
                  <a:pt x="2220" y="1820"/>
                </a:lnTo>
                <a:lnTo>
                  <a:pt x="2227" y="1830"/>
                </a:lnTo>
                <a:lnTo>
                  <a:pt x="2234" y="1836"/>
                </a:lnTo>
                <a:lnTo>
                  <a:pt x="2242" y="1842"/>
                </a:lnTo>
                <a:lnTo>
                  <a:pt x="2251" y="1844"/>
                </a:lnTo>
                <a:lnTo>
                  <a:pt x="2260" y="1846"/>
                </a:lnTo>
                <a:lnTo>
                  <a:pt x="2269" y="1844"/>
                </a:lnTo>
                <a:lnTo>
                  <a:pt x="2273" y="1844"/>
                </a:lnTo>
                <a:lnTo>
                  <a:pt x="2277" y="1842"/>
                </a:lnTo>
                <a:lnTo>
                  <a:pt x="2285" y="1836"/>
                </a:lnTo>
                <a:lnTo>
                  <a:pt x="2293" y="1830"/>
                </a:lnTo>
                <a:lnTo>
                  <a:pt x="2296" y="1826"/>
                </a:lnTo>
                <a:lnTo>
                  <a:pt x="2300" y="1820"/>
                </a:lnTo>
                <a:lnTo>
                  <a:pt x="2306" y="1808"/>
                </a:lnTo>
                <a:lnTo>
                  <a:pt x="2309" y="1802"/>
                </a:lnTo>
                <a:lnTo>
                  <a:pt x="2312" y="1796"/>
                </a:lnTo>
                <a:lnTo>
                  <a:pt x="2318" y="1778"/>
                </a:lnTo>
                <a:lnTo>
                  <a:pt x="2320" y="1770"/>
                </a:lnTo>
                <a:lnTo>
                  <a:pt x="2323" y="1760"/>
                </a:lnTo>
                <a:lnTo>
                  <a:pt x="2327" y="1738"/>
                </a:lnTo>
                <a:lnTo>
                  <a:pt x="2331" y="1714"/>
                </a:lnTo>
                <a:lnTo>
                  <a:pt x="2332" y="1703"/>
                </a:lnTo>
                <a:lnTo>
                  <a:pt x="2334" y="1689"/>
                </a:lnTo>
                <a:lnTo>
                  <a:pt x="2336" y="1659"/>
                </a:lnTo>
                <a:lnTo>
                  <a:pt x="2338" y="1625"/>
                </a:lnTo>
                <a:lnTo>
                  <a:pt x="2339" y="1591"/>
                </a:lnTo>
                <a:lnTo>
                  <a:pt x="2340" y="1551"/>
                </a:lnTo>
                <a:lnTo>
                  <a:pt x="2339" y="1513"/>
                </a:lnTo>
                <a:lnTo>
                  <a:pt x="2338" y="1477"/>
                </a:lnTo>
                <a:lnTo>
                  <a:pt x="2336" y="1443"/>
                </a:lnTo>
                <a:lnTo>
                  <a:pt x="2334" y="1415"/>
                </a:lnTo>
                <a:lnTo>
                  <a:pt x="2331" y="1387"/>
                </a:lnTo>
                <a:lnTo>
                  <a:pt x="2327" y="1363"/>
                </a:lnTo>
                <a:lnTo>
                  <a:pt x="2323" y="1341"/>
                </a:lnTo>
                <a:lnTo>
                  <a:pt x="2318" y="1323"/>
                </a:lnTo>
                <a:lnTo>
                  <a:pt x="2312" y="1307"/>
                </a:lnTo>
                <a:lnTo>
                  <a:pt x="2306" y="1293"/>
                </a:lnTo>
                <a:lnTo>
                  <a:pt x="2300" y="1281"/>
                </a:lnTo>
                <a:lnTo>
                  <a:pt x="2293" y="1271"/>
                </a:lnTo>
                <a:lnTo>
                  <a:pt x="2285" y="1265"/>
                </a:lnTo>
                <a:lnTo>
                  <a:pt x="2277" y="1259"/>
                </a:lnTo>
                <a:lnTo>
                  <a:pt x="2273" y="1259"/>
                </a:lnTo>
                <a:lnTo>
                  <a:pt x="2269" y="1257"/>
                </a:lnTo>
                <a:lnTo>
                  <a:pt x="2260" y="1257"/>
                </a:lnTo>
                <a:close/>
                <a:moveTo>
                  <a:pt x="2485" y="1936"/>
                </a:moveTo>
                <a:lnTo>
                  <a:pt x="2485" y="1166"/>
                </a:lnTo>
                <a:lnTo>
                  <a:pt x="2549" y="1166"/>
                </a:lnTo>
                <a:lnTo>
                  <a:pt x="2549" y="1828"/>
                </a:lnTo>
                <a:lnTo>
                  <a:pt x="2709" y="1828"/>
                </a:lnTo>
                <a:lnTo>
                  <a:pt x="2709" y="1936"/>
                </a:lnTo>
                <a:lnTo>
                  <a:pt x="2485" y="1936"/>
                </a:lnTo>
                <a:close/>
                <a:moveTo>
                  <a:pt x="2769" y="1936"/>
                </a:moveTo>
                <a:lnTo>
                  <a:pt x="2769" y="1166"/>
                </a:lnTo>
                <a:lnTo>
                  <a:pt x="2835" y="1166"/>
                </a:lnTo>
                <a:lnTo>
                  <a:pt x="2835" y="1828"/>
                </a:lnTo>
                <a:lnTo>
                  <a:pt x="2994" y="1828"/>
                </a:lnTo>
                <a:lnTo>
                  <a:pt x="2994" y="1936"/>
                </a:lnTo>
                <a:lnTo>
                  <a:pt x="2769" y="1936"/>
                </a:lnTo>
                <a:close/>
                <a:moveTo>
                  <a:pt x="3055" y="1166"/>
                </a:moveTo>
                <a:lnTo>
                  <a:pt x="3120" y="1166"/>
                </a:lnTo>
                <a:lnTo>
                  <a:pt x="3120" y="1936"/>
                </a:lnTo>
                <a:lnTo>
                  <a:pt x="3055" y="1936"/>
                </a:lnTo>
                <a:lnTo>
                  <a:pt x="3055" y="1166"/>
                </a:lnTo>
                <a:close/>
                <a:moveTo>
                  <a:pt x="3337" y="1954"/>
                </a:moveTo>
                <a:lnTo>
                  <a:pt x="3321" y="1954"/>
                </a:lnTo>
                <a:lnTo>
                  <a:pt x="3305" y="1950"/>
                </a:lnTo>
                <a:lnTo>
                  <a:pt x="3291" y="1944"/>
                </a:lnTo>
                <a:lnTo>
                  <a:pt x="3284" y="1940"/>
                </a:lnTo>
                <a:lnTo>
                  <a:pt x="3278" y="1936"/>
                </a:lnTo>
                <a:lnTo>
                  <a:pt x="3266" y="1928"/>
                </a:lnTo>
                <a:lnTo>
                  <a:pt x="3260" y="1922"/>
                </a:lnTo>
                <a:lnTo>
                  <a:pt x="3255" y="1916"/>
                </a:lnTo>
                <a:lnTo>
                  <a:pt x="3245" y="1902"/>
                </a:lnTo>
                <a:lnTo>
                  <a:pt x="3241" y="1896"/>
                </a:lnTo>
                <a:lnTo>
                  <a:pt x="3236" y="1888"/>
                </a:lnTo>
                <a:lnTo>
                  <a:pt x="3232" y="1880"/>
                </a:lnTo>
                <a:lnTo>
                  <a:pt x="3229" y="1872"/>
                </a:lnTo>
                <a:lnTo>
                  <a:pt x="3225" y="1864"/>
                </a:lnTo>
                <a:lnTo>
                  <a:pt x="3222" y="1854"/>
                </a:lnTo>
                <a:lnTo>
                  <a:pt x="3216" y="1834"/>
                </a:lnTo>
                <a:lnTo>
                  <a:pt x="3211" y="1814"/>
                </a:lnTo>
                <a:lnTo>
                  <a:pt x="3210" y="1804"/>
                </a:lnTo>
                <a:lnTo>
                  <a:pt x="3208" y="1792"/>
                </a:lnTo>
                <a:lnTo>
                  <a:pt x="3205" y="1770"/>
                </a:lnTo>
                <a:lnTo>
                  <a:pt x="3203" y="1746"/>
                </a:lnTo>
                <a:lnTo>
                  <a:pt x="3203" y="1732"/>
                </a:lnTo>
                <a:lnTo>
                  <a:pt x="3203" y="1720"/>
                </a:lnTo>
                <a:lnTo>
                  <a:pt x="3265" y="1693"/>
                </a:lnTo>
                <a:lnTo>
                  <a:pt x="3266" y="1714"/>
                </a:lnTo>
                <a:lnTo>
                  <a:pt x="3267" y="1734"/>
                </a:lnTo>
                <a:lnTo>
                  <a:pt x="3269" y="1750"/>
                </a:lnTo>
                <a:lnTo>
                  <a:pt x="3271" y="1766"/>
                </a:lnTo>
                <a:lnTo>
                  <a:pt x="3273" y="1774"/>
                </a:lnTo>
                <a:lnTo>
                  <a:pt x="3274" y="1782"/>
                </a:lnTo>
                <a:lnTo>
                  <a:pt x="3278" y="1794"/>
                </a:lnTo>
                <a:lnTo>
                  <a:pt x="3282" y="1804"/>
                </a:lnTo>
                <a:lnTo>
                  <a:pt x="3286" y="1814"/>
                </a:lnTo>
                <a:lnTo>
                  <a:pt x="3291" y="1824"/>
                </a:lnTo>
                <a:lnTo>
                  <a:pt x="3297" y="1830"/>
                </a:lnTo>
                <a:lnTo>
                  <a:pt x="3303" y="1836"/>
                </a:lnTo>
                <a:lnTo>
                  <a:pt x="3310" y="1840"/>
                </a:lnTo>
                <a:lnTo>
                  <a:pt x="3317" y="1844"/>
                </a:lnTo>
                <a:lnTo>
                  <a:pt x="3324" y="1846"/>
                </a:lnTo>
                <a:lnTo>
                  <a:pt x="3332" y="1848"/>
                </a:lnTo>
                <a:lnTo>
                  <a:pt x="3341" y="1848"/>
                </a:lnTo>
                <a:lnTo>
                  <a:pt x="3348" y="1848"/>
                </a:lnTo>
                <a:lnTo>
                  <a:pt x="3355" y="1846"/>
                </a:lnTo>
                <a:lnTo>
                  <a:pt x="3362" y="1844"/>
                </a:lnTo>
                <a:lnTo>
                  <a:pt x="3368" y="1842"/>
                </a:lnTo>
                <a:lnTo>
                  <a:pt x="3374" y="1838"/>
                </a:lnTo>
                <a:lnTo>
                  <a:pt x="3380" y="1832"/>
                </a:lnTo>
                <a:lnTo>
                  <a:pt x="3385" y="1826"/>
                </a:lnTo>
                <a:lnTo>
                  <a:pt x="3390" y="1820"/>
                </a:lnTo>
                <a:lnTo>
                  <a:pt x="3394" y="1812"/>
                </a:lnTo>
                <a:lnTo>
                  <a:pt x="3398" y="1804"/>
                </a:lnTo>
                <a:lnTo>
                  <a:pt x="3401" y="1796"/>
                </a:lnTo>
                <a:lnTo>
                  <a:pt x="3404" y="1786"/>
                </a:lnTo>
                <a:lnTo>
                  <a:pt x="3406" y="1774"/>
                </a:lnTo>
                <a:lnTo>
                  <a:pt x="3407" y="1770"/>
                </a:lnTo>
                <a:lnTo>
                  <a:pt x="3408" y="1764"/>
                </a:lnTo>
                <a:lnTo>
                  <a:pt x="3409" y="1752"/>
                </a:lnTo>
                <a:lnTo>
                  <a:pt x="3409" y="1738"/>
                </a:lnTo>
                <a:lnTo>
                  <a:pt x="3409" y="1728"/>
                </a:lnTo>
                <a:lnTo>
                  <a:pt x="3408" y="1718"/>
                </a:lnTo>
                <a:lnTo>
                  <a:pt x="3407" y="1711"/>
                </a:lnTo>
                <a:lnTo>
                  <a:pt x="3406" y="1701"/>
                </a:lnTo>
                <a:lnTo>
                  <a:pt x="3404" y="1693"/>
                </a:lnTo>
                <a:lnTo>
                  <a:pt x="3402" y="1685"/>
                </a:lnTo>
                <a:lnTo>
                  <a:pt x="3400" y="1677"/>
                </a:lnTo>
                <a:lnTo>
                  <a:pt x="3396" y="1669"/>
                </a:lnTo>
                <a:lnTo>
                  <a:pt x="3389" y="1653"/>
                </a:lnTo>
                <a:lnTo>
                  <a:pt x="3385" y="1645"/>
                </a:lnTo>
                <a:lnTo>
                  <a:pt x="3380" y="1639"/>
                </a:lnTo>
                <a:lnTo>
                  <a:pt x="3369" y="1625"/>
                </a:lnTo>
                <a:lnTo>
                  <a:pt x="3356" y="1613"/>
                </a:lnTo>
                <a:lnTo>
                  <a:pt x="3292" y="1555"/>
                </a:lnTo>
                <a:lnTo>
                  <a:pt x="3282" y="1547"/>
                </a:lnTo>
                <a:lnTo>
                  <a:pt x="3273" y="1537"/>
                </a:lnTo>
                <a:lnTo>
                  <a:pt x="3257" y="1517"/>
                </a:lnTo>
                <a:lnTo>
                  <a:pt x="3243" y="1497"/>
                </a:lnTo>
                <a:lnTo>
                  <a:pt x="3237" y="1485"/>
                </a:lnTo>
                <a:lnTo>
                  <a:pt x="3232" y="1473"/>
                </a:lnTo>
                <a:lnTo>
                  <a:pt x="3227" y="1461"/>
                </a:lnTo>
                <a:lnTo>
                  <a:pt x="3223" y="1447"/>
                </a:lnTo>
                <a:lnTo>
                  <a:pt x="3220" y="1433"/>
                </a:lnTo>
                <a:lnTo>
                  <a:pt x="3217" y="1417"/>
                </a:lnTo>
                <a:lnTo>
                  <a:pt x="3215" y="1401"/>
                </a:lnTo>
                <a:lnTo>
                  <a:pt x="3214" y="1393"/>
                </a:lnTo>
                <a:lnTo>
                  <a:pt x="3213" y="1385"/>
                </a:lnTo>
                <a:lnTo>
                  <a:pt x="3212" y="1367"/>
                </a:lnTo>
                <a:lnTo>
                  <a:pt x="3212" y="1347"/>
                </a:lnTo>
                <a:lnTo>
                  <a:pt x="3212" y="1335"/>
                </a:lnTo>
                <a:lnTo>
                  <a:pt x="3213" y="1323"/>
                </a:lnTo>
                <a:lnTo>
                  <a:pt x="3214" y="1311"/>
                </a:lnTo>
                <a:lnTo>
                  <a:pt x="3215" y="1299"/>
                </a:lnTo>
                <a:lnTo>
                  <a:pt x="3216" y="1289"/>
                </a:lnTo>
                <a:lnTo>
                  <a:pt x="3218" y="1279"/>
                </a:lnTo>
                <a:lnTo>
                  <a:pt x="3222" y="1259"/>
                </a:lnTo>
                <a:lnTo>
                  <a:pt x="3225" y="1249"/>
                </a:lnTo>
                <a:lnTo>
                  <a:pt x="3228" y="1241"/>
                </a:lnTo>
                <a:lnTo>
                  <a:pt x="3234" y="1225"/>
                </a:lnTo>
                <a:lnTo>
                  <a:pt x="3241" y="1210"/>
                </a:lnTo>
                <a:lnTo>
                  <a:pt x="3245" y="1204"/>
                </a:lnTo>
                <a:lnTo>
                  <a:pt x="3250" y="1198"/>
                </a:lnTo>
                <a:lnTo>
                  <a:pt x="3259" y="1186"/>
                </a:lnTo>
                <a:lnTo>
                  <a:pt x="3269" y="1176"/>
                </a:lnTo>
                <a:lnTo>
                  <a:pt x="3279" y="1166"/>
                </a:lnTo>
                <a:lnTo>
                  <a:pt x="3290" y="1160"/>
                </a:lnTo>
                <a:lnTo>
                  <a:pt x="3302" y="1154"/>
                </a:lnTo>
                <a:lnTo>
                  <a:pt x="3314" y="1150"/>
                </a:lnTo>
                <a:lnTo>
                  <a:pt x="3327" y="1148"/>
                </a:lnTo>
                <a:lnTo>
                  <a:pt x="3340" y="1148"/>
                </a:lnTo>
                <a:lnTo>
                  <a:pt x="3355" y="1150"/>
                </a:lnTo>
                <a:lnTo>
                  <a:pt x="3370" y="1152"/>
                </a:lnTo>
                <a:lnTo>
                  <a:pt x="3383" y="1158"/>
                </a:lnTo>
                <a:lnTo>
                  <a:pt x="3389" y="1162"/>
                </a:lnTo>
                <a:lnTo>
                  <a:pt x="3395" y="1166"/>
                </a:lnTo>
                <a:lnTo>
                  <a:pt x="3407" y="1174"/>
                </a:lnTo>
                <a:lnTo>
                  <a:pt x="3417" y="1186"/>
                </a:lnTo>
                <a:lnTo>
                  <a:pt x="3426" y="1198"/>
                </a:lnTo>
                <a:lnTo>
                  <a:pt x="3434" y="1212"/>
                </a:lnTo>
                <a:lnTo>
                  <a:pt x="3438" y="1218"/>
                </a:lnTo>
                <a:lnTo>
                  <a:pt x="3441" y="1225"/>
                </a:lnTo>
                <a:lnTo>
                  <a:pt x="3444" y="1233"/>
                </a:lnTo>
                <a:lnTo>
                  <a:pt x="3447" y="1241"/>
                </a:lnTo>
                <a:lnTo>
                  <a:pt x="3452" y="1259"/>
                </a:lnTo>
                <a:lnTo>
                  <a:pt x="3457" y="1275"/>
                </a:lnTo>
                <a:lnTo>
                  <a:pt x="3460" y="1293"/>
                </a:lnTo>
                <a:lnTo>
                  <a:pt x="3462" y="1313"/>
                </a:lnTo>
                <a:lnTo>
                  <a:pt x="3464" y="1331"/>
                </a:lnTo>
                <a:lnTo>
                  <a:pt x="3464" y="1349"/>
                </a:lnTo>
                <a:lnTo>
                  <a:pt x="3402" y="1375"/>
                </a:lnTo>
                <a:lnTo>
                  <a:pt x="3402" y="1359"/>
                </a:lnTo>
                <a:lnTo>
                  <a:pt x="3400" y="1345"/>
                </a:lnTo>
                <a:lnTo>
                  <a:pt x="3399" y="1331"/>
                </a:lnTo>
                <a:lnTo>
                  <a:pt x="3397" y="1319"/>
                </a:lnTo>
                <a:lnTo>
                  <a:pt x="3394" y="1309"/>
                </a:lnTo>
                <a:lnTo>
                  <a:pt x="3391" y="1299"/>
                </a:lnTo>
                <a:lnTo>
                  <a:pt x="3388" y="1289"/>
                </a:lnTo>
                <a:lnTo>
                  <a:pt x="3384" y="1281"/>
                </a:lnTo>
                <a:lnTo>
                  <a:pt x="3380" y="1275"/>
                </a:lnTo>
                <a:lnTo>
                  <a:pt x="3375" y="1269"/>
                </a:lnTo>
                <a:lnTo>
                  <a:pt x="3370" y="1265"/>
                </a:lnTo>
                <a:lnTo>
                  <a:pt x="3364" y="1261"/>
                </a:lnTo>
                <a:lnTo>
                  <a:pt x="3358" y="1257"/>
                </a:lnTo>
                <a:lnTo>
                  <a:pt x="3352" y="1255"/>
                </a:lnTo>
                <a:lnTo>
                  <a:pt x="3345" y="1255"/>
                </a:lnTo>
                <a:lnTo>
                  <a:pt x="3337" y="1253"/>
                </a:lnTo>
                <a:lnTo>
                  <a:pt x="3325" y="1255"/>
                </a:lnTo>
                <a:lnTo>
                  <a:pt x="3313" y="1259"/>
                </a:lnTo>
                <a:lnTo>
                  <a:pt x="3308" y="1263"/>
                </a:lnTo>
                <a:lnTo>
                  <a:pt x="3303" y="1267"/>
                </a:lnTo>
                <a:lnTo>
                  <a:pt x="3298" y="1271"/>
                </a:lnTo>
                <a:lnTo>
                  <a:pt x="3294" y="1275"/>
                </a:lnTo>
                <a:lnTo>
                  <a:pt x="3290" y="1281"/>
                </a:lnTo>
                <a:lnTo>
                  <a:pt x="3287" y="1287"/>
                </a:lnTo>
                <a:lnTo>
                  <a:pt x="3284" y="1295"/>
                </a:lnTo>
                <a:lnTo>
                  <a:pt x="3281" y="1303"/>
                </a:lnTo>
                <a:lnTo>
                  <a:pt x="3279" y="1311"/>
                </a:lnTo>
                <a:lnTo>
                  <a:pt x="3278" y="1321"/>
                </a:lnTo>
                <a:lnTo>
                  <a:pt x="3277" y="1331"/>
                </a:lnTo>
                <a:lnTo>
                  <a:pt x="3276" y="1341"/>
                </a:lnTo>
                <a:lnTo>
                  <a:pt x="3277" y="1351"/>
                </a:lnTo>
                <a:lnTo>
                  <a:pt x="3277" y="1361"/>
                </a:lnTo>
                <a:lnTo>
                  <a:pt x="3278" y="1371"/>
                </a:lnTo>
                <a:lnTo>
                  <a:pt x="3279" y="1379"/>
                </a:lnTo>
                <a:lnTo>
                  <a:pt x="3281" y="1387"/>
                </a:lnTo>
                <a:lnTo>
                  <a:pt x="3283" y="1395"/>
                </a:lnTo>
                <a:lnTo>
                  <a:pt x="3286" y="1403"/>
                </a:lnTo>
                <a:lnTo>
                  <a:pt x="3288" y="1409"/>
                </a:lnTo>
                <a:lnTo>
                  <a:pt x="3292" y="1415"/>
                </a:lnTo>
                <a:lnTo>
                  <a:pt x="3295" y="1421"/>
                </a:lnTo>
                <a:lnTo>
                  <a:pt x="3304" y="1433"/>
                </a:lnTo>
                <a:lnTo>
                  <a:pt x="3314" y="1445"/>
                </a:lnTo>
                <a:lnTo>
                  <a:pt x="3326" y="1457"/>
                </a:lnTo>
                <a:lnTo>
                  <a:pt x="3388" y="1511"/>
                </a:lnTo>
                <a:lnTo>
                  <a:pt x="3398" y="1521"/>
                </a:lnTo>
                <a:lnTo>
                  <a:pt x="3408" y="1531"/>
                </a:lnTo>
                <a:lnTo>
                  <a:pt x="3418" y="1541"/>
                </a:lnTo>
                <a:lnTo>
                  <a:pt x="3426" y="1553"/>
                </a:lnTo>
                <a:lnTo>
                  <a:pt x="3434" y="1565"/>
                </a:lnTo>
                <a:lnTo>
                  <a:pt x="3441" y="1575"/>
                </a:lnTo>
                <a:lnTo>
                  <a:pt x="3447" y="1589"/>
                </a:lnTo>
                <a:lnTo>
                  <a:pt x="3453" y="1601"/>
                </a:lnTo>
                <a:lnTo>
                  <a:pt x="3458" y="1615"/>
                </a:lnTo>
                <a:lnTo>
                  <a:pt x="3462" y="1629"/>
                </a:lnTo>
                <a:lnTo>
                  <a:pt x="3466" y="1643"/>
                </a:lnTo>
                <a:lnTo>
                  <a:pt x="3469" y="1659"/>
                </a:lnTo>
                <a:lnTo>
                  <a:pt x="3471" y="1675"/>
                </a:lnTo>
                <a:lnTo>
                  <a:pt x="3472" y="1685"/>
                </a:lnTo>
                <a:lnTo>
                  <a:pt x="3472" y="1693"/>
                </a:lnTo>
                <a:lnTo>
                  <a:pt x="3473" y="1711"/>
                </a:lnTo>
                <a:lnTo>
                  <a:pt x="3474" y="1730"/>
                </a:lnTo>
                <a:lnTo>
                  <a:pt x="3473" y="1756"/>
                </a:lnTo>
                <a:lnTo>
                  <a:pt x="3471" y="1780"/>
                </a:lnTo>
                <a:lnTo>
                  <a:pt x="3470" y="1792"/>
                </a:lnTo>
                <a:lnTo>
                  <a:pt x="3468" y="1802"/>
                </a:lnTo>
                <a:lnTo>
                  <a:pt x="3466" y="1814"/>
                </a:lnTo>
                <a:lnTo>
                  <a:pt x="3464" y="1824"/>
                </a:lnTo>
                <a:lnTo>
                  <a:pt x="3461" y="1834"/>
                </a:lnTo>
                <a:lnTo>
                  <a:pt x="3459" y="1844"/>
                </a:lnTo>
                <a:lnTo>
                  <a:pt x="3452" y="1862"/>
                </a:lnTo>
                <a:lnTo>
                  <a:pt x="3449" y="1870"/>
                </a:lnTo>
                <a:lnTo>
                  <a:pt x="3445" y="1880"/>
                </a:lnTo>
                <a:lnTo>
                  <a:pt x="3437" y="1894"/>
                </a:lnTo>
                <a:lnTo>
                  <a:pt x="3432" y="1902"/>
                </a:lnTo>
                <a:lnTo>
                  <a:pt x="3427" y="1908"/>
                </a:lnTo>
                <a:lnTo>
                  <a:pt x="3422" y="1914"/>
                </a:lnTo>
                <a:lnTo>
                  <a:pt x="3417" y="1920"/>
                </a:lnTo>
                <a:lnTo>
                  <a:pt x="3406" y="1930"/>
                </a:lnTo>
                <a:lnTo>
                  <a:pt x="3394" y="1938"/>
                </a:lnTo>
                <a:lnTo>
                  <a:pt x="3381" y="1946"/>
                </a:lnTo>
                <a:lnTo>
                  <a:pt x="3367" y="1950"/>
                </a:lnTo>
                <a:lnTo>
                  <a:pt x="3360" y="1952"/>
                </a:lnTo>
                <a:lnTo>
                  <a:pt x="3353" y="1952"/>
                </a:lnTo>
                <a:lnTo>
                  <a:pt x="3337" y="1954"/>
                </a:lnTo>
                <a:close/>
                <a:moveTo>
                  <a:pt x="3582" y="1882"/>
                </a:moveTo>
                <a:lnTo>
                  <a:pt x="3574" y="1866"/>
                </a:lnTo>
                <a:lnTo>
                  <a:pt x="3567" y="1848"/>
                </a:lnTo>
                <a:lnTo>
                  <a:pt x="3562" y="1828"/>
                </a:lnTo>
                <a:lnTo>
                  <a:pt x="3559" y="1816"/>
                </a:lnTo>
                <a:lnTo>
                  <a:pt x="3557" y="1806"/>
                </a:lnTo>
                <a:lnTo>
                  <a:pt x="3554" y="1782"/>
                </a:lnTo>
                <a:lnTo>
                  <a:pt x="3551" y="1756"/>
                </a:lnTo>
                <a:lnTo>
                  <a:pt x="3550" y="1742"/>
                </a:lnTo>
                <a:lnTo>
                  <a:pt x="3550" y="1726"/>
                </a:lnTo>
                <a:lnTo>
                  <a:pt x="3549" y="1697"/>
                </a:lnTo>
                <a:lnTo>
                  <a:pt x="3549" y="1166"/>
                </a:lnTo>
                <a:lnTo>
                  <a:pt x="3615" y="1166"/>
                </a:lnTo>
                <a:lnTo>
                  <a:pt x="3615" y="1691"/>
                </a:lnTo>
                <a:lnTo>
                  <a:pt x="3615" y="1711"/>
                </a:lnTo>
                <a:lnTo>
                  <a:pt x="3616" y="1728"/>
                </a:lnTo>
                <a:lnTo>
                  <a:pt x="3617" y="1744"/>
                </a:lnTo>
                <a:lnTo>
                  <a:pt x="3618" y="1758"/>
                </a:lnTo>
                <a:lnTo>
                  <a:pt x="3620" y="1772"/>
                </a:lnTo>
                <a:lnTo>
                  <a:pt x="3623" y="1784"/>
                </a:lnTo>
                <a:lnTo>
                  <a:pt x="3625" y="1796"/>
                </a:lnTo>
                <a:lnTo>
                  <a:pt x="3629" y="1804"/>
                </a:lnTo>
                <a:lnTo>
                  <a:pt x="3633" y="1814"/>
                </a:lnTo>
                <a:lnTo>
                  <a:pt x="3637" y="1822"/>
                </a:lnTo>
                <a:lnTo>
                  <a:pt x="3643" y="1830"/>
                </a:lnTo>
                <a:lnTo>
                  <a:pt x="3649" y="1836"/>
                </a:lnTo>
                <a:lnTo>
                  <a:pt x="3652" y="1838"/>
                </a:lnTo>
                <a:lnTo>
                  <a:pt x="3655" y="1840"/>
                </a:lnTo>
                <a:lnTo>
                  <a:pt x="3662" y="1844"/>
                </a:lnTo>
                <a:lnTo>
                  <a:pt x="3670" y="1846"/>
                </a:lnTo>
                <a:lnTo>
                  <a:pt x="3678" y="1846"/>
                </a:lnTo>
                <a:lnTo>
                  <a:pt x="3686" y="1846"/>
                </a:lnTo>
                <a:lnTo>
                  <a:pt x="3694" y="1844"/>
                </a:lnTo>
                <a:lnTo>
                  <a:pt x="3701" y="1840"/>
                </a:lnTo>
                <a:lnTo>
                  <a:pt x="3708" y="1836"/>
                </a:lnTo>
                <a:lnTo>
                  <a:pt x="3713" y="1830"/>
                </a:lnTo>
                <a:lnTo>
                  <a:pt x="3719" y="1822"/>
                </a:lnTo>
                <a:lnTo>
                  <a:pt x="3723" y="1814"/>
                </a:lnTo>
                <a:lnTo>
                  <a:pt x="3728" y="1804"/>
                </a:lnTo>
                <a:lnTo>
                  <a:pt x="3731" y="1796"/>
                </a:lnTo>
                <a:lnTo>
                  <a:pt x="3734" y="1784"/>
                </a:lnTo>
                <a:lnTo>
                  <a:pt x="3736" y="1772"/>
                </a:lnTo>
                <a:lnTo>
                  <a:pt x="3738" y="1758"/>
                </a:lnTo>
                <a:lnTo>
                  <a:pt x="3740" y="1744"/>
                </a:lnTo>
                <a:lnTo>
                  <a:pt x="3741" y="1728"/>
                </a:lnTo>
                <a:lnTo>
                  <a:pt x="3741" y="1711"/>
                </a:lnTo>
                <a:lnTo>
                  <a:pt x="3741" y="1691"/>
                </a:lnTo>
                <a:lnTo>
                  <a:pt x="3741" y="1166"/>
                </a:lnTo>
                <a:lnTo>
                  <a:pt x="3807" y="1166"/>
                </a:lnTo>
                <a:lnTo>
                  <a:pt x="3807" y="1697"/>
                </a:lnTo>
                <a:lnTo>
                  <a:pt x="3806" y="1726"/>
                </a:lnTo>
                <a:lnTo>
                  <a:pt x="3805" y="1742"/>
                </a:lnTo>
                <a:lnTo>
                  <a:pt x="3805" y="1756"/>
                </a:lnTo>
                <a:lnTo>
                  <a:pt x="3802" y="1782"/>
                </a:lnTo>
                <a:lnTo>
                  <a:pt x="3798" y="1806"/>
                </a:lnTo>
                <a:lnTo>
                  <a:pt x="3796" y="1816"/>
                </a:lnTo>
                <a:lnTo>
                  <a:pt x="3794" y="1828"/>
                </a:lnTo>
                <a:lnTo>
                  <a:pt x="3788" y="1848"/>
                </a:lnTo>
                <a:lnTo>
                  <a:pt x="3785" y="1856"/>
                </a:lnTo>
                <a:lnTo>
                  <a:pt x="3782" y="1866"/>
                </a:lnTo>
                <a:lnTo>
                  <a:pt x="3779" y="1874"/>
                </a:lnTo>
                <a:lnTo>
                  <a:pt x="3775" y="1882"/>
                </a:lnTo>
                <a:lnTo>
                  <a:pt x="3771" y="1890"/>
                </a:lnTo>
                <a:lnTo>
                  <a:pt x="3766" y="1898"/>
                </a:lnTo>
                <a:lnTo>
                  <a:pt x="3756" y="1914"/>
                </a:lnTo>
                <a:lnTo>
                  <a:pt x="3745" y="1926"/>
                </a:lnTo>
                <a:lnTo>
                  <a:pt x="3739" y="1930"/>
                </a:lnTo>
                <a:lnTo>
                  <a:pt x="3733" y="1936"/>
                </a:lnTo>
                <a:lnTo>
                  <a:pt x="3720" y="1944"/>
                </a:lnTo>
                <a:lnTo>
                  <a:pt x="3714" y="1946"/>
                </a:lnTo>
                <a:lnTo>
                  <a:pt x="3707" y="1950"/>
                </a:lnTo>
                <a:lnTo>
                  <a:pt x="3693" y="1952"/>
                </a:lnTo>
                <a:lnTo>
                  <a:pt x="3685" y="1954"/>
                </a:lnTo>
                <a:lnTo>
                  <a:pt x="3678" y="1954"/>
                </a:lnTo>
                <a:lnTo>
                  <a:pt x="3663" y="1952"/>
                </a:lnTo>
                <a:lnTo>
                  <a:pt x="3649" y="1950"/>
                </a:lnTo>
                <a:lnTo>
                  <a:pt x="3643" y="1946"/>
                </a:lnTo>
                <a:lnTo>
                  <a:pt x="3636" y="1944"/>
                </a:lnTo>
                <a:lnTo>
                  <a:pt x="3624" y="1936"/>
                </a:lnTo>
                <a:lnTo>
                  <a:pt x="3612" y="1926"/>
                </a:lnTo>
                <a:lnTo>
                  <a:pt x="3601" y="1914"/>
                </a:lnTo>
                <a:lnTo>
                  <a:pt x="3591" y="1898"/>
                </a:lnTo>
                <a:lnTo>
                  <a:pt x="3586" y="1890"/>
                </a:lnTo>
                <a:lnTo>
                  <a:pt x="3582" y="1882"/>
                </a:lnTo>
                <a:close/>
                <a:moveTo>
                  <a:pt x="3934" y="1882"/>
                </a:moveTo>
                <a:lnTo>
                  <a:pt x="3927" y="1866"/>
                </a:lnTo>
                <a:lnTo>
                  <a:pt x="3920" y="1848"/>
                </a:lnTo>
                <a:lnTo>
                  <a:pt x="3915" y="1828"/>
                </a:lnTo>
                <a:lnTo>
                  <a:pt x="3912" y="1816"/>
                </a:lnTo>
                <a:lnTo>
                  <a:pt x="3910" y="1806"/>
                </a:lnTo>
                <a:lnTo>
                  <a:pt x="3907" y="1782"/>
                </a:lnTo>
                <a:lnTo>
                  <a:pt x="3904" y="1756"/>
                </a:lnTo>
                <a:lnTo>
                  <a:pt x="3903" y="1742"/>
                </a:lnTo>
                <a:lnTo>
                  <a:pt x="3903" y="1726"/>
                </a:lnTo>
                <a:lnTo>
                  <a:pt x="3902" y="1697"/>
                </a:lnTo>
                <a:lnTo>
                  <a:pt x="3902" y="1166"/>
                </a:lnTo>
                <a:lnTo>
                  <a:pt x="3968" y="1166"/>
                </a:lnTo>
                <a:lnTo>
                  <a:pt x="3968" y="1691"/>
                </a:lnTo>
                <a:lnTo>
                  <a:pt x="3968" y="1711"/>
                </a:lnTo>
                <a:lnTo>
                  <a:pt x="3969" y="1728"/>
                </a:lnTo>
                <a:lnTo>
                  <a:pt x="3970" y="1744"/>
                </a:lnTo>
                <a:lnTo>
                  <a:pt x="3972" y="1758"/>
                </a:lnTo>
                <a:lnTo>
                  <a:pt x="3973" y="1772"/>
                </a:lnTo>
                <a:lnTo>
                  <a:pt x="3976" y="1784"/>
                </a:lnTo>
                <a:lnTo>
                  <a:pt x="3979" y="1796"/>
                </a:lnTo>
                <a:lnTo>
                  <a:pt x="3982" y="1804"/>
                </a:lnTo>
                <a:lnTo>
                  <a:pt x="3986" y="1814"/>
                </a:lnTo>
                <a:lnTo>
                  <a:pt x="3991" y="1822"/>
                </a:lnTo>
                <a:lnTo>
                  <a:pt x="3996" y="1830"/>
                </a:lnTo>
                <a:lnTo>
                  <a:pt x="4002" y="1836"/>
                </a:lnTo>
                <a:lnTo>
                  <a:pt x="4005" y="1838"/>
                </a:lnTo>
                <a:lnTo>
                  <a:pt x="4008" y="1840"/>
                </a:lnTo>
                <a:lnTo>
                  <a:pt x="4015" y="1844"/>
                </a:lnTo>
                <a:lnTo>
                  <a:pt x="4023" y="1846"/>
                </a:lnTo>
                <a:lnTo>
                  <a:pt x="4031" y="1846"/>
                </a:lnTo>
                <a:lnTo>
                  <a:pt x="4040" y="1846"/>
                </a:lnTo>
                <a:lnTo>
                  <a:pt x="4047" y="1844"/>
                </a:lnTo>
                <a:lnTo>
                  <a:pt x="4054" y="1840"/>
                </a:lnTo>
                <a:lnTo>
                  <a:pt x="4061" y="1836"/>
                </a:lnTo>
                <a:lnTo>
                  <a:pt x="4067" y="1830"/>
                </a:lnTo>
                <a:lnTo>
                  <a:pt x="4072" y="1822"/>
                </a:lnTo>
                <a:lnTo>
                  <a:pt x="4077" y="1814"/>
                </a:lnTo>
                <a:lnTo>
                  <a:pt x="4081" y="1804"/>
                </a:lnTo>
                <a:lnTo>
                  <a:pt x="4084" y="1796"/>
                </a:lnTo>
                <a:lnTo>
                  <a:pt x="4087" y="1784"/>
                </a:lnTo>
                <a:lnTo>
                  <a:pt x="4090" y="1772"/>
                </a:lnTo>
                <a:lnTo>
                  <a:pt x="4091" y="1758"/>
                </a:lnTo>
                <a:lnTo>
                  <a:pt x="4093" y="1744"/>
                </a:lnTo>
                <a:lnTo>
                  <a:pt x="4094" y="1728"/>
                </a:lnTo>
                <a:lnTo>
                  <a:pt x="4094" y="1711"/>
                </a:lnTo>
                <a:lnTo>
                  <a:pt x="4094" y="1691"/>
                </a:lnTo>
                <a:lnTo>
                  <a:pt x="4094" y="1166"/>
                </a:lnTo>
                <a:lnTo>
                  <a:pt x="4160" y="1166"/>
                </a:lnTo>
                <a:lnTo>
                  <a:pt x="4160" y="1697"/>
                </a:lnTo>
                <a:lnTo>
                  <a:pt x="4159" y="1726"/>
                </a:lnTo>
                <a:lnTo>
                  <a:pt x="4159" y="1742"/>
                </a:lnTo>
                <a:lnTo>
                  <a:pt x="4158" y="1756"/>
                </a:lnTo>
                <a:lnTo>
                  <a:pt x="4155" y="1782"/>
                </a:lnTo>
                <a:lnTo>
                  <a:pt x="4152" y="1806"/>
                </a:lnTo>
                <a:lnTo>
                  <a:pt x="4149" y="1816"/>
                </a:lnTo>
                <a:lnTo>
                  <a:pt x="4147" y="1828"/>
                </a:lnTo>
                <a:lnTo>
                  <a:pt x="4142" y="1848"/>
                </a:lnTo>
                <a:lnTo>
                  <a:pt x="4139" y="1856"/>
                </a:lnTo>
                <a:lnTo>
                  <a:pt x="4135" y="1866"/>
                </a:lnTo>
                <a:lnTo>
                  <a:pt x="4132" y="1874"/>
                </a:lnTo>
                <a:lnTo>
                  <a:pt x="4128" y="1882"/>
                </a:lnTo>
                <a:lnTo>
                  <a:pt x="4124" y="1890"/>
                </a:lnTo>
                <a:lnTo>
                  <a:pt x="4119" y="1898"/>
                </a:lnTo>
                <a:lnTo>
                  <a:pt x="4109" y="1914"/>
                </a:lnTo>
                <a:lnTo>
                  <a:pt x="4098" y="1926"/>
                </a:lnTo>
                <a:lnTo>
                  <a:pt x="4092" y="1930"/>
                </a:lnTo>
                <a:lnTo>
                  <a:pt x="4086" y="1936"/>
                </a:lnTo>
                <a:lnTo>
                  <a:pt x="4073" y="1944"/>
                </a:lnTo>
                <a:lnTo>
                  <a:pt x="4067" y="1946"/>
                </a:lnTo>
                <a:lnTo>
                  <a:pt x="4060" y="1950"/>
                </a:lnTo>
                <a:lnTo>
                  <a:pt x="4046" y="1952"/>
                </a:lnTo>
                <a:lnTo>
                  <a:pt x="4039" y="1954"/>
                </a:lnTo>
                <a:lnTo>
                  <a:pt x="4031" y="1954"/>
                </a:lnTo>
                <a:lnTo>
                  <a:pt x="4017" y="1952"/>
                </a:lnTo>
                <a:lnTo>
                  <a:pt x="4003" y="1950"/>
                </a:lnTo>
                <a:lnTo>
                  <a:pt x="3996" y="1946"/>
                </a:lnTo>
                <a:lnTo>
                  <a:pt x="3989" y="1944"/>
                </a:lnTo>
                <a:lnTo>
                  <a:pt x="3977" y="1936"/>
                </a:lnTo>
                <a:lnTo>
                  <a:pt x="3965" y="1926"/>
                </a:lnTo>
                <a:lnTo>
                  <a:pt x="3954" y="1914"/>
                </a:lnTo>
                <a:lnTo>
                  <a:pt x="3943" y="1898"/>
                </a:lnTo>
                <a:lnTo>
                  <a:pt x="3938" y="1890"/>
                </a:lnTo>
                <a:lnTo>
                  <a:pt x="3934" y="1882"/>
                </a:lnTo>
                <a:close/>
                <a:moveTo>
                  <a:pt x="4370" y="1954"/>
                </a:moveTo>
                <a:lnTo>
                  <a:pt x="4354" y="1954"/>
                </a:lnTo>
                <a:lnTo>
                  <a:pt x="4339" y="1950"/>
                </a:lnTo>
                <a:lnTo>
                  <a:pt x="4324" y="1944"/>
                </a:lnTo>
                <a:lnTo>
                  <a:pt x="4317" y="1940"/>
                </a:lnTo>
                <a:lnTo>
                  <a:pt x="4310" y="1936"/>
                </a:lnTo>
                <a:lnTo>
                  <a:pt x="4298" y="1928"/>
                </a:lnTo>
                <a:lnTo>
                  <a:pt x="4292" y="1922"/>
                </a:lnTo>
                <a:lnTo>
                  <a:pt x="4287" y="1916"/>
                </a:lnTo>
                <a:lnTo>
                  <a:pt x="4277" y="1902"/>
                </a:lnTo>
                <a:lnTo>
                  <a:pt x="4273" y="1896"/>
                </a:lnTo>
                <a:lnTo>
                  <a:pt x="4268" y="1888"/>
                </a:lnTo>
                <a:lnTo>
                  <a:pt x="4264" y="1880"/>
                </a:lnTo>
                <a:lnTo>
                  <a:pt x="4261" y="1872"/>
                </a:lnTo>
                <a:lnTo>
                  <a:pt x="4257" y="1864"/>
                </a:lnTo>
                <a:lnTo>
                  <a:pt x="4254" y="1854"/>
                </a:lnTo>
                <a:lnTo>
                  <a:pt x="4248" y="1834"/>
                </a:lnTo>
                <a:lnTo>
                  <a:pt x="4244" y="1814"/>
                </a:lnTo>
                <a:lnTo>
                  <a:pt x="4242" y="1804"/>
                </a:lnTo>
                <a:lnTo>
                  <a:pt x="4240" y="1792"/>
                </a:lnTo>
                <a:lnTo>
                  <a:pt x="4237" y="1770"/>
                </a:lnTo>
                <a:lnTo>
                  <a:pt x="4236" y="1746"/>
                </a:lnTo>
                <a:lnTo>
                  <a:pt x="4235" y="1732"/>
                </a:lnTo>
                <a:lnTo>
                  <a:pt x="4235" y="1720"/>
                </a:lnTo>
                <a:lnTo>
                  <a:pt x="4298" y="1693"/>
                </a:lnTo>
                <a:lnTo>
                  <a:pt x="4298" y="1714"/>
                </a:lnTo>
                <a:lnTo>
                  <a:pt x="4299" y="1734"/>
                </a:lnTo>
                <a:lnTo>
                  <a:pt x="4301" y="1750"/>
                </a:lnTo>
                <a:lnTo>
                  <a:pt x="4303" y="1766"/>
                </a:lnTo>
                <a:lnTo>
                  <a:pt x="4305" y="1774"/>
                </a:lnTo>
                <a:lnTo>
                  <a:pt x="4306" y="1782"/>
                </a:lnTo>
                <a:lnTo>
                  <a:pt x="4310" y="1794"/>
                </a:lnTo>
                <a:lnTo>
                  <a:pt x="4314" y="1804"/>
                </a:lnTo>
                <a:lnTo>
                  <a:pt x="4318" y="1814"/>
                </a:lnTo>
                <a:lnTo>
                  <a:pt x="4324" y="1824"/>
                </a:lnTo>
                <a:lnTo>
                  <a:pt x="4330" y="1830"/>
                </a:lnTo>
                <a:lnTo>
                  <a:pt x="4336" y="1836"/>
                </a:lnTo>
                <a:lnTo>
                  <a:pt x="4343" y="1840"/>
                </a:lnTo>
                <a:lnTo>
                  <a:pt x="4350" y="1844"/>
                </a:lnTo>
                <a:lnTo>
                  <a:pt x="4357" y="1846"/>
                </a:lnTo>
                <a:lnTo>
                  <a:pt x="4365" y="1848"/>
                </a:lnTo>
                <a:lnTo>
                  <a:pt x="4374" y="1848"/>
                </a:lnTo>
                <a:lnTo>
                  <a:pt x="4381" y="1848"/>
                </a:lnTo>
                <a:lnTo>
                  <a:pt x="4388" y="1846"/>
                </a:lnTo>
                <a:lnTo>
                  <a:pt x="4395" y="1844"/>
                </a:lnTo>
                <a:lnTo>
                  <a:pt x="4401" y="1842"/>
                </a:lnTo>
                <a:lnTo>
                  <a:pt x="4407" y="1838"/>
                </a:lnTo>
                <a:lnTo>
                  <a:pt x="4413" y="1832"/>
                </a:lnTo>
                <a:lnTo>
                  <a:pt x="4418" y="1826"/>
                </a:lnTo>
                <a:lnTo>
                  <a:pt x="4423" y="1820"/>
                </a:lnTo>
                <a:lnTo>
                  <a:pt x="4427" y="1812"/>
                </a:lnTo>
                <a:lnTo>
                  <a:pt x="4431" y="1804"/>
                </a:lnTo>
                <a:lnTo>
                  <a:pt x="4434" y="1796"/>
                </a:lnTo>
                <a:lnTo>
                  <a:pt x="4437" y="1786"/>
                </a:lnTo>
                <a:lnTo>
                  <a:pt x="4439" y="1774"/>
                </a:lnTo>
                <a:lnTo>
                  <a:pt x="4440" y="1770"/>
                </a:lnTo>
                <a:lnTo>
                  <a:pt x="4441" y="1764"/>
                </a:lnTo>
                <a:lnTo>
                  <a:pt x="4442" y="1752"/>
                </a:lnTo>
                <a:lnTo>
                  <a:pt x="4442" y="1738"/>
                </a:lnTo>
                <a:lnTo>
                  <a:pt x="4442" y="1728"/>
                </a:lnTo>
                <a:lnTo>
                  <a:pt x="4442" y="1718"/>
                </a:lnTo>
                <a:lnTo>
                  <a:pt x="4441" y="1711"/>
                </a:lnTo>
                <a:lnTo>
                  <a:pt x="4439" y="1701"/>
                </a:lnTo>
                <a:lnTo>
                  <a:pt x="4437" y="1693"/>
                </a:lnTo>
                <a:lnTo>
                  <a:pt x="4435" y="1685"/>
                </a:lnTo>
                <a:lnTo>
                  <a:pt x="4433" y="1677"/>
                </a:lnTo>
                <a:lnTo>
                  <a:pt x="4430" y="1669"/>
                </a:lnTo>
                <a:lnTo>
                  <a:pt x="4422" y="1653"/>
                </a:lnTo>
                <a:lnTo>
                  <a:pt x="4418" y="1645"/>
                </a:lnTo>
                <a:lnTo>
                  <a:pt x="4413" y="1639"/>
                </a:lnTo>
                <a:lnTo>
                  <a:pt x="4402" y="1625"/>
                </a:lnTo>
                <a:lnTo>
                  <a:pt x="4389" y="1613"/>
                </a:lnTo>
                <a:lnTo>
                  <a:pt x="4325" y="1555"/>
                </a:lnTo>
                <a:lnTo>
                  <a:pt x="4315" y="1547"/>
                </a:lnTo>
                <a:lnTo>
                  <a:pt x="4305" y="1537"/>
                </a:lnTo>
                <a:lnTo>
                  <a:pt x="4289" y="1517"/>
                </a:lnTo>
                <a:lnTo>
                  <a:pt x="4275" y="1497"/>
                </a:lnTo>
                <a:lnTo>
                  <a:pt x="4270" y="1485"/>
                </a:lnTo>
                <a:lnTo>
                  <a:pt x="4264" y="1473"/>
                </a:lnTo>
                <a:lnTo>
                  <a:pt x="4260" y="1461"/>
                </a:lnTo>
                <a:lnTo>
                  <a:pt x="4255" y="1447"/>
                </a:lnTo>
                <a:lnTo>
                  <a:pt x="4252" y="1433"/>
                </a:lnTo>
                <a:lnTo>
                  <a:pt x="4249" y="1417"/>
                </a:lnTo>
                <a:lnTo>
                  <a:pt x="4247" y="1401"/>
                </a:lnTo>
                <a:lnTo>
                  <a:pt x="4246" y="1393"/>
                </a:lnTo>
                <a:lnTo>
                  <a:pt x="4245" y="1385"/>
                </a:lnTo>
                <a:lnTo>
                  <a:pt x="4244" y="1367"/>
                </a:lnTo>
                <a:lnTo>
                  <a:pt x="4244" y="1347"/>
                </a:lnTo>
                <a:lnTo>
                  <a:pt x="4244" y="1335"/>
                </a:lnTo>
                <a:lnTo>
                  <a:pt x="4245" y="1323"/>
                </a:lnTo>
                <a:lnTo>
                  <a:pt x="4246" y="1311"/>
                </a:lnTo>
                <a:lnTo>
                  <a:pt x="4247" y="1299"/>
                </a:lnTo>
                <a:lnTo>
                  <a:pt x="4248" y="1289"/>
                </a:lnTo>
                <a:lnTo>
                  <a:pt x="4250" y="1279"/>
                </a:lnTo>
                <a:lnTo>
                  <a:pt x="4254" y="1259"/>
                </a:lnTo>
                <a:lnTo>
                  <a:pt x="4257" y="1249"/>
                </a:lnTo>
                <a:lnTo>
                  <a:pt x="4260" y="1241"/>
                </a:lnTo>
                <a:lnTo>
                  <a:pt x="4266" y="1225"/>
                </a:lnTo>
                <a:lnTo>
                  <a:pt x="4273" y="1210"/>
                </a:lnTo>
                <a:lnTo>
                  <a:pt x="4277" y="1204"/>
                </a:lnTo>
                <a:lnTo>
                  <a:pt x="4282" y="1198"/>
                </a:lnTo>
                <a:lnTo>
                  <a:pt x="4291" y="1186"/>
                </a:lnTo>
                <a:lnTo>
                  <a:pt x="4301" y="1176"/>
                </a:lnTo>
                <a:lnTo>
                  <a:pt x="4311" y="1166"/>
                </a:lnTo>
                <a:lnTo>
                  <a:pt x="4323" y="1160"/>
                </a:lnTo>
                <a:lnTo>
                  <a:pt x="4335" y="1154"/>
                </a:lnTo>
                <a:lnTo>
                  <a:pt x="4347" y="1150"/>
                </a:lnTo>
                <a:lnTo>
                  <a:pt x="4360" y="1148"/>
                </a:lnTo>
                <a:lnTo>
                  <a:pt x="4373" y="1148"/>
                </a:lnTo>
                <a:lnTo>
                  <a:pt x="4388" y="1150"/>
                </a:lnTo>
                <a:lnTo>
                  <a:pt x="4403" y="1152"/>
                </a:lnTo>
                <a:lnTo>
                  <a:pt x="4416" y="1158"/>
                </a:lnTo>
                <a:lnTo>
                  <a:pt x="4422" y="1162"/>
                </a:lnTo>
                <a:lnTo>
                  <a:pt x="4428" y="1166"/>
                </a:lnTo>
                <a:lnTo>
                  <a:pt x="4440" y="1174"/>
                </a:lnTo>
                <a:lnTo>
                  <a:pt x="4450" y="1186"/>
                </a:lnTo>
                <a:lnTo>
                  <a:pt x="4459" y="1198"/>
                </a:lnTo>
                <a:lnTo>
                  <a:pt x="4467" y="1212"/>
                </a:lnTo>
                <a:lnTo>
                  <a:pt x="4471" y="1218"/>
                </a:lnTo>
                <a:lnTo>
                  <a:pt x="4474" y="1225"/>
                </a:lnTo>
                <a:lnTo>
                  <a:pt x="4477" y="1233"/>
                </a:lnTo>
                <a:lnTo>
                  <a:pt x="4480" y="1241"/>
                </a:lnTo>
                <a:lnTo>
                  <a:pt x="4485" y="1259"/>
                </a:lnTo>
                <a:lnTo>
                  <a:pt x="4490" y="1275"/>
                </a:lnTo>
                <a:lnTo>
                  <a:pt x="4493" y="1293"/>
                </a:lnTo>
                <a:lnTo>
                  <a:pt x="4495" y="1313"/>
                </a:lnTo>
                <a:lnTo>
                  <a:pt x="4497" y="1331"/>
                </a:lnTo>
                <a:lnTo>
                  <a:pt x="4497" y="1349"/>
                </a:lnTo>
                <a:lnTo>
                  <a:pt x="4435" y="1375"/>
                </a:lnTo>
                <a:lnTo>
                  <a:pt x="4435" y="1359"/>
                </a:lnTo>
                <a:lnTo>
                  <a:pt x="4433" y="1345"/>
                </a:lnTo>
                <a:lnTo>
                  <a:pt x="4432" y="1331"/>
                </a:lnTo>
                <a:lnTo>
                  <a:pt x="4430" y="1319"/>
                </a:lnTo>
                <a:lnTo>
                  <a:pt x="4427" y="1309"/>
                </a:lnTo>
                <a:lnTo>
                  <a:pt x="4426" y="1303"/>
                </a:lnTo>
                <a:lnTo>
                  <a:pt x="4424" y="1299"/>
                </a:lnTo>
                <a:lnTo>
                  <a:pt x="4421" y="1289"/>
                </a:lnTo>
                <a:lnTo>
                  <a:pt x="4417" y="1281"/>
                </a:lnTo>
                <a:lnTo>
                  <a:pt x="4413" y="1275"/>
                </a:lnTo>
                <a:lnTo>
                  <a:pt x="4408" y="1269"/>
                </a:lnTo>
                <a:lnTo>
                  <a:pt x="4403" y="1265"/>
                </a:lnTo>
                <a:lnTo>
                  <a:pt x="4397" y="1261"/>
                </a:lnTo>
                <a:lnTo>
                  <a:pt x="4391" y="1257"/>
                </a:lnTo>
                <a:lnTo>
                  <a:pt x="4385" y="1255"/>
                </a:lnTo>
                <a:lnTo>
                  <a:pt x="4378" y="1255"/>
                </a:lnTo>
                <a:lnTo>
                  <a:pt x="4370" y="1253"/>
                </a:lnTo>
                <a:lnTo>
                  <a:pt x="4358" y="1255"/>
                </a:lnTo>
                <a:lnTo>
                  <a:pt x="4346" y="1259"/>
                </a:lnTo>
                <a:lnTo>
                  <a:pt x="4341" y="1263"/>
                </a:lnTo>
                <a:lnTo>
                  <a:pt x="4336" y="1267"/>
                </a:lnTo>
                <a:lnTo>
                  <a:pt x="4331" y="1271"/>
                </a:lnTo>
                <a:lnTo>
                  <a:pt x="4327" y="1275"/>
                </a:lnTo>
                <a:lnTo>
                  <a:pt x="4323" y="1281"/>
                </a:lnTo>
                <a:lnTo>
                  <a:pt x="4319" y="1287"/>
                </a:lnTo>
                <a:lnTo>
                  <a:pt x="4316" y="1295"/>
                </a:lnTo>
                <a:lnTo>
                  <a:pt x="4313" y="1303"/>
                </a:lnTo>
                <a:lnTo>
                  <a:pt x="4311" y="1311"/>
                </a:lnTo>
                <a:lnTo>
                  <a:pt x="4310" y="1321"/>
                </a:lnTo>
                <a:lnTo>
                  <a:pt x="4309" y="1331"/>
                </a:lnTo>
                <a:lnTo>
                  <a:pt x="4308" y="1341"/>
                </a:lnTo>
                <a:lnTo>
                  <a:pt x="4309" y="1351"/>
                </a:lnTo>
                <a:lnTo>
                  <a:pt x="4309" y="1361"/>
                </a:lnTo>
                <a:lnTo>
                  <a:pt x="4310" y="1371"/>
                </a:lnTo>
                <a:lnTo>
                  <a:pt x="4311" y="1379"/>
                </a:lnTo>
                <a:lnTo>
                  <a:pt x="4313" y="1387"/>
                </a:lnTo>
                <a:lnTo>
                  <a:pt x="4315" y="1395"/>
                </a:lnTo>
                <a:lnTo>
                  <a:pt x="4318" y="1403"/>
                </a:lnTo>
                <a:lnTo>
                  <a:pt x="4321" y="1409"/>
                </a:lnTo>
                <a:lnTo>
                  <a:pt x="4325" y="1415"/>
                </a:lnTo>
                <a:lnTo>
                  <a:pt x="4328" y="1421"/>
                </a:lnTo>
                <a:lnTo>
                  <a:pt x="4337" y="1433"/>
                </a:lnTo>
                <a:lnTo>
                  <a:pt x="4347" y="1445"/>
                </a:lnTo>
                <a:lnTo>
                  <a:pt x="4359" y="1457"/>
                </a:lnTo>
                <a:lnTo>
                  <a:pt x="4421" y="1511"/>
                </a:lnTo>
                <a:lnTo>
                  <a:pt x="4431" y="1521"/>
                </a:lnTo>
                <a:lnTo>
                  <a:pt x="4442" y="1531"/>
                </a:lnTo>
                <a:lnTo>
                  <a:pt x="4451" y="1541"/>
                </a:lnTo>
                <a:lnTo>
                  <a:pt x="4459" y="1553"/>
                </a:lnTo>
                <a:lnTo>
                  <a:pt x="4467" y="1565"/>
                </a:lnTo>
                <a:lnTo>
                  <a:pt x="4474" y="1575"/>
                </a:lnTo>
                <a:lnTo>
                  <a:pt x="4480" y="1589"/>
                </a:lnTo>
                <a:lnTo>
                  <a:pt x="4486" y="1601"/>
                </a:lnTo>
                <a:lnTo>
                  <a:pt x="4491" y="1615"/>
                </a:lnTo>
                <a:lnTo>
                  <a:pt x="4495" y="1629"/>
                </a:lnTo>
                <a:lnTo>
                  <a:pt x="4499" y="1643"/>
                </a:lnTo>
                <a:lnTo>
                  <a:pt x="4502" y="1659"/>
                </a:lnTo>
                <a:lnTo>
                  <a:pt x="4504" y="1675"/>
                </a:lnTo>
                <a:lnTo>
                  <a:pt x="4505" y="1685"/>
                </a:lnTo>
                <a:lnTo>
                  <a:pt x="4505" y="1693"/>
                </a:lnTo>
                <a:lnTo>
                  <a:pt x="4506" y="1711"/>
                </a:lnTo>
                <a:lnTo>
                  <a:pt x="4507" y="1730"/>
                </a:lnTo>
                <a:lnTo>
                  <a:pt x="4506" y="1756"/>
                </a:lnTo>
                <a:lnTo>
                  <a:pt x="4504" y="1780"/>
                </a:lnTo>
                <a:lnTo>
                  <a:pt x="4503" y="1792"/>
                </a:lnTo>
                <a:lnTo>
                  <a:pt x="4501" y="1802"/>
                </a:lnTo>
                <a:lnTo>
                  <a:pt x="4499" y="1814"/>
                </a:lnTo>
                <a:lnTo>
                  <a:pt x="4497" y="1824"/>
                </a:lnTo>
                <a:lnTo>
                  <a:pt x="4494" y="1834"/>
                </a:lnTo>
                <a:lnTo>
                  <a:pt x="4492" y="1844"/>
                </a:lnTo>
                <a:lnTo>
                  <a:pt x="4485" y="1862"/>
                </a:lnTo>
                <a:lnTo>
                  <a:pt x="4482" y="1870"/>
                </a:lnTo>
                <a:lnTo>
                  <a:pt x="4478" y="1880"/>
                </a:lnTo>
                <a:lnTo>
                  <a:pt x="4470" y="1894"/>
                </a:lnTo>
                <a:lnTo>
                  <a:pt x="4465" y="1902"/>
                </a:lnTo>
                <a:lnTo>
                  <a:pt x="4460" y="1908"/>
                </a:lnTo>
                <a:lnTo>
                  <a:pt x="4455" y="1914"/>
                </a:lnTo>
                <a:lnTo>
                  <a:pt x="4450" y="1920"/>
                </a:lnTo>
                <a:lnTo>
                  <a:pt x="4439" y="1930"/>
                </a:lnTo>
                <a:lnTo>
                  <a:pt x="4427" y="1938"/>
                </a:lnTo>
                <a:lnTo>
                  <a:pt x="4414" y="1946"/>
                </a:lnTo>
                <a:lnTo>
                  <a:pt x="4400" y="1950"/>
                </a:lnTo>
                <a:lnTo>
                  <a:pt x="4393" y="1952"/>
                </a:lnTo>
                <a:lnTo>
                  <a:pt x="4386" y="1952"/>
                </a:lnTo>
                <a:lnTo>
                  <a:pt x="4370" y="19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7DE48D-705B-612C-7DFA-B303012D79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98587" y="5517232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F5A17A4-EA2D-AFFF-38DF-9699B925DC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98587" y="5805264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5016744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6924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3755CC-1185-51FC-E3B8-4147606A50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5"/>
            <a:ext cx="10008494" cy="1008063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E6B893-6B04-6927-CE94-9A66F78D61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28775"/>
            <a:ext cx="10008493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D925BA-5B20-3CBA-B94B-28B753A84A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AB89C1-E510-4A6E-9F3F-E1DC3F0F4891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7193C2-3638-0637-9E42-4D47B9D9F3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FAE3C4-91D4-D1BC-C03D-1496593FA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43408008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3755CC-1185-51FC-E3B8-4147606A50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5"/>
            <a:ext cx="10008494" cy="1008063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E6B893-6B04-6927-CE94-9A66F78D61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28775"/>
            <a:ext cx="10008493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D925BA-5B20-3CBA-B94B-28B753A84A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55A6DB-4B96-4B99-9883-921A154F7C92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7193C2-3638-0637-9E42-4D47B9D9F3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FAE3C4-91D4-D1BC-C03D-1496593FA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423653371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ja kuvio 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3755CC-1185-51FC-E3B8-4147606A50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5"/>
            <a:ext cx="10008494" cy="1008063"/>
          </a:xfrm>
        </p:spPr>
        <p:txBody>
          <a:bodyPr/>
          <a:lstStyle/>
          <a:p>
            <a:r>
              <a:rPr lang="fi-FI" noProof="0"/>
              <a:t>Muokkaa ots. perustyyl. napsautt.</a:t>
            </a:r>
            <a:endParaRPr lang="fi-FI" noProof="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E6B893-6B04-6927-CE94-9A66F78D61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28775"/>
            <a:ext cx="4823917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  <a:endParaRPr lang="fi-FI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D925BA-5B20-3CBA-B94B-28B753A84A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558CF0-FC70-4BE4-80DA-740EA403766D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7193C2-3638-0637-9E42-4D47B9D9F3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FAE3C4-91D4-D1BC-C03D-1496593FA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6ED8460-F9B2-1E6C-652D-AA997ED935B1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591944" y="1625600"/>
            <a:ext cx="4824536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371910022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ja kuvio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3755CC-1185-51FC-E3B8-4147606A50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5"/>
            <a:ext cx="10008494" cy="1008063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D925BA-5B20-3CBA-B94B-28B753A84A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0D2401-ABED-41D5-A95E-C31F309EFF45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7193C2-3638-0637-9E42-4D47B9D9F3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FAE3C4-91D4-D1BC-C03D-1496593FA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94252B3-EC17-3576-06D2-135934271A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28775"/>
            <a:ext cx="4823917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  <a:endParaRPr lang="fi-FI" noProof="0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9616082-FCF3-0B4C-CCD3-8B4500C23EE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591944" y="1625600"/>
            <a:ext cx="4824536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321755788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ja kuvio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3755CC-1185-51FC-E3B8-4147606A50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5"/>
            <a:ext cx="10008494" cy="1008063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D925BA-5B20-3CBA-B94B-28B753A84A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C6A709-449C-4990-BCA2-D90C58160117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7193C2-3638-0637-9E42-4D47B9D9F3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FAE3C4-91D4-D1BC-C03D-1496593FA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5D5B7C8-05AF-1853-86CF-BEC542D912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28775"/>
            <a:ext cx="4823917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  <a:endParaRPr lang="fi-FI" noProof="0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C27518B-3CD7-DBFA-4079-53C0210547B4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591944" y="1625600"/>
            <a:ext cx="4824536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  <a:endParaRPr lang="fi-FI" noProof="0" dirty="0"/>
          </a:p>
        </p:txBody>
      </p:sp>
    </p:spTree>
    <p:extLst>
      <p:ext uri="{BB962C8B-B14F-4D97-AF65-F5344CB8AC3E}">
        <p14:creationId xmlns:p14="http://schemas.microsoft.com/office/powerpoint/2010/main" val="245508226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1F5D6D5-5A20-461D-96C0-F4E8D310EE53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2394" cy="1656457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3861048"/>
            <a:ext cx="9791700" cy="1512168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2" name="Freeform 9">
            <a:extLst>
              <a:ext uri="{FF2B5EF4-FFF2-40B4-BE49-F238E27FC236}">
                <a16:creationId xmlns:a16="http://schemas.microsoft.com/office/drawing/2014/main" id="{2C197826-9F8E-5472-A8FC-FBC0D76CA5C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409718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EA8D52B-5EB8-4D94-BFE7-050A5307E50B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2394" cy="1656457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3861048"/>
            <a:ext cx="9791700" cy="1512168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2" name="Freeform 9">
            <a:extLst>
              <a:ext uri="{FF2B5EF4-FFF2-40B4-BE49-F238E27FC236}">
                <a16:creationId xmlns:a16="http://schemas.microsoft.com/office/drawing/2014/main" id="{2C197826-9F8E-5472-A8FC-FBC0D76CA5C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437877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AD28CB2-429C-449D-B90D-A00302BBD1F3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2394" cy="1656457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3861048"/>
            <a:ext cx="9791700" cy="1512168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2" name="Freeform 9">
            <a:extLst>
              <a:ext uri="{FF2B5EF4-FFF2-40B4-BE49-F238E27FC236}">
                <a16:creationId xmlns:a16="http://schemas.microsoft.com/office/drawing/2014/main" id="{2C197826-9F8E-5472-A8FC-FBC0D76CA5C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651824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744A279-E57D-423C-973D-705D6374D8CC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2394" cy="1656457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3861048"/>
            <a:ext cx="9791700" cy="1512168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2" name="Freeform 9">
            <a:extLst>
              <a:ext uri="{FF2B5EF4-FFF2-40B4-BE49-F238E27FC236}">
                <a16:creationId xmlns:a16="http://schemas.microsoft.com/office/drawing/2014/main" id="{2C197826-9F8E-5472-A8FC-FBC0D76CA5C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fi-FI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479992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Kuvall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>
            <a:extLst>
              <a:ext uri="{FF2B5EF4-FFF2-40B4-BE49-F238E27FC236}">
                <a16:creationId xmlns:a16="http://schemas.microsoft.com/office/drawing/2014/main" id="{B2B6860F-B462-3395-0D42-1D6C858E9F4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12192000" cy="6858000"/>
          </a:xfrm>
          <a:solidFill>
            <a:schemeClr val="tx2"/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en-GB" dirty="0" err="1"/>
              <a:t>Lisää</a:t>
            </a:r>
            <a:r>
              <a:rPr lang="en-GB" dirty="0"/>
              <a:t> </a:t>
            </a:r>
            <a:r>
              <a:rPr lang="en-GB" dirty="0" err="1"/>
              <a:t>kuva</a:t>
            </a:r>
            <a:endParaRPr lang="en-GB" dirty="0"/>
          </a:p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0D4B36A-5DA6-4B56-BF48-F5CF9F7DD8ED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2394" cy="738664"/>
          </a:xfrm>
        </p:spPr>
        <p:txBody>
          <a:bodyPr anchor="t" anchorCtr="0">
            <a:sp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3861048"/>
            <a:ext cx="9791700" cy="1512168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920EF67-855D-61E4-6831-B4B8E192566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1503213" y="6308625"/>
            <a:ext cx="280800" cy="21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6172171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loitusdia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89437-0A9F-6907-E834-ECE3DB6251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1700" cy="2304529"/>
          </a:xfrm>
        </p:spPr>
        <p:txBody>
          <a:bodyPr anchor="t" anchorCtr="0"/>
          <a:lstStyle>
            <a:lvl1pPr algn="l"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BA9B7E5-3139-76AA-C2C3-60620F1D9B4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4509120"/>
            <a:ext cx="9791700" cy="864096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98F4D-E89B-8263-EB37-8F8B305D4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C3BC516-DB82-4743-A3C0-6E327BA055BB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B5C31-D7B7-0A4A-9FF1-A8910751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9B765-A518-625F-2D82-59131FF13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CD5646D-347F-0693-85B7-82EEFAEE1F7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07368" y="333375"/>
            <a:ext cx="2325003" cy="504000"/>
          </a:xfrm>
          <a:custGeom>
            <a:avLst/>
            <a:gdLst>
              <a:gd name="T0" fmla="*/ 11 w 4507"/>
              <a:gd name="T1" fmla="*/ 18 h 1954"/>
              <a:gd name="T2" fmla="*/ 659 w 4507"/>
              <a:gd name="T3" fmla="*/ 297 h 1954"/>
              <a:gd name="T4" fmla="*/ 666 w 4507"/>
              <a:gd name="T5" fmla="*/ 916 h 1954"/>
              <a:gd name="T6" fmla="*/ 347 w 4507"/>
              <a:gd name="T7" fmla="*/ 880 h 1954"/>
              <a:gd name="T8" fmla="*/ 471 w 4507"/>
              <a:gd name="T9" fmla="*/ 675 h 1954"/>
              <a:gd name="T10" fmla="*/ 375 w 4507"/>
              <a:gd name="T11" fmla="*/ 401 h 1954"/>
              <a:gd name="T12" fmla="*/ 1722 w 4507"/>
              <a:gd name="T13" fmla="*/ 26 h 1954"/>
              <a:gd name="T14" fmla="*/ 1804 w 4507"/>
              <a:gd name="T15" fmla="*/ 309 h 1954"/>
              <a:gd name="T16" fmla="*/ 1741 w 4507"/>
              <a:gd name="T17" fmla="*/ 269 h 1954"/>
              <a:gd name="T18" fmla="*/ 1854 w 4507"/>
              <a:gd name="T19" fmla="*/ 788 h 1954"/>
              <a:gd name="T20" fmla="*/ 2410 w 4507"/>
              <a:gd name="T21" fmla="*/ 18 h 1954"/>
              <a:gd name="T22" fmla="*/ 3053 w 4507"/>
              <a:gd name="T23" fmla="*/ 553 h 1954"/>
              <a:gd name="T24" fmla="*/ 3419 w 4507"/>
              <a:gd name="T25" fmla="*/ 539 h 1954"/>
              <a:gd name="T26" fmla="*/ 3595 w 4507"/>
              <a:gd name="T27" fmla="*/ 659 h 1954"/>
              <a:gd name="T28" fmla="*/ 3699 w 4507"/>
              <a:gd name="T29" fmla="*/ 697 h 1954"/>
              <a:gd name="T30" fmla="*/ 3842 w 4507"/>
              <a:gd name="T31" fmla="*/ 595 h 1954"/>
              <a:gd name="T32" fmla="*/ 3700 w 4507"/>
              <a:gd name="T33" fmla="*/ 806 h 1954"/>
              <a:gd name="T34" fmla="*/ 3943 w 4507"/>
              <a:gd name="T35" fmla="*/ 725 h 1954"/>
              <a:gd name="T36" fmla="*/ 4018 w 4507"/>
              <a:gd name="T37" fmla="*/ 689 h 1954"/>
              <a:gd name="T38" fmla="*/ 4124 w 4507"/>
              <a:gd name="T39" fmla="*/ 581 h 1954"/>
              <a:gd name="T40" fmla="*/ 3931 w 4507"/>
              <a:gd name="T41" fmla="*/ 269 h 1954"/>
              <a:gd name="T42" fmla="*/ 4017 w 4507"/>
              <a:gd name="T43" fmla="*/ 6 h 1954"/>
              <a:gd name="T44" fmla="*/ 4117 w 4507"/>
              <a:gd name="T45" fmla="*/ 228 h 1954"/>
              <a:gd name="T46" fmla="*/ 4005 w 4507"/>
              <a:gd name="T47" fmla="*/ 134 h 1954"/>
              <a:gd name="T48" fmla="*/ 4123 w 4507"/>
              <a:gd name="T49" fmla="*/ 383 h 1954"/>
              <a:gd name="T50" fmla="*/ 4174 w 4507"/>
              <a:gd name="T51" fmla="*/ 697 h 1954"/>
              <a:gd name="T52" fmla="*/ 1767 w 4507"/>
              <a:gd name="T53" fmla="*/ 1273 h 1954"/>
              <a:gd name="T54" fmla="*/ 2197 w 4507"/>
              <a:gd name="T55" fmla="*/ 1926 h 1954"/>
              <a:gd name="T56" fmla="*/ 2114 w 4507"/>
              <a:gd name="T57" fmla="*/ 1551 h 1954"/>
              <a:gd name="T58" fmla="*/ 2226 w 4507"/>
              <a:gd name="T59" fmla="*/ 1156 h 1954"/>
              <a:gd name="T60" fmla="*/ 2385 w 4507"/>
              <a:gd name="T61" fmla="*/ 1313 h 1954"/>
              <a:gd name="T62" fmla="*/ 2373 w 4507"/>
              <a:gd name="T63" fmla="*/ 1834 h 1954"/>
              <a:gd name="T64" fmla="*/ 2227 w 4507"/>
              <a:gd name="T65" fmla="*/ 1271 h 1954"/>
              <a:gd name="T66" fmla="*/ 2192 w 4507"/>
              <a:gd name="T67" fmla="*/ 1738 h 1954"/>
              <a:gd name="T68" fmla="*/ 2323 w 4507"/>
              <a:gd name="T69" fmla="*/ 1760 h 1954"/>
              <a:gd name="T70" fmla="*/ 2273 w 4507"/>
              <a:gd name="T71" fmla="*/ 1259 h 1954"/>
              <a:gd name="T72" fmla="*/ 3321 w 4507"/>
              <a:gd name="T73" fmla="*/ 1954 h 1954"/>
              <a:gd name="T74" fmla="*/ 3265 w 4507"/>
              <a:gd name="T75" fmla="*/ 1693 h 1954"/>
              <a:gd name="T76" fmla="*/ 3380 w 4507"/>
              <a:gd name="T77" fmla="*/ 1832 h 1954"/>
              <a:gd name="T78" fmla="*/ 3369 w 4507"/>
              <a:gd name="T79" fmla="*/ 1625 h 1954"/>
              <a:gd name="T80" fmla="*/ 3218 w 4507"/>
              <a:gd name="T81" fmla="*/ 1279 h 1954"/>
              <a:gd name="T82" fmla="*/ 3426 w 4507"/>
              <a:gd name="T83" fmla="*/ 1198 h 1954"/>
              <a:gd name="T84" fmla="*/ 3370 w 4507"/>
              <a:gd name="T85" fmla="*/ 1265 h 1954"/>
              <a:gd name="T86" fmla="*/ 3279 w 4507"/>
              <a:gd name="T87" fmla="*/ 1379 h 1954"/>
              <a:gd name="T88" fmla="*/ 3471 w 4507"/>
              <a:gd name="T89" fmla="*/ 1675 h 1954"/>
              <a:gd name="T90" fmla="*/ 3381 w 4507"/>
              <a:gd name="T91" fmla="*/ 1946 h 1954"/>
              <a:gd name="T92" fmla="*/ 3620 w 4507"/>
              <a:gd name="T93" fmla="*/ 1772 h 1954"/>
              <a:gd name="T94" fmla="*/ 3736 w 4507"/>
              <a:gd name="T95" fmla="*/ 1772 h 1954"/>
              <a:gd name="T96" fmla="*/ 3756 w 4507"/>
              <a:gd name="T97" fmla="*/ 1914 h 1954"/>
              <a:gd name="T98" fmla="*/ 3915 w 4507"/>
              <a:gd name="T99" fmla="*/ 1828 h 1954"/>
              <a:gd name="T100" fmla="*/ 4005 w 4507"/>
              <a:gd name="T101" fmla="*/ 1838 h 1954"/>
              <a:gd name="T102" fmla="*/ 4160 w 4507"/>
              <a:gd name="T103" fmla="*/ 1697 h 1954"/>
              <a:gd name="T104" fmla="*/ 4039 w 4507"/>
              <a:gd name="T105" fmla="*/ 1954 h 1954"/>
              <a:gd name="T106" fmla="*/ 4268 w 4507"/>
              <a:gd name="T107" fmla="*/ 1888 h 1954"/>
              <a:gd name="T108" fmla="*/ 4324 w 4507"/>
              <a:gd name="T109" fmla="*/ 1824 h 1954"/>
              <a:gd name="T110" fmla="*/ 4442 w 4507"/>
              <a:gd name="T111" fmla="*/ 1752 h 1954"/>
              <a:gd name="T112" fmla="*/ 4255 w 4507"/>
              <a:gd name="T113" fmla="*/ 1447 h 1954"/>
              <a:gd name="T114" fmla="*/ 4311 w 4507"/>
              <a:gd name="T115" fmla="*/ 1166 h 1954"/>
              <a:gd name="T116" fmla="*/ 4497 w 4507"/>
              <a:gd name="T117" fmla="*/ 1331 h 1954"/>
              <a:gd name="T118" fmla="*/ 4336 w 4507"/>
              <a:gd name="T119" fmla="*/ 1267 h 1954"/>
              <a:gd name="T120" fmla="*/ 4359 w 4507"/>
              <a:gd name="T121" fmla="*/ 1457 h 1954"/>
              <a:gd name="T122" fmla="*/ 4499 w 4507"/>
              <a:gd name="T123" fmla="*/ 1814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507" h="1954">
                <a:moveTo>
                  <a:pt x="4307" y="327"/>
                </a:moveTo>
                <a:lnTo>
                  <a:pt x="4377" y="327"/>
                </a:lnTo>
                <a:lnTo>
                  <a:pt x="4377" y="463"/>
                </a:lnTo>
                <a:lnTo>
                  <a:pt x="4307" y="463"/>
                </a:lnTo>
                <a:lnTo>
                  <a:pt x="4307" y="327"/>
                </a:lnTo>
                <a:close/>
                <a:moveTo>
                  <a:pt x="1248" y="18"/>
                </a:moveTo>
                <a:lnTo>
                  <a:pt x="1248" y="473"/>
                </a:lnTo>
                <a:lnTo>
                  <a:pt x="1051" y="473"/>
                </a:lnTo>
                <a:lnTo>
                  <a:pt x="1051" y="1936"/>
                </a:lnTo>
                <a:lnTo>
                  <a:pt x="821" y="1936"/>
                </a:lnTo>
                <a:lnTo>
                  <a:pt x="821" y="473"/>
                </a:lnTo>
                <a:lnTo>
                  <a:pt x="655" y="18"/>
                </a:lnTo>
                <a:lnTo>
                  <a:pt x="1248" y="18"/>
                </a:lnTo>
                <a:close/>
                <a:moveTo>
                  <a:pt x="0" y="1481"/>
                </a:moveTo>
                <a:lnTo>
                  <a:pt x="230" y="1481"/>
                </a:lnTo>
                <a:lnTo>
                  <a:pt x="230" y="1936"/>
                </a:lnTo>
                <a:lnTo>
                  <a:pt x="0" y="1936"/>
                </a:lnTo>
                <a:lnTo>
                  <a:pt x="0" y="1481"/>
                </a:lnTo>
                <a:close/>
                <a:moveTo>
                  <a:pt x="487" y="1186"/>
                </a:moveTo>
                <a:lnTo>
                  <a:pt x="752" y="1936"/>
                </a:lnTo>
                <a:lnTo>
                  <a:pt x="495" y="1936"/>
                </a:lnTo>
                <a:lnTo>
                  <a:pt x="11" y="559"/>
                </a:lnTo>
                <a:lnTo>
                  <a:pt x="11" y="18"/>
                </a:lnTo>
                <a:lnTo>
                  <a:pt x="309" y="18"/>
                </a:lnTo>
                <a:lnTo>
                  <a:pt x="335" y="18"/>
                </a:lnTo>
                <a:lnTo>
                  <a:pt x="359" y="20"/>
                </a:lnTo>
                <a:lnTo>
                  <a:pt x="382" y="24"/>
                </a:lnTo>
                <a:lnTo>
                  <a:pt x="404" y="30"/>
                </a:lnTo>
                <a:lnTo>
                  <a:pt x="426" y="36"/>
                </a:lnTo>
                <a:lnTo>
                  <a:pt x="447" y="44"/>
                </a:lnTo>
                <a:lnTo>
                  <a:pt x="467" y="52"/>
                </a:lnTo>
                <a:lnTo>
                  <a:pt x="476" y="58"/>
                </a:lnTo>
                <a:lnTo>
                  <a:pt x="486" y="62"/>
                </a:lnTo>
                <a:lnTo>
                  <a:pt x="504" y="74"/>
                </a:lnTo>
                <a:lnTo>
                  <a:pt x="521" y="88"/>
                </a:lnTo>
                <a:lnTo>
                  <a:pt x="538" y="102"/>
                </a:lnTo>
                <a:lnTo>
                  <a:pt x="553" y="116"/>
                </a:lnTo>
                <a:lnTo>
                  <a:pt x="569" y="132"/>
                </a:lnTo>
                <a:lnTo>
                  <a:pt x="583" y="150"/>
                </a:lnTo>
                <a:lnTo>
                  <a:pt x="596" y="168"/>
                </a:lnTo>
                <a:lnTo>
                  <a:pt x="609" y="188"/>
                </a:lnTo>
                <a:lnTo>
                  <a:pt x="620" y="208"/>
                </a:lnTo>
                <a:lnTo>
                  <a:pt x="631" y="230"/>
                </a:lnTo>
                <a:lnTo>
                  <a:pt x="641" y="251"/>
                </a:lnTo>
                <a:lnTo>
                  <a:pt x="650" y="273"/>
                </a:lnTo>
                <a:lnTo>
                  <a:pt x="659" y="297"/>
                </a:lnTo>
                <a:lnTo>
                  <a:pt x="666" y="323"/>
                </a:lnTo>
                <a:lnTo>
                  <a:pt x="673" y="349"/>
                </a:lnTo>
                <a:lnTo>
                  <a:pt x="680" y="375"/>
                </a:lnTo>
                <a:lnTo>
                  <a:pt x="685" y="401"/>
                </a:lnTo>
                <a:lnTo>
                  <a:pt x="690" y="429"/>
                </a:lnTo>
                <a:lnTo>
                  <a:pt x="694" y="459"/>
                </a:lnTo>
                <a:lnTo>
                  <a:pt x="697" y="487"/>
                </a:lnTo>
                <a:lnTo>
                  <a:pt x="699" y="517"/>
                </a:lnTo>
                <a:lnTo>
                  <a:pt x="701" y="547"/>
                </a:lnTo>
                <a:lnTo>
                  <a:pt x="702" y="579"/>
                </a:lnTo>
                <a:lnTo>
                  <a:pt x="703" y="611"/>
                </a:lnTo>
                <a:lnTo>
                  <a:pt x="702" y="661"/>
                </a:lnTo>
                <a:lnTo>
                  <a:pt x="701" y="687"/>
                </a:lnTo>
                <a:lnTo>
                  <a:pt x="699" y="711"/>
                </a:lnTo>
                <a:lnTo>
                  <a:pt x="697" y="735"/>
                </a:lnTo>
                <a:lnTo>
                  <a:pt x="695" y="758"/>
                </a:lnTo>
                <a:lnTo>
                  <a:pt x="692" y="782"/>
                </a:lnTo>
                <a:lnTo>
                  <a:pt x="689" y="806"/>
                </a:lnTo>
                <a:lnTo>
                  <a:pt x="685" y="830"/>
                </a:lnTo>
                <a:lnTo>
                  <a:pt x="681" y="852"/>
                </a:lnTo>
                <a:lnTo>
                  <a:pt x="677" y="874"/>
                </a:lnTo>
                <a:lnTo>
                  <a:pt x="672" y="896"/>
                </a:lnTo>
                <a:lnTo>
                  <a:pt x="666" y="916"/>
                </a:lnTo>
                <a:lnTo>
                  <a:pt x="661" y="938"/>
                </a:lnTo>
                <a:lnTo>
                  <a:pt x="655" y="958"/>
                </a:lnTo>
                <a:lnTo>
                  <a:pt x="648" y="976"/>
                </a:lnTo>
                <a:lnTo>
                  <a:pt x="641" y="996"/>
                </a:lnTo>
                <a:lnTo>
                  <a:pt x="634" y="1014"/>
                </a:lnTo>
                <a:lnTo>
                  <a:pt x="626" y="1030"/>
                </a:lnTo>
                <a:lnTo>
                  <a:pt x="618" y="1048"/>
                </a:lnTo>
                <a:lnTo>
                  <a:pt x="609" y="1064"/>
                </a:lnTo>
                <a:lnTo>
                  <a:pt x="600" y="1080"/>
                </a:lnTo>
                <a:lnTo>
                  <a:pt x="591" y="1094"/>
                </a:lnTo>
                <a:lnTo>
                  <a:pt x="581" y="1108"/>
                </a:lnTo>
                <a:lnTo>
                  <a:pt x="571" y="1120"/>
                </a:lnTo>
                <a:lnTo>
                  <a:pt x="559" y="1132"/>
                </a:lnTo>
                <a:lnTo>
                  <a:pt x="548" y="1144"/>
                </a:lnTo>
                <a:lnTo>
                  <a:pt x="537" y="1154"/>
                </a:lnTo>
                <a:lnTo>
                  <a:pt x="525" y="1164"/>
                </a:lnTo>
                <a:lnTo>
                  <a:pt x="513" y="1172"/>
                </a:lnTo>
                <a:lnTo>
                  <a:pt x="500" y="1180"/>
                </a:lnTo>
                <a:lnTo>
                  <a:pt x="487" y="1186"/>
                </a:lnTo>
                <a:close/>
                <a:moveTo>
                  <a:pt x="239" y="391"/>
                </a:moveTo>
                <a:lnTo>
                  <a:pt x="239" y="880"/>
                </a:lnTo>
                <a:lnTo>
                  <a:pt x="337" y="880"/>
                </a:lnTo>
                <a:lnTo>
                  <a:pt x="347" y="880"/>
                </a:lnTo>
                <a:lnTo>
                  <a:pt x="357" y="880"/>
                </a:lnTo>
                <a:lnTo>
                  <a:pt x="367" y="878"/>
                </a:lnTo>
                <a:lnTo>
                  <a:pt x="376" y="874"/>
                </a:lnTo>
                <a:lnTo>
                  <a:pt x="384" y="872"/>
                </a:lnTo>
                <a:lnTo>
                  <a:pt x="392" y="868"/>
                </a:lnTo>
                <a:lnTo>
                  <a:pt x="400" y="862"/>
                </a:lnTo>
                <a:lnTo>
                  <a:pt x="407" y="858"/>
                </a:lnTo>
                <a:lnTo>
                  <a:pt x="413" y="852"/>
                </a:lnTo>
                <a:lnTo>
                  <a:pt x="419" y="844"/>
                </a:lnTo>
                <a:lnTo>
                  <a:pt x="425" y="838"/>
                </a:lnTo>
                <a:lnTo>
                  <a:pt x="430" y="830"/>
                </a:lnTo>
                <a:lnTo>
                  <a:pt x="435" y="822"/>
                </a:lnTo>
                <a:lnTo>
                  <a:pt x="440" y="814"/>
                </a:lnTo>
                <a:lnTo>
                  <a:pt x="444" y="806"/>
                </a:lnTo>
                <a:lnTo>
                  <a:pt x="448" y="796"/>
                </a:lnTo>
                <a:lnTo>
                  <a:pt x="451" y="788"/>
                </a:lnTo>
                <a:lnTo>
                  <a:pt x="454" y="778"/>
                </a:lnTo>
                <a:lnTo>
                  <a:pt x="457" y="768"/>
                </a:lnTo>
                <a:lnTo>
                  <a:pt x="460" y="758"/>
                </a:lnTo>
                <a:lnTo>
                  <a:pt x="464" y="738"/>
                </a:lnTo>
                <a:lnTo>
                  <a:pt x="467" y="717"/>
                </a:lnTo>
                <a:lnTo>
                  <a:pt x="470" y="697"/>
                </a:lnTo>
                <a:lnTo>
                  <a:pt x="471" y="675"/>
                </a:lnTo>
                <a:lnTo>
                  <a:pt x="472" y="655"/>
                </a:lnTo>
                <a:lnTo>
                  <a:pt x="472" y="635"/>
                </a:lnTo>
                <a:lnTo>
                  <a:pt x="472" y="615"/>
                </a:lnTo>
                <a:lnTo>
                  <a:pt x="470" y="593"/>
                </a:lnTo>
                <a:lnTo>
                  <a:pt x="468" y="573"/>
                </a:lnTo>
                <a:lnTo>
                  <a:pt x="464" y="551"/>
                </a:lnTo>
                <a:lnTo>
                  <a:pt x="462" y="541"/>
                </a:lnTo>
                <a:lnTo>
                  <a:pt x="459" y="531"/>
                </a:lnTo>
                <a:lnTo>
                  <a:pt x="457" y="521"/>
                </a:lnTo>
                <a:lnTo>
                  <a:pt x="454" y="511"/>
                </a:lnTo>
                <a:lnTo>
                  <a:pt x="447" y="491"/>
                </a:lnTo>
                <a:lnTo>
                  <a:pt x="443" y="483"/>
                </a:lnTo>
                <a:lnTo>
                  <a:pt x="439" y="473"/>
                </a:lnTo>
                <a:lnTo>
                  <a:pt x="435" y="465"/>
                </a:lnTo>
                <a:lnTo>
                  <a:pt x="430" y="457"/>
                </a:lnTo>
                <a:lnTo>
                  <a:pt x="420" y="441"/>
                </a:lnTo>
                <a:lnTo>
                  <a:pt x="414" y="433"/>
                </a:lnTo>
                <a:lnTo>
                  <a:pt x="408" y="427"/>
                </a:lnTo>
                <a:lnTo>
                  <a:pt x="402" y="421"/>
                </a:lnTo>
                <a:lnTo>
                  <a:pt x="396" y="415"/>
                </a:lnTo>
                <a:lnTo>
                  <a:pt x="389" y="409"/>
                </a:lnTo>
                <a:lnTo>
                  <a:pt x="382" y="405"/>
                </a:lnTo>
                <a:lnTo>
                  <a:pt x="375" y="401"/>
                </a:lnTo>
                <a:lnTo>
                  <a:pt x="367" y="397"/>
                </a:lnTo>
                <a:lnTo>
                  <a:pt x="359" y="395"/>
                </a:lnTo>
                <a:lnTo>
                  <a:pt x="351" y="393"/>
                </a:lnTo>
                <a:lnTo>
                  <a:pt x="333" y="391"/>
                </a:lnTo>
                <a:lnTo>
                  <a:pt x="239" y="391"/>
                </a:lnTo>
                <a:close/>
                <a:moveTo>
                  <a:pt x="1780" y="395"/>
                </a:moveTo>
                <a:lnTo>
                  <a:pt x="1776" y="403"/>
                </a:lnTo>
                <a:lnTo>
                  <a:pt x="1772" y="411"/>
                </a:lnTo>
                <a:lnTo>
                  <a:pt x="1763" y="423"/>
                </a:lnTo>
                <a:lnTo>
                  <a:pt x="1754" y="433"/>
                </a:lnTo>
                <a:lnTo>
                  <a:pt x="1743" y="443"/>
                </a:lnTo>
                <a:lnTo>
                  <a:pt x="1814" y="788"/>
                </a:lnTo>
                <a:lnTo>
                  <a:pt x="1742" y="788"/>
                </a:lnTo>
                <a:lnTo>
                  <a:pt x="1683" y="465"/>
                </a:lnTo>
                <a:lnTo>
                  <a:pt x="1607" y="465"/>
                </a:lnTo>
                <a:lnTo>
                  <a:pt x="1607" y="788"/>
                </a:lnTo>
                <a:lnTo>
                  <a:pt x="1543" y="788"/>
                </a:lnTo>
                <a:lnTo>
                  <a:pt x="1543" y="18"/>
                </a:lnTo>
                <a:lnTo>
                  <a:pt x="1681" y="18"/>
                </a:lnTo>
                <a:lnTo>
                  <a:pt x="1696" y="18"/>
                </a:lnTo>
                <a:lnTo>
                  <a:pt x="1703" y="20"/>
                </a:lnTo>
                <a:lnTo>
                  <a:pt x="1710" y="22"/>
                </a:lnTo>
                <a:lnTo>
                  <a:pt x="1722" y="26"/>
                </a:lnTo>
                <a:lnTo>
                  <a:pt x="1734" y="32"/>
                </a:lnTo>
                <a:lnTo>
                  <a:pt x="1745" y="40"/>
                </a:lnTo>
                <a:lnTo>
                  <a:pt x="1755" y="50"/>
                </a:lnTo>
                <a:lnTo>
                  <a:pt x="1765" y="62"/>
                </a:lnTo>
                <a:lnTo>
                  <a:pt x="1769" y="68"/>
                </a:lnTo>
                <a:lnTo>
                  <a:pt x="1773" y="76"/>
                </a:lnTo>
                <a:lnTo>
                  <a:pt x="1781" y="92"/>
                </a:lnTo>
                <a:lnTo>
                  <a:pt x="1788" y="108"/>
                </a:lnTo>
                <a:lnTo>
                  <a:pt x="1791" y="118"/>
                </a:lnTo>
                <a:lnTo>
                  <a:pt x="1794" y="126"/>
                </a:lnTo>
                <a:lnTo>
                  <a:pt x="1799" y="146"/>
                </a:lnTo>
                <a:lnTo>
                  <a:pt x="1803" y="168"/>
                </a:lnTo>
                <a:lnTo>
                  <a:pt x="1805" y="178"/>
                </a:lnTo>
                <a:lnTo>
                  <a:pt x="1806" y="190"/>
                </a:lnTo>
                <a:lnTo>
                  <a:pt x="1807" y="200"/>
                </a:lnTo>
                <a:lnTo>
                  <a:pt x="1808" y="212"/>
                </a:lnTo>
                <a:lnTo>
                  <a:pt x="1808" y="224"/>
                </a:lnTo>
                <a:lnTo>
                  <a:pt x="1808" y="236"/>
                </a:lnTo>
                <a:lnTo>
                  <a:pt x="1808" y="263"/>
                </a:lnTo>
                <a:lnTo>
                  <a:pt x="1807" y="275"/>
                </a:lnTo>
                <a:lnTo>
                  <a:pt x="1806" y="287"/>
                </a:lnTo>
                <a:lnTo>
                  <a:pt x="1805" y="299"/>
                </a:lnTo>
                <a:lnTo>
                  <a:pt x="1804" y="309"/>
                </a:lnTo>
                <a:lnTo>
                  <a:pt x="1801" y="331"/>
                </a:lnTo>
                <a:lnTo>
                  <a:pt x="1797" y="349"/>
                </a:lnTo>
                <a:lnTo>
                  <a:pt x="1792" y="367"/>
                </a:lnTo>
                <a:lnTo>
                  <a:pt x="1786" y="381"/>
                </a:lnTo>
                <a:lnTo>
                  <a:pt x="1780" y="395"/>
                </a:lnTo>
                <a:close/>
                <a:moveTo>
                  <a:pt x="1678" y="122"/>
                </a:moveTo>
                <a:lnTo>
                  <a:pt x="1607" y="122"/>
                </a:lnTo>
                <a:lnTo>
                  <a:pt x="1607" y="365"/>
                </a:lnTo>
                <a:lnTo>
                  <a:pt x="1678" y="365"/>
                </a:lnTo>
                <a:lnTo>
                  <a:pt x="1686" y="363"/>
                </a:lnTo>
                <a:lnTo>
                  <a:pt x="1694" y="361"/>
                </a:lnTo>
                <a:lnTo>
                  <a:pt x="1700" y="359"/>
                </a:lnTo>
                <a:lnTo>
                  <a:pt x="1707" y="355"/>
                </a:lnTo>
                <a:lnTo>
                  <a:pt x="1712" y="351"/>
                </a:lnTo>
                <a:lnTo>
                  <a:pt x="1717" y="345"/>
                </a:lnTo>
                <a:lnTo>
                  <a:pt x="1722" y="339"/>
                </a:lnTo>
                <a:lnTo>
                  <a:pt x="1726" y="331"/>
                </a:lnTo>
                <a:lnTo>
                  <a:pt x="1730" y="323"/>
                </a:lnTo>
                <a:lnTo>
                  <a:pt x="1733" y="313"/>
                </a:lnTo>
                <a:lnTo>
                  <a:pt x="1736" y="303"/>
                </a:lnTo>
                <a:lnTo>
                  <a:pt x="1738" y="293"/>
                </a:lnTo>
                <a:lnTo>
                  <a:pt x="1740" y="281"/>
                </a:lnTo>
                <a:lnTo>
                  <a:pt x="1741" y="269"/>
                </a:lnTo>
                <a:lnTo>
                  <a:pt x="1742" y="257"/>
                </a:lnTo>
                <a:lnTo>
                  <a:pt x="1742" y="244"/>
                </a:lnTo>
                <a:lnTo>
                  <a:pt x="1742" y="230"/>
                </a:lnTo>
                <a:lnTo>
                  <a:pt x="1742" y="218"/>
                </a:lnTo>
                <a:lnTo>
                  <a:pt x="1740" y="206"/>
                </a:lnTo>
                <a:lnTo>
                  <a:pt x="1739" y="194"/>
                </a:lnTo>
                <a:lnTo>
                  <a:pt x="1737" y="184"/>
                </a:lnTo>
                <a:lnTo>
                  <a:pt x="1734" y="174"/>
                </a:lnTo>
                <a:lnTo>
                  <a:pt x="1731" y="164"/>
                </a:lnTo>
                <a:lnTo>
                  <a:pt x="1728" y="156"/>
                </a:lnTo>
                <a:lnTo>
                  <a:pt x="1723" y="148"/>
                </a:lnTo>
                <a:lnTo>
                  <a:pt x="1719" y="142"/>
                </a:lnTo>
                <a:lnTo>
                  <a:pt x="1713" y="136"/>
                </a:lnTo>
                <a:lnTo>
                  <a:pt x="1708" y="132"/>
                </a:lnTo>
                <a:lnTo>
                  <a:pt x="1701" y="128"/>
                </a:lnTo>
                <a:lnTo>
                  <a:pt x="1694" y="124"/>
                </a:lnTo>
                <a:lnTo>
                  <a:pt x="1686" y="122"/>
                </a:lnTo>
                <a:lnTo>
                  <a:pt x="1678" y="122"/>
                </a:lnTo>
                <a:close/>
                <a:moveTo>
                  <a:pt x="2090" y="788"/>
                </a:moveTo>
                <a:lnTo>
                  <a:pt x="2069" y="635"/>
                </a:lnTo>
                <a:lnTo>
                  <a:pt x="1942" y="635"/>
                </a:lnTo>
                <a:lnTo>
                  <a:pt x="1921" y="788"/>
                </a:lnTo>
                <a:lnTo>
                  <a:pt x="1854" y="788"/>
                </a:lnTo>
                <a:lnTo>
                  <a:pt x="1975" y="18"/>
                </a:lnTo>
                <a:lnTo>
                  <a:pt x="2037" y="18"/>
                </a:lnTo>
                <a:lnTo>
                  <a:pt x="2160" y="788"/>
                </a:lnTo>
                <a:lnTo>
                  <a:pt x="2090" y="788"/>
                </a:lnTo>
                <a:close/>
                <a:moveTo>
                  <a:pt x="2026" y="323"/>
                </a:moveTo>
                <a:lnTo>
                  <a:pt x="2015" y="250"/>
                </a:lnTo>
                <a:lnTo>
                  <a:pt x="2010" y="210"/>
                </a:lnTo>
                <a:lnTo>
                  <a:pt x="2006" y="170"/>
                </a:lnTo>
                <a:lnTo>
                  <a:pt x="2001" y="210"/>
                </a:lnTo>
                <a:lnTo>
                  <a:pt x="1996" y="250"/>
                </a:lnTo>
                <a:lnTo>
                  <a:pt x="1986" y="325"/>
                </a:lnTo>
                <a:lnTo>
                  <a:pt x="1957" y="529"/>
                </a:lnTo>
                <a:lnTo>
                  <a:pt x="2053" y="529"/>
                </a:lnTo>
                <a:lnTo>
                  <a:pt x="2026" y="323"/>
                </a:lnTo>
                <a:close/>
                <a:moveTo>
                  <a:pt x="2419" y="788"/>
                </a:moveTo>
                <a:lnTo>
                  <a:pt x="2323" y="431"/>
                </a:lnTo>
                <a:lnTo>
                  <a:pt x="2285" y="527"/>
                </a:lnTo>
                <a:lnTo>
                  <a:pt x="2285" y="788"/>
                </a:lnTo>
                <a:lnTo>
                  <a:pt x="2220" y="788"/>
                </a:lnTo>
                <a:lnTo>
                  <a:pt x="2220" y="18"/>
                </a:lnTo>
                <a:lnTo>
                  <a:pt x="2285" y="18"/>
                </a:lnTo>
                <a:lnTo>
                  <a:pt x="2285" y="347"/>
                </a:lnTo>
                <a:lnTo>
                  <a:pt x="2410" y="18"/>
                </a:lnTo>
                <a:lnTo>
                  <a:pt x="2492" y="18"/>
                </a:lnTo>
                <a:lnTo>
                  <a:pt x="2363" y="333"/>
                </a:lnTo>
                <a:lnTo>
                  <a:pt x="2498" y="788"/>
                </a:lnTo>
                <a:lnTo>
                  <a:pt x="2419" y="788"/>
                </a:lnTo>
                <a:close/>
                <a:moveTo>
                  <a:pt x="2558" y="788"/>
                </a:moveTo>
                <a:lnTo>
                  <a:pt x="2558" y="18"/>
                </a:lnTo>
                <a:lnTo>
                  <a:pt x="2786" y="18"/>
                </a:lnTo>
                <a:lnTo>
                  <a:pt x="2786" y="126"/>
                </a:lnTo>
                <a:lnTo>
                  <a:pt x="2623" y="126"/>
                </a:lnTo>
                <a:lnTo>
                  <a:pt x="2623" y="341"/>
                </a:lnTo>
                <a:lnTo>
                  <a:pt x="2756" y="341"/>
                </a:lnTo>
                <a:lnTo>
                  <a:pt x="2756" y="445"/>
                </a:lnTo>
                <a:lnTo>
                  <a:pt x="2623" y="445"/>
                </a:lnTo>
                <a:lnTo>
                  <a:pt x="2623" y="683"/>
                </a:lnTo>
                <a:lnTo>
                  <a:pt x="2786" y="683"/>
                </a:lnTo>
                <a:lnTo>
                  <a:pt x="2786" y="788"/>
                </a:lnTo>
                <a:lnTo>
                  <a:pt x="2558" y="788"/>
                </a:lnTo>
                <a:close/>
                <a:moveTo>
                  <a:pt x="2939" y="18"/>
                </a:moveTo>
                <a:lnTo>
                  <a:pt x="3030" y="439"/>
                </a:lnTo>
                <a:lnTo>
                  <a:pt x="3038" y="477"/>
                </a:lnTo>
                <a:lnTo>
                  <a:pt x="3042" y="495"/>
                </a:lnTo>
                <a:lnTo>
                  <a:pt x="3046" y="515"/>
                </a:lnTo>
                <a:lnTo>
                  <a:pt x="3053" y="553"/>
                </a:lnTo>
                <a:lnTo>
                  <a:pt x="3060" y="595"/>
                </a:lnTo>
                <a:lnTo>
                  <a:pt x="3060" y="509"/>
                </a:lnTo>
                <a:lnTo>
                  <a:pt x="3059" y="421"/>
                </a:lnTo>
                <a:lnTo>
                  <a:pt x="3059" y="18"/>
                </a:lnTo>
                <a:lnTo>
                  <a:pt x="3124" y="18"/>
                </a:lnTo>
                <a:lnTo>
                  <a:pt x="3124" y="788"/>
                </a:lnTo>
                <a:lnTo>
                  <a:pt x="3046" y="788"/>
                </a:lnTo>
                <a:lnTo>
                  <a:pt x="2954" y="369"/>
                </a:lnTo>
                <a:lnTo>
                  <a:pt x="2946" y="331"/>
                </a:lnTo>
                <a:lnTo>
                  <a:pt x="2938" y="293"/>
                </a:lnTo>
                <a:lnTo>
                  <a:pt x="2931" y="255"/>
                </a:lnTo>
                <a:lnTo>
                  <a:pt x="2923" y="214"/>
                </a:lnTo>
                <a:lnTo>
                  <a:pt x="2924" y="389"/>
                </a:lnTo>
                <a:lnTo>
                  <a:pt x="2924" y="790"/>
                </a:lnTo>
                <a:lnTo>
                  <a:pt x="2859" y="790"/>
                </a:lnTo>
                <a:lnTo>
                  <a:pt x="2859" y="18"/>
                </a:lnTo>
                <a:lnTo>
                  <a:pt x="2939" y="18"/>
                </a:lnTo>
                <a:close/>
                <a:moveTo>
                  <a:pt x="3306" y="18"/>
                </a:moveTo>
                <a:lnTo>
                  <a:pt x="3396" y="425"/>
                </a:lnTo>
                <a:lnTo>
                  <a:pt x="3404" y="463"/>
                </a:lnTo>
                <a:lnTo>
                  <a:pt x="3408" y="481"/>
                </a:lnTo>
                <a:lnTo>
                  <a:pt x="3412" y="501"/>
                </a:lnTo>
                <a:lnTo>
                  <a:pt x="3419" y="539"/>
                </a:lnTo>
                <a:lnTo>
                  <a:pt x="3426" y="581"/>
                </a:lnTo>
                <a:lnTo>
                  <a:pt x="3426" y="495"/>
                </a:lnTo>
                <a:lnTo>
                  <a:pt x="3426" y="407"/>
                </a:lnTo>
                <a:lnTo>
                  <a:pt x="3426" y="18"/>
                </a:lnTo>
                <a:lnTo>
                  <a:pt x="3491" y="18"/>
                </a:lnTo>
                <a:lnTo>
                  <a:pt x="3491" y="788"/>
                </a:lnTo>
                <a:lnTo>
                  <a:pt x="3412" y="788"/>
                </a:lnTo>
                <a:lnTo>
                  <a:pt x="3320" y="383"/>
                </a:lnTo>
                <a:lnTo>
                  <a:pt x="3312" y="345"/>
                </a:lnTo>
                <a:lnTo>
                  <a:pt x="3305" y="307"/>
                </a:lnTo>
                <a:lnTo>
                  <a:pt x="3297" y="269"/>
                </a:lnTo>
                <a:lnTo>
                  <a:pt x="3290" y="228"/>
                </a:lnTo>
                <a:lnTo>
                  <a:pt x="3290" y="403"/>
                </a:lnTo>
                <a:lnTo>
                  <a:pt x="3290" y="788"/>
                </a:lnTo>
                <a:lnTo>
                  <a:pt x="3226" y="788"/>
                </a:lnTo>
                <a:lnTo>
                  <a:pt x="3226" y="18"/>
                </a:lnTo>
                <a:lnTo>
                  <a:pt x="3306" y="18"/>
                </a:lnTo>
                <a:close/>
                <a:moveTo>
                  <a:pt x="3618" y="735"/>
                </a:moveTo>
                <a:lnTo>
                  <a:pt x="3611" y="719"/>
                </a:lnTo>
                <a:lnTo>
                  <a:pt x="3605" y="701"/>
                </a:lnTo>
                <a:lnTo>
                  <a:pt x="3599" y="681"/>
                </a:lnTo>
                <a:lnTo>
                  <a:pt x="3597" y="669"/>
                </a:lnTo>
                <a:lnTo>
                  <a:pt x="3595" y="659"/>
                </a:lnTo>
                <a:lnTo>
                  <a:pt x="3591" y="635"/>
                </a:lnTo>
                <a:lnTo>
                  <a:pt x="3589" y="609"/>
                </a:lnTo>
                <a:lnTo>
                  <a:pt x="3588" y="595"/>
                </a:lnTo>
                <a:lnTo>
                  <a:pt x="3587" y="581"/>
                </a:lnTo>
                <a:lnTo>
                  <a:pt x="3587" y="549"/>
                </a:lnTo>
                <a:lnTo>
                  <a:pt x="3587" y="18"/>
                </a:lnTo>
                <a:lnTo>
                  <a:pt x="3652" y="18"/>
                </a:lnTo>
                <a:lnTo>
                  <a:pt x="3652" y="543"/>
                </a:lnTo>
                <a:lnTo>
                  <a:pt x="3652" y="563"/>
                </a:lnTo>
                <a:lnTo>
                  <a:pt x="3652" y="581"/>
                </a:lnTo>
                <a:lnTo>
                  <a:pt x="3653" y="597"/>
                </a:lnTo>
                <a:lnTo>
                  <a:pt x="3655" y="611"/>
                </a:lnTo>
                <a:lnTo>
                  <a:pt x="3657" y="625"/>
                </a:lnTo>
                <a:lnTo>
                  <a:pt x="3659" y="637"/>
                </a:lnTo>
                <a:lnTo>
                  <a:pt x="3662" y="649"/>
                </a:lnTo>
                <a:lnTo>
                  <a:pt x="3665" y="659"/>
                </a:lnTo>
                <a:lnTo>
                  <a:pt x="3669" y="667"/>
                </a:lnTo>
                <a:lnTo>
                  <a:pt x="3674" y="675"/>
                </a:lnTo>
                <a:lnTo>
                  <a:pt x="3679" y="683"/>
                </a:lnTo>
                <a:lnTo>
                  <a:pt x="3685" y="689"/>
                </a:lnTo>
                <a:lnTo>
                  <a:pt x="3688" y="691"/>
                </a:lnTo>
                <a:lnTo>
                  <a:pt x="3692" y="693"/>
                </a:lnTo>
                <a:lnTo>
                  <a:pt x="3699" y="697"/>
                </a:lnTo>
                <a:lnTo>
                  <a:pt x="3706" y="699"/>
                </a:lnTo>
                <a:lnTo>
                  <a:pt x="3715" y="699"/>
                </a:lnTo>
                <a:lnTo>
                  <a:pt x="3723" y="699"/>
                </a:lnTo>
                <a:lnTo>
                  <a:pt x="3731" y="697"/>
                </a:lnTo>
                <a:lnTo>
                  <a:pt x="3738" y="693"/>
                </a:lnTo>
                <a:lnTo>
                  <a:pt x="3744" y="689"/>
                </a:lnTo>
                <a:lnTo>
                  <a:pt x="3750" y="683"/>
                </a:lnTo>
                <a:lnTo>
                  <a:pt x="3755" y="675"/>
                </a:lnTo>
                <a:lnTo>
                  <a:pt x="3760" y="667"/>
                </a:lnTo>
                <a:lnTo>
                  <a:pt x="3764" y="659"/>
                </a:lnTo>
                <a:lnTo>
                  <a:pt x="3768" y="649"/>
                </a:lnTo>
                <a:lnTo>
                  <a:pt x="3770" y="637"/>
                </a:lnTo>
                <a:lnTo>
                  <a:pt x="3773" y="625"/>
                </a:lnTo>
                <a:lnTo>
                  <a:pt x="3775" y="613"/>
                </a:lnTo>
                <a:lnTo>
                  <a:pt x="3776" y="597"/>
                </a:lnTo>
                <a:lnTo>
                  <a:pt x="3777" y="581"/>
                </a:lnTo>
                <a:lnTo>
                  <a:pt x="3778" y="563"/>
                </a:lnTo>
                <a:lnTo>
                  <a:pt x="3778" y="543"/>
                </a:lnTo>
                <a:lnTo>
                  <a:pt x="3778" y="18"/>
                </a:lnTo>
                <a:lnTo>
                  <a:pt x="3843" y="18"/>
                </a:lnTo>
                <a:lnTo>
                  <a:pt x="3843" y="549"/>
                </a:lnTo>
                <a:lnTo>
                  <a:pt x="3843" y="581"/>
                </a:lnTo>
                <a:lnTo>
                  <a:pt x="3842" y="595"/>
                </a:lnTo>
                <a:lnTo>
                  <a:pt x="3841" y="609"/>
                </a:lnTo>
                <a:lnTo>
                  <a:pt x="3838" y="635"/>
                </a:lnTo>
                <a:lnTo>
                  <a:pt x="3835" y="659"/>
                </a:lnTo>
                <a:lnTo>
                  <a:pt x="3833" y="669"/>
                </a:lnTo>
                <a:lnTo>
                  <a:pt x="3830" y="681"/>
                </a:lnTo>
                <a:lnTo>
                  <a:pt x="3825" y="701"/>
                </a:lnTo>
                <a:lnTo>
                  <a:pt x="3822" y="709"/>
                </a:lnTo>
                <a:lnTo>
                  <a:pt x="3819" y="719"/>
                </a:lnTo>
                <a:lnTo>
                  <a:pt x="3815" y="727"/>
                </a:lnTo>
                <a:lnTo>
                  <a:pt x="3812" y="735"/>
                </a:lnTo>
                <a:lnTo>
                  <a:pt x="3807" y="744"/>
                </a:lnTo>
                <a:lnTo>
                  <a:pt x="3802" y="752"/>
                </a:lnTo>
                <a:lnTo>
                  <a:pt x="3792" y="766"/>
                </a:lnTo>
                <a:lnTo>
                  <a:pt x="3781" y="778"/>
                </a:lnTo>
                <a:lnTo>
                  <a:pt x="3775" y="784"/>
                </a:lnTo>
                <a:lnTo>
                  <a:pt x="3769" y="788"/>
                </a:lnTo>
                <a:lnTo>
                  <a:pt x="3757" y="796"/>
                </a:lnTo>
                <a:lnTo>
                  <a:pt x="3750" y="800"/>
                </a:lnTo>
                <a:lnTo>
                  <a:pt x="3743" y="802"/>
                </a:lnTo>
                <a:lnTo>
                  <a:pt x="3729" y="806"/>
                </a:lnTo>
                <a:lnTo>
                  <a:pt x="3722" y="806"/>
                </a:lnTo>
                <a:lnTo>
                  <a:pt x="3715" y="806"/>
                </a:lnTo>
                <a:lnTo>
                  <a:pt x="3700" y="806"/>
                </a:lnTo>
                <a:lnTo>
                  <a:pt x="3686" y="802"/>
                </a:lnTo>
                <a:lnTo>
                  <a:pt x="3679" y="800"/>
                </a:lnTo>
                <a:lnTo>
                  <a:pt x="3673" y="796"/>
                </a:lnTo>
                <a:lnTo>
                  <a:pt x="3660" y="788"/>
                </a:lnTo>
                <a:lnTo>
                  <a:pt x="3648" y="778"/>
                </a:lnTo>
                <a:lnTo>
                  <a:pt x="3637" y="766"/>
                </a:lnTo>
                <a:lnTo>
                  <a:pt x="3627" y="750"/>
                </a:lnTo>
                <a:lnTo>
                  <a:pt x="3623" y="742"/>
                </a:lnTo>
                <a:lnTo>
                  <a:pt x="3618" y="735"/>
                </a:lnTo>
                <a:close/>
                <a:moveTo>
                  <a:pt x="4052" y="806"/>
                </a:moveTo>
                <a:lnTo>
                  <a:pt x="4036" y="806"/>
                </a:lnTo>
                <a:lnTo>
                  <a:pt x="4020" y="802"/>
                </a:lnTo>
                <a:lnTo>
                  <a:pt x="4006" y="796"/>
                </a:lnTo>
                <a:lnTo>
                  <a:pt x="4000" y="792"/>
                </a:lnTo>
                <a:lnTo>
                  <a:pt x="3993" y="788"/>
                </a:lnTo>
                <a:lnTo>
                  <a:pt x="3981" y="780"/>
                </a:lnTo>
                <a:lnTo>
                  <a:pt x="3975" y="774"/>
                </a:lnTo>
                <a:lnTo>
                  <a:pt x="3970" y="768"/>
                </a:lnTo>
                <a:lnTo>
                  <a:pt x="3960" y="756"/>
                </a:lnTo>
                <a:lnTo>
                  <a:pt x="3956" y="748"/>
                </a:lnTo>
                <a:lnTo>
                  <a:pt x="3951" y="740"/>
                </a:lnTo>
                <a:lnTo>
                  <a:pt x="3947" y="733"/>
                </a:lnTo>
                <a:lnTo>
                  <a:pt x="3943" y="725"/>
                </a:lnTo>
                <a:lnTo>
                  <a:pt x="3939" y="717"/>
                </a:lnTo>
                <a:lnTo>
                  <a:pt x="3936" y="707"/>
                </a:lnTo>
                <a:lnTo>
                  <a:pt x="3930" y="687"/>
                </a:lnTo>
                <a:lnTo>
                  <a:pt x="3926" y="667"/>
                </a:lnTo>
                <a:lnTo>
                  <a:pt x="3924" y="657"/>
                </a:lnTo>
                <a:lnTo>
                  <a:pt x="3922" y="645"/>
                </a:lnTo>
                <a:lnTo>
                  <a:pt x="3919" y="623"/>
                </a:lnTo>
                <a:lnTo>
                  <a:pt x="3918" y="599"/>
                </a:lnTo>
                <a:lnTo>
                  <a:pt x="3917" y="585"/>
                </a:lnTo>
                <a:lnTo>
                  <a:pt x="3917" y="573"/>
                </a:lnTo>
                <a:lnTo>
                  <a:pt x="3980" y="545"/>
                </a:lnTo>
                <a:lnTo>
                  <a:pt x="3981" y="567"/>
                </a:lnTo>
                <a:lnTo>
                  <a:pt x="3982" y="587"/>
                </a:lnTo>
                <a:lnTo>
                  <a:pt x="3984" y="603"/>
                </a:lnTo>
                <a:lnTo>
                  <a:pt x="3986" y="619"/>
                </a:lnTo>
                <a:lnTo>
                  <a:pt x="3988" y="627"/>
                </a:lnTo>
                <a:lnTo>
                  <a:pt x="3989" y="635"/>
                </a:lnTo>
                <a:lnTo>
                  <a:pt x="3993" y="647"/>
                </a:lnTo>
                <a:lnTo>
                  <a:pt x="3997" y="659"/>
                </a:lnTo>
                <a:lnTo>
                  <a:pt x="4001" y="667"/>
                </a:lnTo>
                <a:lnTo>
                  <a:pt x="4006" y="677"/>
                </a:lnTo>
                <a:lnTo>
                  <a:pt x="4012" y="683"/>
                </a:lnTo>
                <a:lnTo>
                  <a:pt x="4018" y="689"/>
                </a:lnTo>
                <a:lnTo>
                  <a:pt x="4025" y="693"/>
                </a:lnTo>
                <a:lnTo>
                  <a:pt x="4032" y="697"/>
                </a:lnTo>
                <a:lnTo>
                  <a:pt x="4039" y="699"/>
                </a:lnTo>
                <a:lnTo>
                  <a:pt x="4047" y="701"/>
                </a:lnTo>
                <a:lnTo>
                  <a:pt x="4056" y="701"/>
                </a:lnTo>
                <a:lnTo>
                  <a:pt x="4063" y="701"/>
                </a:lnTo>
                <a:lnTo>
                  <a:pt x="4070" y="699"/>
                </a:lnTo>
                <a:lnTo>
                  <a:pt x="4077" y="697"/>
                </a:lnTo>
                <a:lnTo>
                  <a:pt x="4083" y="695"/>
                </a:lnTo>
                <a:lnTo>
                  <a:pt x="4089" y="691"/>
                </a:lnTo>
                <a:lnTo>
                  <a:pt x="4095" y="685"/>
                </a:lnTo>
                <a:lnTo>
                  <a:pt x="4100" y="679"/>
                </a:lnTo>
                <a:lnTo>
                  <a:pt x="4105" y="673"/>
                </a:lnTo>
                <a:lnTo>
                  <a:pt x="4109" y="665"/>
                </a:lnTo>
                <a:lnTo>
                  <a:pt x="4113" y="657"/>
                </a:lnTo>
                <a:lnTo>
                  <a:pt x="4116" y="649"/>
                </a:lnTo>
                <a:lnTo>
                  <a:pt x="4119" y="639"/>
                </a:lnTo>
                <a:lnTo>
                  <a:pt x="4121" y="627"/>
                </a:lnTo>
                <a:lnTo>
                  <a:pt x="4122" y="623"/>
                </a:lnTo>
                <a:lnTo>
                  <a:pt x="4123" y="617"/>
                </a:lnTo>
                <a:lnTo>
                  <a:pt x="4124" y="605"/>
                </a:lnTo>
                <a:lnTo>
                  <a:pt x="4124" y="591"/>
                </a:lnTo>
                <a:lnTo>
                  <a:pt x="4124" y="581"/>
                </a:lnTo>
                <a:lnTo>
                  <a:pt x="4123" y="571"/>
                </a:lnTo>
                <a:lnTo>
                  <a:pt x="4122" y="563"/>
                </a:lnTo>
                <a:lnTo>
                  <a:pt x="4121" y="553"/>
                </a:lnTo>
                <a:lnTo>
                  <a:pt x="4119" y="545"/>
                </a:lnTo>
                <a:lnTo>
                  <a:pt x="4117" y="537"/>
                </a:lnTo>
                <a:lnTo>
                  <a:pt x="4115" y="529"/>
                </a:lnTo>
                <a:lnTo>
                  <a:pt x="4112" y="521"/>
                </a:lnTo>
                <a:lnTo>
                  <a:pt x="4104" y="505"/>
                </a:lnTo>
                <a:lnTo>
                  <a:pt x="4100" y="497"/>
                </a:lnTo>
                <a:lnTo>
                  <a:pt x="4095" y="491"/>
                </a:lnTo>
                <a:lnTo>
                  <a:pt x="4084" y="477"/>
                </a:lnTo>
                <a:lnTo>
                  <a:pt x="4071" y="465"/>
                </a:lnTo>
                <a:lnTo>
                  <a:pt x="4007" y="407"/>
                </a:lnTo>
                <a:lnTo>
                  <a:pt x="3998" y="399"/>
                </a:lnTo>
                <a:lnTo>
                  <a:pt x="3988" y="389"/>
                </a:lnTo>
                <a:lnTo>
                  <a:pt x="3972" y="369"/>
                </a:lnTo>
                <a:lnTo>
                  <a:pt x="3958" y="349"/>
                </a:lnTo>
                <a:lnTo>
                  <a:pt x="3953" y="337"/>
                </a:lnTo>
                <a:lnTo>
                  <a:pt x="3947" y="325"/>
                </a:lnTo>
                <a:lnTo>
                  <a:pt x="3942" y="313"/>
                </a:lnTo>
                <a:lnTo>
                  <a:pt x="3937" y="299"/>
                </a:lnTo>
                <a:lnTo>
                  <a:pt x="3934" y="285"/>
                </a:lnTo>
                <a:lnTo>
                  <a:pt x="3931" y="269"/>
                </a:lnTo>
                <a:lnTo>
                  <a:pt x="3929" y="253"/>
                </a:lnTo>
                <a:lnTo>
                  <a:pt x="3928" y="246"/>
                </a:lnTo>
                <a:lnTo>
                  <a:pt x="3927" y="238"/>
                </a:lnTo>
                <a:lnTo>
                  <a:pt x="3927" y="220"/>
                </a:lnTo>
                <a:lnTo>
                  <a:pt x="3926" y="200"/>
                </a:lnTo>
                <a:lnTo>
                  <a:pt x="3926" y="188"/>
                </a:lnTo>
                <a:lnTo>
                  <a:pt x="3927" y="176"/>
                </a:lnTo>
                <a:lnTo>
                  <a:pt x="3928" y="164"/>
                </a:lnTo>
                <a:lnTo>
                  <a:pt x="3929" y="152"/>
                </a:lnTo>
                <a:lnTo>
                  <a:pt x="3930" y="142"/>
                </a:lnTo>
                <a:lnTo>
                  <a:pt x="3932" y="132"/>
                </a:lnTo>
                <a:lnTo>
                  <a:pt x="3936" y="112"/>
                </a:lnTo>
                <a:lnTo>
                  <a:pt x="3939" y="102"/>
                </a:lnTo>
                <a:lnTo>
                  <a:pt x="3942" y="94"/>
                </a:lnTo>
                <a:lnTo>
                  <a:pt x="3949" y="78"/>
                </a:lnTo>
                <a:lnTo>
                  <a:pt x="3957" y="62"/>
                </a:lnTo>
                <a:lnTo>
                  <a:pt x="3961" y="56"/>
                </a:lnTo>
                <a:lnTo>
                  <a:pt x="3965" y="50"/>
                </a:lnTo>
                <a:lnTo>
                  <a:pt x="3974" y="38"/>
                </a:lnTo>
                <a:lnTo>
                  <a:pt x="3984" y="28"/>
                </a:lnTo>
                <a:lnTo>
                  <a:pt x="3994" y="20"/>
                </a:lnTo>
                <a:lnTo>
                  <a:pt x="4005" y="12"/>
                </a:lnTo>
                <a:lnTo>
                  <a:pt x="4017" y="6"/>
                </a:lnTo>
                <a:lnTo>
                  <a:pt x="4029" y="4"/>
                </a:lnTo>
                <a:lnTo>
                  <a:pt x="4042" y="0"/>
                </a:lnTo>
                <a:lnTo>
                  <a:pt x="4055" y="0"/>
                </a:lnTo>
                <a:lnTo>
                  <a:pt x="4070" y="2"/>
                </a:lnTo>
                <a:lnTo>
                  <a:pt x="4085" y="4"/>
                </a:lnTo>
                <a:lnTo>
                  <a:pt x="4098" y="10"/>
                </a:lnTo>
                <a:lnTo>
                  <a:pt x="4104" y="14"/>
                </a:lnTo>
                <a:lnTo>
                  <a:pt x="4110" y="18"/>
                </a:lnTo>
                <a:lnTo>
                  <a:pt x="4122" y="26"/>
                </a:lnTo>
                <a:lnTo>
                  <a:pt x="4132" y="38"/>
                </a:lnTo>
                <a:lnTo>
                  <a:pt x="4141" y="50"/>
                </a:lnTo>
                <a:lnTo>
                  <a:pt x="4149" y="64"/>
                </a:lnTo>
                <a:lnTo>
                  <a:pt x="4153" y="72"/>
                </a:lnTo>
                <a:lnTo>
                  <a:pt x="4156" y="78"/>
                </a:lnTo>
                <a:lnTo>
                  <a:pt x="4159" y="86"/>
                </a:lnTo>
                <a:lnTo>
                  <a:pt x="4162" y="94"/>
                </a:lnTo>
                <a:lnTo>
                  <a:pt x="4167" y="112"/>
                </a:lnTo>
                <a:lnTo>
                  <a:pt x="4172" y="128"/>
                </a:lnTo>
                <a:lnTo>
                  <a:pt x="4175" y="146"/>
                </a:lnTo>
                <a:lnTo>
                  <a:pt x="4177" y="166"/>
                </a:lnTo>
                <a:lnTo>
                  <a:pt x="4179" y="184"/>
                </a:lnTo>
                <a:lnTo>
                  <a:pt x="4179" y="202"/>
                </a:lnTo>
                <a:lnTo>
                  <a:pt x="4117" y="228"/>
                </a:lnTo>
                <a:lnTo>
                  <a:pt x="4117" y="212"/>
                </a:lnTo>
                <a:lnTo>
                  <a:pt x="4115" y="198"/>
                </a:lnTo>
                <a:lnTo>
                  <a:pt x="4114" y="186"/>
                </a:lnTo>
                <a:lnTo>
                  <a:pt x="4112" y="172"/>
                </a:lnTo>
                <a:lnTo>
                  <a:pt x="4109" y="162"/>
                </a:lnTo>
                <a:lnTo>
                  <a:pt x="4106" y="152"/>
                </a:lnTo>
                <a:lnTo>
                  <a:pt x="4103" y="142"/>
                </a:lnTo>
                <a:lnTo>
                  <a:pt x="4099" y="136"/>
                </a:lnTo>
                <a:lnTo>
                  <a:pt x="4095" y="128"/>
                </a:lnTo>
                <a:lnTo>
                  <a:pt x="4090" y="122"/>
                </a:lnTo>
                <a:lnTo>
                  <a:pt x="4085" y="118"/>
                </a:lnTo>
                <a:lnTo>
                  <a:pt x="4079" y="114"/>
                </a:lnTo>
                <a:lnTo>
                  <a:pt x="4073" y="110"/>
                </a:lnTo>
                <a:lnTo>
                  <a:pt x="4067" y="108"/>
                </a:lnTo>
                <a:lnTo>
                  <a:pt x="4060" y="108"/>
                </a:lnTo>
                <a:lnTo>
                  <a:pt x="4052" y="106"/>
                </a:lnTo>
                <a:lnTo>
                  <a:pt x="4040" y="108"/>
                </a:lnTo>
                <a:lnTo>
                  <a:pt x="4028" y="112"/>
                </a:lnTo>
                <a:lnTo>
                  <a:pt x="4023" y="116"/>
                </a:lnTo>
                <a:lnTo>
                  <a:pt x="4018" y="120"/>
                </a:lnTo>
                <a:lnTo>
                  <a:pt x="4013" y="124"/>
                </a:lnTo>
                <a:lnTo>
                  <a:pt x="4009" y="128"/>
                </a:lnTo>
                <a:lnTo>
                  <a:pt x="4005" y="134"/>
                </a:lnTo>
                <a:lnTo>
                  <a:pt x="4002" y="140"/>
                </a:lnTo>
                <a:lnTo>
                  <a:pt x="3999" y="148"/>
                </a:lnTo>
                <a:lnTo>
                  <a:pt x="3996" y="156"/>
                </a:lnTo>
                <a:lnTo>
                  <a:pt x="3994" y="164"/>
                </a:lnTo>
                <a:lnTo>
                  <a:pt x="3993" y="174"/>
                </a:lnTo>
                <a:lnTo>
                  <a:pt x="3992" y="184"/>
                </a:lnTo>
                <a:lnTo>
                  <a:pt x="3992" y="194"/>
                </a:lnTo>
                <a:lnTo>
                  <a:pt x="3992" y="204"/>
                </a:lnTo>
                <a:lnTo>
                  <a:pt x="3992" y="214"/>
                </a:lnTo>
                <a:lnTo>
                  <a:pt x="3993" y="224"/>
                </a:lnTo>
                <a:lnTo>
                  <a:pt x="3994" y="232"/>
                </a:lnTo>
                <a:lnTo>
                  <a:pt x="3996" y="240"/>
                </a:lnTo>
                <a:lnTo>
                  <a:pt x="3998" y="248"/>
                </a:lnTo>
                <a:lnTo>
                  <a:pt x="4001" y="255"/>
                </a:lnTo>
                <a:lnTo>
                  <a:pt x="4003" y="261"/>
                </a:lnTo>
                <a:lnTo>
                  <a:pt x="4007" y="267"/>
                </a:lnTo>
                <a:lnTo>
                  <a:pt x="4010" y="273"/>
                </a:lnTo>
                <a:lnTo>
                  <a:pt x="4019" y="285"/>
                </a:lnTo>
                <a:lnTo>
                  <a:pt x="4029" y="297"/>
                </a:lnTo>
                <a:lnTo>
                  <a:pt x="4041" y="309"/>
                </a:lnTo>
                <a:lnTo>
                  <a:pt x="4103" y="363"/>
                </a:lnTo>
                <a:lnTo>
                  <a:pt x="4113" y="373"/>
                </a:lnTo>
                <a:lnTo>
                  <a:pt x="4123" y="383"/>
                </a:lnTo>
                <a:lnTo>
                  <a:pt x="4133" y="393"/>
                </a:lnTo>
                <a:lnTo>
                  <a:pt x="4141" y="405"/>
                </a:lnTo>
                <a:lnTo>
                  <a:pt x="4149" y="417"/>
                </a:lnTo>
                <a:lnTo>
                  <a:pt x="4156" y="427"/>
                </a:lnTo>
                <a:lnTo>
                  <a:pt x="4162" y="441"/>
                </a:lnTo>
                <a:lnTo>
                  <a:pt x="4168" y="453"/>
                </a:lnTo>
                <a:lnTo>
                  <a:pt x="4173" y="467"/>
                </a:lnTo>
                <a:lnTo>
                  <a:pt x="4177" y="481"/>
                </a:lnTo>
                <a:lnTo>
                  <a:pt x="4181" y="495"/>
                </a:lnTo>
                <a:lnTo>
                  <a:pt x="4184" y="511"/>
                </a:lnTo>
                <a:lnTo>
                  <a:pt x="4186" y="527"/>
                </a:lnTo>
                <a:lnTo>
                  <a:pt x="4187" y="537"/>
                </a:lnTo>
                <a:lnTo>
                  <a:pt x="4187" y="545"/>
                </a:lnTo>
                <a:lnTo>
                  <a:pt x="4188" y="563"/>
                </a:lnTo>
                <a:lnTo>
                  <a:pt x="4189" y="583"/>
                </a:lnTo>
                <a:lnTo>
                  <a:pt x="4188" y="609"/>
                </a:lnTo>
                <a:lnTo>
                  <a:pt x="4186" y="633"/>
                </a:lnTo>
                <a:lnTo>
                  <a:pt x="4185" y="645"/>
                </a:lnTo>
                <a:lnTo>
                  <a:pt x="4183" y="655"/>
                </a:lnTo>
                <a:lnTo>
                  <a:pt x="4181" y="667"/>
                </a:lnTo>
                <a:lnTo>
                  <a:pt x="4179" y="677"/>
                </a:lnTo>
                <a:lnTo>
                  <a:pt x="4177" y="687"/>
                </a:lnTo>
                <a:lnTo>
                  <a:pt x="4174" y="697"/>
                </a:lnTo>
                <a:lnTo>
                  <a:pt x="4167" y="715"/>
                </a:lnTo>
                <a:lnTo>
                  <a:pt x="4164" y="723"/>
                </a:lnTo>
                <a:lnTo>
                  <a:pt x="4160" y="733"/>
                </a:lnTo>
                <a:lnTo>
                  <a:pt x="4152" y="746"/>
                </a:lnTo>
                <a:lnTo>
                  <a:pt x="4147" y="754"/>
                </a:lnTo>
                <a:lnTo>
                  <a:pt x="4142" y="760"/>
                </a:lnTo>
                <a:lnTo>
                  <a:pt x="4137" y="766"/>
                </a:lnTo>
                <a:lnTo>
                  <a:pt x="4132" y="772"/>
                </a:lnTo>
                <a:lnTo>
                  <a:pt x="4121" y="782"/>
                </a:lnTo>
                <a:lnTo>
                  <a:pt x="4109" y="790"/>
                </a:lnTo>
                <a:lnTo>
                  <a:pt x="4096" y="798"/>
                </a:lnTo>
                <a:lnTo>
                  <a:pt x="4082" y="802"/>
                </a:lnTo>
                <a:lnTo>
                  <a:pt x="4075" y="804"/>
                </a:lnTo>
                <a:lnTo>
                  <a:pt x="4068" y="804"/>
                </a:lnTo>
                <a:lnTo>
                  <a:pt x="4052" y="806"/>
                </a:lnTo>
                <a:close/>
                <a:moveTo>
                  <a:pt x="1669" y="1273"/>
                </a:moveTo>
                <a:lnTo>
                  <a:pt x="1669" y="1936"/>
                </a:lnTo>
                <a:lnTo>
                  <a:pt x="1604" y="1936"/>
                </a:lnTo>
                <a:lnTo>
                  <a:pt x="1604" y="1273"/>
                </a:lnTo>
                <a:lnTo>
                  <a:pt x="1506" y="1273"/>
                </a:lnTo>
                <a:lnTo>
                  <a:pt x="1506" y="1166"/>
                </a:lnTo>
                <a:lnTo>
                  <a:pt x="1767" y="1166"/>
                </a:lnTo>
                <a:lnTo>
                  <a:pt x="1767" y="1273"/>
                </a:lnTo>
                <a:lnTo>
                  <a:pt x="1669" y="1273"/>
                </a:lnTo>
                <a:close/>
                <a:moveTo>
                  <a:pt x="1832" y="1936"/>
                </a:moveTo>
                <a:lnTo>
                  <a:pt x="1832" y="1166"/>
                </a:lnTo>
                <a:lnTo>
                  <a:pt x="2060" y="1166"/>
                </a:lnTo>
                <a:lnTo>
                  <a:pt x="2060" y="1273"/>
                </a:lnTo>
                <a:lnTo>
                  <a:pt x="1897" y="1273"/>
                </a:lnTo>
                <a:lnTo>
                  <a:pt x="1897" y="1489"/>
                </a:lnTo>
                <a:lnTo>
                  <a:pt x="2030" y="1489"/>
                </a:lnTo>
                <a:lnTo>
                  <a:pt x="2030" y="1593"/>
                </a:lnTo>
                <a:lnTo>
                  <a:pt x="1897" y="1593"/>
                </a:lnTo>
                <a:lnTo>
                  <a:pt x="1897" y="1828"/>
                </a:lnTo>
                <a:lnTo>
                  <a:pt x="2060" y="1828"/>
                </a:lnTo>
                <a:lnTo>
                  <a:pt x="2060" y="1936"/>
                </a:lnTo>
                <a:lnTo>
                  <a:pt x="1832" y="1936"/>
                </a:lnTo>
                <a:close/>
                <a:moveTo>
                  <a:pt x="2260" y="1954"/>
                </a:moveTo>
                <a:lnTo>
                  <a:pt x="2251" y="1954"/>
                </a:lnTo>
                <a:lnTo>
                  <a:pt x="2242" y="1952"/>
                </a:lnTo>
                <a:lnTo>
                  <a:pt x="2234" y="1950"/>
                </a:lnTo>
                <a:lnTo>
                  <a:pt x="2226" y="1948"/>
                </a:lnTo>
                <a:lnTo>
                  <a:pt x="2218" y="1944"/>
                </a:lnTo>
                <a:lnTo>
                  <a:pt x="2211" y="1938"/>
                </a:lnTo>
                <a:lnTo>
                  <a:pt x="2204" y="1932"/>
                </a:lnTo>
                <a:lnTo>
                  <a:pt x="2197" y="1926"/>
                </a:lnTo>
                <a:lnTo>
                  <a:pt x="2190" y="1920"/>
                </a:lnTo>
                <a:lnTo>
                  <a:pt x="2184" y="1912"/>
                </a:lnTo>
                <a:lnTo>
                  <a:pt x="2178" y="1902"/>
                </a:lnTo>
                <a:lnTo>
                  <a:pt x="2172" y="1892"/>
                </a:lnTo>
                <a:lnTo>
                  <a:pt x="2166" y="1882"/>
                </a:lnTo>
                <a:lnTo>
                  <a:pt x="2161" y="1872"/>
                </a:lnTo>
                <a:lnTo>
                  <a:pt x="2156" y="1860"/>
                </a:lnTo>
                <a:lnTo>
                  <a:pt x="2151" y="1846"/>
                </a:lnTo>
                <a:lnTo>
                  <a:pt x="2147" y="1834"/>
                </a:lnTo>
                <a:lnTo>
                  <a:pt x="2143" y="1820"/>
                </a:lnTo>
                <a:lnTo>
                  <a:pt x="2139" y="1804"/>
                </a:lnTo>
                <a:lnTo>
                  <a:pt x="2135" y="1788"/>
                </a:lnTo>
                <a:lnTo>
                  <a:pt x="2132" y="1772"/>
                </a:lnTo>
                <a:lnTo>
                  <a:pt x="2129" y="1756"/>
                </a:lnTo>
                <a:lnTo>
                  <a:pt x="2126" y="1738"/>
                </a:lnTo>
                <a:lnTo>
                  <a:pt x="2124" y="1720"/>
                </a:lnTo>
                <a:lnTo>
                  <a:pt x="2121" y="1701"/>
                </a:lnTo>
                <a:lnTo>
                  <a:pt x="2120" y="1681"/>
                </a:lnTo>
                <a:lnTo>
                  <a:pt x="2118" y="1661"/>
                </a:lnTo>
                <a:lnTo>
                  <a:pt x="2117" y="1641"/>
                </a:lnTo>
                <a:lnTo>
                  <a:pt x="2115" y="1597"/>
                </a:lnTo>
                <a:lnTo>
                  <a:pt x="2114" y="1575"/>
                </a:lnTo>
                <a:lnTo>
                  <a:pt x="2114" y="1551"/>
                </a:lnTo>
                <a:lnTo>
                  <a:pt x="2115" y="1505"/>
                </a:lnTo>
                <a:lnTo>
                  <a:pt x="2117" y="1461"/>
                </a:lnTo>
                <a:lnTo>
                  <a:pt x="2118" y="1441"/>
                </a:lnTo>
                <a:lnTo>
                  <a:pt x="2120" y="1421"/>
                </a:lnTo>
                <a:lnTo>
                  <a:pt x="2124" y="1383"/>
                </a:lnTo>
                <a:lnTo>
                  <a:pt x="2126" y="1363"/>
                </a:lnTo>
                <a:lnTo>
                  <a:pt x="2129" y="1347"/>
                </a:lnTo>
                <a:lnTo>
                  <a:pt x="2135" y="1313"/>
                </a:lnTo>
                <a:lnTo>
                  <a:pt x="2139" y="1297"/>
                </a:lnTo>
                <a:lnTo>
                  <a:pt x="2143" y="1283"/>
                </a:lnTo>
                <a:lnTo>
                  <a:pt x="2147" y="1269"/>
                </a:lnTo>
                <a:lnTo>
                  <a:pt x="2151" y="1255"/>
                </a:lnTo>
                <a:lnTo>
                  <a:pt x="2156" y="1243"/>
                </a:lnTo>
                <a:lnTo>
                  <a:pt x="2161" y="1231"/>
                </a:lnTo>
                <a:lnTo>
                  <a:pt x="2166" y="1220"/>
                </a:lnTo>
                <a:lnTo>
                  <a:pt x="2172" y="1210"/>
                </a:lnTo>
                <a:lnTo>
                  <a:pt x="2178" y="1200"/>
                </a:lnTo>
                <a:lnTo>
                  <a:pt x="2184" y="1192"/>
                </a:lnTo>
                <a:lnTo>
                  <a:pt x="2197" y="1176"/>
                </a:lnTo>
                <a:lnTo>
                  <a:pt x="2204" y="1170"/>
                </a:lnTo>
                <a:lnTo>
                  <a:pt x="2211" y="1164"/>
                </a:lnTo>
                <a:lnTo>
                  <a:pt x="2218" y="1160"/>
                </a:lnTo>
                <a:lnTo>
                  <a:pt x="2226" y="1156"/>
                </a:lnTo>
                <a:lnTo>
                  <a:pt x="2234" y="1152"/>
                </a:lnTo>
                <a:lnTo>
                  <a:pt x="2242" y="1150"/>
                </a:lnTo>
                <a:lnTo>
                  <a:pt x="2251" y="1148"/>
                </a:lnTo>
                <a:lnTo>
                  <a:pt x="2260" y="1148"/>
                </a:lnTo>
                <a:lnTo>
                  <a:pt x="2268" y="1148"/>
                </a:lnTo>
                <a:lnTo>
                  <a:pt x="2277" y="1150"/>
                </a:lnTo>
                <a:lnTo>
                  <a:pt x="2285" y="1152"/>
                </a:lnTo>
                <a:lnTo>
                  <a:pt x="2293" y="1156"/>
                </a:lnTo>
                <a:lnTo>
                  <a:pt x="2301" y="1160"/>
                </a:lnTo>
                <a:lnTo>
                  <a:pt x="2308" y="1164"/>
                </a:lnTo>
                <a:lnTo>
                  <a:pt x="2316" y="1170"/>
                </a:lnTo>
                <a:lnTo>
                  <a:pt x="2323" y="1176"/>
                </a:lnTo>
                <a:lnTo>
                  <a:pt x="2329" y="1184"/>
                </a:lnTo>
                <a:lnTo>
                  <a:pt x="2336" y="1192"/>
                </a:lnTo>
                <a:lnTo>
                  <a:pt x="2342" y="1200"/>
                </a:lnTo>
                <a:lnTo>
                  <a:pt x="2348" y="1210"/>
                </a:lnTo>
                <a:lnTo>
                  <a:pt x="2353" y="1220"/>
                </a:lnTo>
                <a:lnTo>
                  <a:pt x="2359" y="1229"/>
                </a:lnTo>
                <a:lnTo>
                  <a:pt x="2364" y="1241"/>
                </a:lnTo>
                <a:lnTo>
                  <a:pt x="2368" y="1255"/>
                </a:lnTo>
                <a:lnTo>
                  <a:pt x="2377" y="1283"/>
                </a:lnTo>
                <a:lnTo>
                  <a:pt x="2381" y="1297"/>
                </a:lnTo>
                <a:lnTo>
                  <a:pt x="2385" y="1313"/>
                </a:lnTo>
                <a:lnTo>
                  <a:pt x="2391" y="1345"/>
                </a:lnTo>
                <a:lnTo>
                  <a:pt x="2394" y="1363"/>
                </a:lnTo>
                <a:lnTo>
                  <a:pt x="2396" y="1381"/>
                </a:lnTo>
                <a:lnTo>
                  <a:pt x="2398" y="1401"/>
                </a:lnTo>
                <a:lnTo>
                  <a:pt x="2400" y="1421"/>
                </a:lnTo>
                <a:lnTo>
                  <a:pt x="2402" y="1441"/>
                </a:lnTo>
                <a:lnTo>
                  <a:pt x="2403" y="1461"/>
                </a:lnTo>
                <a:lnTo>
                  <a:pt x="2404" y="1483"/>
                </a:lnTo>
                <a:lnTo>
                  <a:pt x="2405" y="1505"/>
                </a:lnTo>
                <a:lnTo>
                  <a:pt x="2405" y="1527"/>
                </a:lnTo>
                <a:lnTo>
                  <a:pt x="2406" y="1551"/>
                </a:lnTo>
                <a:lnTo>
                  <a:pt x="2405" y="1597"/>
                </a:lnTo>
                <a:lnTo>
                  <a:pt x="2403" y="1641"/>
                </a:lnTo>
                <a:lnTo>
                  <a:pt x="2402" y="1663"/>
                </a:lnTo>
                <a:lnTo>
                  <a:pt x="2400" y="1683"/>
                </a:lnTo>
                <a:lnTo>
                  <a:pt x="2396" y="1720"/>
                </a:lnTo>
                <a:lnTo>
                  <a:pt x="2394" y="1738"/>
                </a:lnTo>
                <a:lnTo>
                  <a:pt x="2391" y="1756"/>
                </a:lnTo>
                <a:lnTo>
                  <a:pt x="2388" y="1772"/>
                </a:lnTo>
                <a:lnTo>
                  <a:pt x="2385" y="1790"/>
                </a:lnTo>
                <a:lnTo>
                  <a:pt x="2381" y="1804"/>
                </a:lnTo>
                <a:lnTo>
                  <a:pt x="2377" y="1820"/>
                </a:lnTo>
                <a:lnTo>
                  <a:pt x="2373" y="1834"/>
                </a:lnTo>
                <a:lnTo>
                  <a:pt x="2368" y="1846"/>
                </a:lnTo>
                <a:lnTo>
                  <a:pt x="2364" y="1860"/>
                </a:lnTo>
                <a:lnTo>
                  <a:pt x="2359" y="1872"/>
                </a:lnTo>
                <a:lnTo>
                  <a:pt x="2353" y="1882"/>
                </a:lnTo>
                <a:lnTo>
                  <a:pt x="2348" y="1894"/>
                </a:lnTo>
                <a:lnTo>
                  <a:pt x="2342" y="1902"/>
                </a:lnTo>
                <a:lnTo>
                  <a:pt x="2336" y="1912"/>
                </a:lnTo>
                <a:lnTo>
                  <a:pt x="2329" y="1920"/>
                </a:lnTo>
                <a:lnTo>
                  <a:pt x="2323" y="1926"/>
                </a:lnTo>
                <a:lnTo>
                  <a:pt x="2316" y="1934"/>
                </a:lnTo>
                <a:lnTo>
                  <a:pt x="2308" y="1938"/>
                </a:lnTo>
                <a:lnTo>
                  <a:pt x="2301" y="1944"/>
                </a:lnTo>
                <a:lnTo>
                  <a:pt x="2293" y="1948"/>
                </a:lnTo>
                <a:lnTo>
                  <a:pt x="2285" y="1950"/>
                </a:lnTo>
                <a:lnTo>
                  <a:pt x="2277" y="1952"/>
                </a:lnTo>
                <a:lnTo>
                  <a:pt x="2268" y="1954"/>
                </a:lnTo>
                <a:lnTo>
                  <a:pt x="2260" y="1954"/>
                </a:lnTo>
                <a:close/>
                <a:moveTo>
                  <a:pt x="2260" y="1257"/>
                </a:moveTo>
                <a:lnTo>
                  <a:pt x="2251" y="1257"/>
                </a:lnTo>
                <a:lnTo>
                  <a:pt x="2246" y="1259"/>
                </a:lnTo>
                <a:lnTo>
                  <a:pt x="2242" y="1259"/>
                </a:lnTo>
                <a:lnTo>
                  <a:pt x="2234" y="1265"/>
                </a:lnTo>
                <a:lnTo>
                  <a:pt x="2227" y="1271"/>
                </a:lnTo>
                <a:lnTo>
                  <a:pt x="2223" y="1275"/>
                </a:lnTo>
                <a:lnTo>
                  <a:pt x="2220" y="1281"/>
                </a:lnTo>
                <a:lnTo>
                  <a:pt x="2216" y="1287"/>
                </a:lnTo>
                <a:lnTo>
                  <a:pt x="2213" y="1293"/>
                </a:lnTo>
                <a:lnTo>
                  <a:pt x="2210" y="1299"/>
                </a:lnTo>
                <a:lnTo>
                  <a:pt x="2207" y="1307"/>
                </a:lnTo>
                <a:lnTo>
                  <a:pt x="2201" y="1323"/>
                </a:lnTo>
                <a:lnTo>
                  <a:pt x="2199" y="1331"/>
                </a:lnTo>
                <a:lnTo>
                  <a:pt x="2196" y="1341"/>
                </a:lnTo>
                <a:lnTo>
                  <a:pt x="2192" y="1363"/>
                </a:lnTo>
                <a:lnTo>
                  <a:pt x="2188" y="1387"/>
                </a:lnTo>
                <a:lnTo>
                  <a:pt x="2187" y="1399"/>
                </a:lnTo>
                <a:lnTo>
                  <a:pt x="2185" y="1413"/>
                </a:lnTo>
                <a:lnTo>
                  <a:pt x="2183" y="1443"/>
                </a:lnTo>
                <a:lnTo>
                  <a:pt x="2181" y="1477"/>
                </a:lnTo>
                <a:lnTo>
                  <a:pt x="2180" y="1513"/>
                </a:lnTo>
                <a:lnTo>
                  <a:pt x="2180" y="1551"/>
                </a:lnTo>
                <a:lnTo>
                  <a:pt x="2180" y="1591"/>
                </a:lnTo>
                <a:lnTo>
                  <a:pt x="2181" y="1627"/>
                </a:lnTo>
                <a:lnTo>
                  <a:pt x="2183" y="1659"/>
                </a:lnTo>
                <a:lnTo>
                  <a:pt x="2185" y="1689"/>
                </a:lnTo>
                <a:lnTo>
                  <a:pt x="2188" y="1714"/>
                </a:lnTo>
                <a:lnTo>
                  <a:pt x="2192" y="1738"/>
                </a:lnTo>
                <a:lnTo>
                  <a:pt x="2196" y="1760"/>
                </a:lnTo>
                <a:lnTo>
                  <a:pt x="2201" y="1780"/>
                </a:lnTo>
                <a:lnTo>
                  <a:pt x="2207" y="1796"/>
                </a:lnTo>
                <a:lnTo>
                  <a:pt x="2213" y="1810"/>
                </a:lnTo>
                <a:lnTo>
                  <a:pt x="2220" y="1820"/>
                </a:lnTo>
                <a:lnTo>
                  <a:pt x="2227" y="1830"/>
                </a:lnTo>
                <a:lnTo>
                  <a:pt x="2234" y="1836"/>
                </a:lnTo>
                <a:lnTo>
                  <a:pt x="2242" y="1842"/>
                </a:lnTo>
                <a:lnTo>
                  <a:pt x="2251" y="1844"/>
                </a:lnTo>
                <a:lnTo>
                  <a:pt x="2260" y="1846"/>
                </a:lnTo>
                <a:lnTo>
                  <a:pt x="2269" y="1844"/>
                </a:lnTo>
                <a:lnTo>
                  <a:pt x="2273" y="1844"/>
                </a:lnTo>
                <a:lnTo>
                  <a:pt x="2277" y="1842"/>
                </a:lnTo>
                <a:lnTo>
                  <a:pt x="2285" y="1836"/>
                </a:lnTo>
                <a:lnTo>
                  <a:pt x="2293" y="1830"/>
                </a:lnTo>
                <a:lnTo>
                  <a:pt x="2296" y="1826"/>
                </a:lnTo>
                <a:lnTo>
                  <a:pt x="2300" y="1820"/>
                </a:lnTo>
                <a:lnTo>
                  <a:pt x="2306" y="1808"/>
                </a:lnTo>
                <a:lnTo>
                  <a:pt x="2309" y="1802"/>
                </a:lnTo>
                <a:lnTo>
                  <a:pt x="2312" y="1796"/>
                </a:lnTo>
                <a:lnTo>
                  <a:pt x="2318" y="1778"/>
                </a:lnTo>
                <a:lnTo>
                  <a:pt x="2320" y="1770"/>
                </a:lnTo>
                <a:lnTo>
                  <a:pt x="2323" y="1760"/>
                </a:lnTo>
                <a:lnTo>
                  <a:pt x="2327" y="1738"/>
                </a:lnTo>
                <a:lnTo>
                  <a:pt x="2331" y="1714"/>
                </a:lnTo>
                <a:lnTo>
                  <a:pt x="2332" y="1703"/>
                </a:lnTo>
                <a:lnTo>
                  <a:pt x="2334" y="1689"/>
                </a:lnTo>
                <a:lnTo>
                  <a:pt x="2336" y="1659"/>
                </a:lnTo>
                <a:lnTo>
                  <a:pt x="2338" y="1625"/>
                </a:lnTo>
                <a:lnTo>
                  <a:pt x="2339" y="1591"/>
                </a:lnTo>
                <a:lnTo>
                  <a:pt x="2340" y="1551"/>
                </a:lnTo>
                <a:lnTo>
                  <a:pt x="2339" y="1513"/>
                </a:lnTo>
                <a:lnTo>
                  <a:pt x="2338" y="1477"/>
                </a:lnTo>
                <a:lnTo>
                  <a:pt x="2336" y="1443"/>
                </a:lnTo>
                <a:lnTo>
                  <a:pt x="2334" y="1415"/>
                </a:lnTo>
                <a:lnTo>
                  <a:pt x="2331" y="1387"/>
                </a:lnTo>
                <a:lnTo>
                  <a:pt x="2327" y="1363"/>
                </a:lnTo>
                <a:lnTo>
                  <a:pt x="2323" y="1341"/>
                </a:lnTo>
                <a:lnTo>
                  <a:pt x="2318" y="1323"/>
                </a:lnTo>
                <a:lnTo>
                  <a:pt x="2312" y="1307"/>
                </a:lnTo>
                <a:lnTo>
                  <a:pt x="2306" y="1293"/>
                </a:lnTo>
                <a:lnTo>
                  <a:pt x="2300" y="1281"/>
                </a:lnTo>
                <a:lnTo>
                  <a:pt x="2293" y="1271"/>
                </a:lnTo>
                <a:lnTo>
                  <a:pt x="2285" y="1265"/>
                </a:lnTo>
                <a:lnTo>
                  <a:pt x="2277" y="1259"/>
                </a:lnTo>
                <a:lnTo>
                  <a:pt x="2273" y="1259"/>
                </a:lnTo>
                <a:lnTo>
                  <a:pt x="2269" y="1257"/>
                </a:lnTo>
                <a:lnTo>
                  <a:pt x="2260" y="1257"/>
                </a:lnTo>
                <a:close/>
                <a:moveTo>
                  <a:pt x="2485" y="1936"/>
                </a:moveTo>
                <a:lnTo>
                  <a:pt x="2485" y="1166"/>
                </a:lnTo>
                <a:lnTo>
                  <a:pt x="2549" y="1166"/>
                </a:lnTo>
                <a:lnTo>
                  <a:pt x="2549" y="1828"/>
                </a:lnTo>
                <a:lnTo>
                  <a:pt x="2709" y="1828"/>
                </a:lnTo>
                <a:lnTo>
                  <a:pt x="2709" y="1936"/>
                </a:lnTo>
                <a:lnTo>
                  <a:pt x="2485" y="1936"/>
                </a:lnTo>
                <a:close/>
                <a:moveTo>
                  <a:pt x="2769" y="1936"/>
                </a:moveTo>
                <a:lnTo>
                  <a:pt x="2769" y="1166"/>
                </a:lnTo>
                <a:lnTo>
                  <a:pt x="2835" y="1166"/>
                </a:lnTo>
                <a:lnTo>
                  <a:pt x="2835" y="1828"/>
                </a:lnTo>
                <a:lnTo>
                  <a:pt x="2994" y="1828"/>
                </a:lnTo>
                <a:lnTo>
                  <a:pt x="2994" y="1936"/>
                </a:lnTo>
                <a:lnTo>
                  <a:pt x="2769" y="1936"/>
                </a:lnTo>
                <a:close/>
                <a:moveTo>
                  <a:pt x="3055" y="1166"/>
                </a:moveTo>
                <a:lnTo>
                  <a:pt x="3120" y="1166"/>
                </a:lnTo>
                <a:lnTo>
                  <a:pt x="3120" y="1936"/>
                </a:lnTo>
                <a:lnTo>
                  <a:pt x="3055" y="1936"/>
                </a:lnTo>
                <a:lnTo>
                  <a:pt x="3055" y="1166"/>
                </a:lnTo>
                <a:close/>
                <a:moveTo>
                  <a:pt x="3337" y="1954"/>
                </a:moveTo>
                <a:lnTo>
                  <a:pt x="3321" y="1954"/>
                </a:lnTo>
                <a:lnTo>
                  <a:pt x="3305" y="1950"/>
                </a:lnTo>
                <a:lnTo>
                  <a:pt x="3291" y="1944"/>
                </a:lnTo>
                <a:lnTo>
                  <a:pt x="3284" y="1940"/>
                </a:lnTo>
                <a:lnTo>
                  <a:pt x="3278" y="1936"/>
                </a:lnTo>
                <a:lnTo>
                  <a:pt x="3266" y="1928"/>
                </a:lnTo>
                <a:lnTo>
                  <a:pt x="3260" y="1922"/>
                </a:lnTo>
                <a:lnTo>
                  <a:pt x="3255" y="1916"/>
                </a:lnTo>
                <a:lnTo>
                  <a:pt x="3245" y="1902"/>
                </a:lnTo>
                <a:lnTo>
                  <a:pt x="3241" y="1896"/>
                </a:lnTo>
                <a:lnTo>
                  <a:pt x="3236" y="1888"/>
                </a:lnTo>
                <a:lnTo>
                  <a:pt x="3232" y="1880"/>
                </a:lnTo>
                <a:lnTo>
                  <a:pt x="3229" y="1872"/>
                </a:lnTo>
                <a:lnTo>
                  <a:pt x="3225" y="1864"/>
                </a:lnTo>
                <a:lnTo>
                  <a:pt x="3222" y="1854"/>
                </a:lnTo>
                <a:lnTo>
                  <a:pt x="3216" y="1834"/>
                </a:lnTo>
                <a:lnTo>
                  <a:pt x="3211" y="1814"/>
                </a:lnTo>
                <a:lnTo>
                  <a:pt x="3210" y="1804"/>
                </a:lnTo>
                <a:lnTo>
                  <a:pt x="3208" y="1792"/>
                </a:lnTo>
                <a:lnTo>
                  <a:pt x="3205" y="1770"/>
                </a:lnTo>
                <a:lnTo>
                  <a:pt x="3203" y="1746"/>
                </a:lnTo>
                <a:lnTo>
                  <a:pt x="3203" y="1732"/>
                </a:lnTo>
                <a:lnTo>
                  <a:pt x="3203" y="1720"/>
                </a:lnTo>
                <a:lnTo>
                  <a:pt x="3265" y="1693"/>
                </a:lnTo>
                <a:lnTo>
                  <a:pt x="3266" y="1714"/>
                </a:lnTo>
                <a:lnTo>
                  <a:pt x="3267" y="1734"/>
                </a:lnTo>
                <a:lnTo>
                  <a:pt x="3269" y="1750"/>
                </a:lnTo>
                <a:lnTo>
                  <a:pt x="3271" y="1766"/>
                </a:lnTo>
                <a:lnTo>
                  <a:pt x="3273" y="1774"/>
                </a:lnTo>
                <a:lnTo>
                  <a:pt x="3274" y="1782"/>
                </a:lnTo>
                <a:lnTo>
                  <a:pt x="3278" y="1794"/>
                </a:lnTo>
                <a:lnTo>
                  <a:pt x="3282" y="1804"/>
                </a:lnTo>
                <a:lnTo>
                  <a:pt x="3286" y="1814"/>
                </a:lnTo>
                <a:lnTo>
                  <a:pt x="3291" y="1824"/>
                </a:lnTo>
                <a:lnTo>
                  <a:pt x="3297" y="1830"/>
                </a:lnTo>
                <a:lnTo>
                  <a:pt x="3303" y="1836"/>
                </a:lnTo>
                <a:lnTo>
                  <a:pt x="3310" y="1840"/>
                </a:lnTo>
                <a:lnTo>
                  <a:pt x="3317" y="1844"/>
                </a:lnTo>
                <a:lnTo>
                  <a:pt x="3324" y="1846"/>
                </a:lnTo>
                <a:lnTo>
                  <a:pt x="3332" y="1848"/>
                </a:lnTo>
                <a:lnTo>
                  <a:pt x="3341" y="1848"/>
                </a:lnTo>
                <a:lnTo>
                  <a:pt x="3348" y="1848"/>
                </a:lnTo>
                <a:lnTo>
                  <a:pt x="3355" y="1846"/>
                </a:lnTo>
                <a:lnTo>
                  <a:pt x="3362" y="1844"/>
                </a:lnTo>
                <a:lnTo>
                  <a:pt x="3368" y="1842"/>
                </a:lnTo>
                <a:lnTo>
                  <a:pt x="3374" y="1838"/>
                </a:lnTo>
                <a:lnTo>
                  <a:pt x="3380" y="1832"/>
                </a:lnTo>
                <a:lnTo>
                  <a:pt x="3385" y="1826"/>
                </a:lnTo>
                <a:lnTo>
                  <a:pt x="3390" y="1820"/>
                </a:lnTo>
                <a:lnTo>
                  <a:pt x="3394" y="1812"/>
                </a:lnTo>
                <a:lnTo>
                  <a:pt x="3398" y="1804"/>
                </a:lnTo>
                <a:lnTo>
                  <a:pt x="3401" y="1796"/>
                </a:lnTo>
                <a:lnTo>
                  <a:pt x="3404" y="1786"/>
                </a:lnTo>
                <a:lnTo>
                  <a:pt x="3406" y="1774"/>
                </a:lnTo>
                <a:lnTo>
                  <a:pt x="3407" y="1770"/>
                </a:lnTo>
                <a:lnTo>
                  <a:pt x="3408" y="1764"/>
                </a:lnTo>
                <a:lnTo>
                  <a:pt x="3409" y="1752"/>
                </a:lnTo>
                <a:lnTo>
                  <a:pt x="3409" y="1738"/>
                </a:lnTo>
                <a:lnTo>
                  <a:pt x="3409" y="1728"/>
                </a:lnTo>
                <a:lnTo>
                  <a:pt x="3408" y="1718"/>
                </a:lnTo>
                <a:lnTo>
                  <a:pt x="3407" y="1711"/>
                </a:lnTo>
                <a:lnTo>
                  <a:pt x="3406" y="1701"/>
                </a:lnTo>
                <a:lnTo>
                  <a:pt x="3404" y="1693"/>
                </a:lnTo>
                <a:lnTo>
                  <a:pt x="3402" y="1685"/>
                </a:lnTo>
                <a:lnTo>
                  <a:pt x="3400" y="1677"/>
                </a:lnTo>
                <a:lnTo>
                  <a:pt x="3396" y="1669"/>
                </a:lnTo>
                <a:lnTo>
                  <a:pt x="3389" y="1653"/>
                </a:lnTo>
                <a:lnTo>
                  <a:pt x="3385" y="1645"/>
                </a:lnTo>
                <a:lnTo>
                  <a:pt x="3380" y="1639"/>
                </a:lnTo>
                <a:lnTo>
                  <a:pt x="3369" y="1625"/>
                </a:lnTo>
                <a:lnTo>
                  <a:pt x="3356" y="1613"/>
                </a:lnTo>
                <a:lnTo>
                  <a:pt x="3292" y="1555"/>
                </a:lnTo>
                <a:lnTo>
                  <a:pt x="3282" y="1547"/>
                </a:lnTo>
                <a:lnTo>
                  <a:pt x="3273" y="1537"/>
                </a:lnTo>
                <a:lnTo>
                  <a:pt x="3257" y="1517"/>
                </a:lnTo>
                <a:lnTo>
                  <a:pt x="3243" y="1497"/>
                </a:lnTo>
                <a:lnTo>
                  <a:pt x="3237" y="1485"/>
                </a:lnTo>
                <a:lnTo>
                  <a:pt x="3232" y="1473"/>
                </a:lnTo>
                <a:lnTo>
                  <a:pt x="3227" y="1461"/>
                </a:lnTo>
                <a:lnTo>
                  <a:pt x="3223" y="1447"/>
                </a:lnTo>
                <a:lnTo>
                  <a:pt x="3220" y="1433"/>
                </a:lnTo>
                <a:lnTo>
                  <a:pt x="3217" y="1417"/>
                </a:lnTo>
                <a:lnTo>
                  <a:pt x="3215" y="1401"/>
                </a:lnTo>
                <a:lnTo>
                  <a:pt x="3214" y="1393"/>
                </a:lnTo>
                <a:lnTo>
                  <a:pt x="3213" y="1385"/>
                </a:lnTo>
                <a:lnTo>
                  <a:pt x="3212" y="1367"/>
                </a:lnTo>
                <a:lnTo>
                  <a:pt x="3212" y="1347"/>
                </a:lnTo>
                <a:lnTo>
                  <a:pt x="3212" y="1335"/>
                </a:lnTo>
                <a:lnTo>
                  <a:pt x="3213" y="1323"/>
                </a:lnTo>
                <a:lnTo>
                  <a:pt x="3214" y="1311"/>
                </a:lnTo>
                <a:lnTo>
                  <a:pt x="3215" y="1299"/>
                </a:lnTo>
                <a:lnTo>
                  <a:pt x="3216" y="1289"/>
                </a:lnTo>
                <a:lnTo>
                  <a:pt x="3218" y="1279"/>
                </a:lnTo>
                <a:lnTo>
                  <a:pt x="3222" y="1259"/>
                </a:lnTo>
                <a:lnTo>
                  <a:pt x="3225" y="1249"/>
                </a:lnTo>
                <a:lnTo>
                  <a:pt x="3228" y="1241"/>
                </a:lnTo>
                <a:lnTo>
                  <a:pt x="3234" y="1225"/>
                </a:lnTo>
                <a:lnTo>
                  <a:pt x="3241" y="1210"/>
                </a:lnTo>
                <a:lnTo>
                  <a:pt x="3245" y="1204"/>
                </a:lnTo>
                <a:lnTo>
                  <a:pt x="3250" y="1198"/>
                </a:lnTo>
                <a:lnTo>
                  <a:pt x="3259" y="1186"/>
                </a:lnTo>
                <a:lnTo>
                  <a:pt x="3269" y="1176"/>
                </a:lnTo>
                <a:lnTo>
                  <a:pt x="3279" y="1166"/>
                </a:lnTo>
                <a:lnTo>
                  <a:pt x="3290" y="1160"/>
                </a:lnTo>
                <a:lnTo>
                  <a:pt x="3302" y="1154"/>
                </a:lnTo>
                <a:lnTo>
                  <a:pt x="3314" y="1150"/>
                </a:lnTo>
                <a:lnTo>
                  <a:pt x="3327" y="1148"/>
                </a:lnTo>
                <a:lnTo>
                  <a:pt x="3340" y="1148"/>
                </a:lnTo>
                <a:lnTo>
                  <a:pt x="3355" y="1150"/>
                </a:lnTo>
                <a:lnTo>
                  <a:pt x="3370" y="1152"/>
                </a:lnTo>
                <a:lnTo>
                  <a:pt x="3383" y="1158"/>
                </a:lnTo>
                <a:lnTo>
                  <a:pt x="3389" y="1162"/>
                </a:lnTo>
                <a:lnTo>
                  <a:pt x="3395" y="1166"/>
                </a:lnTo>
                <a:lnTo>
                  <a:pt x="3407" y="1174"/>
                </a:lnTo>
                <a:lnTo>
                  <a:pt x="3417" y="1186"/>
                </a:lnTo>
                <a:lnTo>
                  <a:pt x="3426" y="1198"/>
                </a:lnTo>
                <a:lnTo>
                  <a:pt x="3434" y="1212"/>
                </a:lnTo>
                <a:lnTo>
                  <a:pt x="3438" y="1218"/>
                </a:lnTo>
                <a:lnTo>
                  <a:pt x="3441" y="1225"/>
                </a:lnTo>
                <a:lnTo>
                  <a:pt x="3444" y="1233"/>
                </a:lnTo>
                <a:lnTo>
                  <a:pt x="3447" y="1241"/>
                </a:lnTo>
                <a:lnTo>
                  <a:pt x="3452" y="1259"/>
                </a:lnTo>
                <a:lnTo>
                  <a:pt x="3457" y="1275"/>
                </a:lnTo>
                <a:lnTo>
                  <a:pt x="3460" y="1293"/>
                </a:lnTo>
                <a:lnTo>
                  <a:pt x="3462" y="1313"/>
                </a:lnTo>
                <a:lnTo>
                  <a:pt x="3464" y="1331"/>
                </a:lnTo>
                <a:lnTo>
                  <a:pt x="3464" y="1349"/>
                </a:lnTo>
                <a:lnTo>
                  <a:pt x="3402" y="1375"/>
                </a:lnTo>
                <a:lnTo>
                  <a:pt x="3402" y="1359"/>
                </a:lnTo>
                <a:lnTo>
                  <a:pt x="3400" y="1345"/>
                </a:lnTo>
                <a:lnTo>
                  <a:pt x="3399" y="1331"/>
                </a:lnTo>
                <a:lnTo>
                  <a:pt x="3397" y="1319"/>
                </a:lnTo>
                <a:lnTo>
                  <a:pt x="3394" y="1309"/>
                </a:lnTo>
                <a:lnTo>
                  <a:pt x="3391" y="1299"/>
                </a:lnTo>
                <a:lnTo>
                  <a:pt x="3388" y="1289"/>
                </a:lnTo>
                <a:lnTo>
                  <a:pt x="3384" y="1281"/>
                </a:lnTo>
                <a:lnTo>
                  <a:pt x="3380" y="1275"/>
                </a:lnTo>
                <a:lnTo>
                  <a:pt x="3375" y="1269"/>
                </a:lnTo>
                <a:lnTo>
                  <a:pt x="3370" y="1265"/>
                </a:lnTo>
                <a:lnTo>
                  <a:pt x="3364" y="1261"/>
                </a:lnTo>
                <a:lnTo>
                  <a:pt x="3358" y="1257"/>
                </a:lnTo>
                <a:lnTo>
                  <a:pt x="3352" y="1255"/>
                </a:lnTo>
                <a:lnTo>
                  <a:pt x="3345" y="1255"/>
                </a:lnTo>
                <a:lnTo>
                  <a:pt x="3337" y="1253"/>
                </a:lnTo>
                <a:lnTo>
                  <a:pt x="3325" y="1255"/>
                </a:lnTo>
                <a:lnTo>
                  <a:pt x="3313" y="1259"/>
                </a:lnTo>
                <a:lnTo>
                  <a:pt x="3308" y="1263"/>
                </a:lnTo>
                <a:lnTo>
                  <a:pt x="3303" y="1267"/>
                </a:lnTo>
                <a:lnTo>
                  <a:pt x="3298" y="1271"/>
                </a:lnTo>
                <a:lnTo>
                  <a:pt x="3294" y="1275"/>
                </a:lnTo>
                <a:lnTo>
                  <a:pt x="3290" y="1281"/>
                </a:lnTo>
                <a:lnTo>
                  <a:pt x="3287" y="1287"/>
                </a:lnTo>
                <a:lnTo>
                  <a:pt x="3284" y="1295"/>
                </a:lnTo>
                <a:lnTo>
                  <a:pt x="3281" y="1303"/>
                </a:lnTo>
                <a:lnTo>
                  <a:pt x="3279" y="1311"/>
                </a:lnTo>
                <a:lnTo>
                  <a:pt x="3278" y="1321"/>
                </a:lnTo>
                <a:lnTo>
                  <a:pt x="3277" y="1331"/>
                </a:lnTo>
                <a:lnTo>
                  <a:pt x="3276" y="1341"/>
                </a:lnTo>
                <a:lnTo>
                  <a:pt x="3277" y="1351"/>
                </a:lnTo>
                <a:lnTo>
                  <a:pt x="3277" y="1361"/>
                </a:lnTo>
                <a:lnTo>
                  <a:pt x="3278" y="1371"/>
                </a:lnTo>
                <a:lnTo>
                  <a:pt x="3279" y="1379"/>
                </a:lnTo>
                <a:lnTo>
                  <a:pt x="3281" y="1387"/>
                </a:lnTo>
                <a:lnTo>
                  <a:pt x="3283" y="1395"/>
                </a:lnTo>
                <a:lnTo>
                  <a:pt x="3286" y="1403"/>
                </a:lnTo>
                <a:lnTo>
                  <a:pt x="3288" y="1409"/>
                </a:lnTo>
                <a:lnTo>
                  <a:pt x="3292" y="1415"/>
                </a:lnTo>
                <a:lnTo>
                  <a:pt x="3295" y="1421"/>
                </a:lnTo>
                <a:lnTo>
                  <a:pt x="3304" y="1433"/>
                </a:lnTo>
                <a:lnTo>
                  <a:pt x="3314" y="1445"/>
                </a:lnTo>
                <a:lnTo>
                  <a:pt x="3326" y="1457"/>
                </a:lnTo>
                <a:lnTo>
                  <a:pt x="3388" y="1511"/>
                </a:lnTo>
                <a:lnTo>
                  <a:pt x="3398" y="1521"/>
                </a:lnTo>
                <a:lnTo>
                  <a:pt x="3408" y="1531"/>
                </a:lnTo>
                <a:lnTo>
                  <a:pt x="3418" y="1541"/>
                </a:lnTo>
                <a:lnTo>
                  <a:pt x="3426" y="1553"/>
                </a:lnTo>
                <a:lnTo>
                  <a:pt x="3434" y="1565"/>
                </a:lnTo>
                <a:lnTo>
                  <a:pt x="3441" y="1575"/>
                </a:lnTo>
                <a:lnTo>
                  <a:pt x="3447" y="1589"/>
                </a:lnTo>
                <a:lnTo>
                  <a:pt x="3453" y="1601"/>
                </a:lnTo>
                <a:lnTo>
                  <a:pt x="3458" y="1615"/>
                </a:lnTo>
                <a:lnTo>
                  <a:pt x="3462" y="1629"/>
                </a:lnTo>
                <a:lnTo>
                  <a:pt x="3466" y="1643"/>
                </a:lnTo>
                <a:lnTo>
                  <a:pt x="3469" y="1659"/>
                </a:lnTo>
                <a:lnTo>
                  <a:pt x="3471" y="1675"/>
                </a:lnTo>
                <a:lnTo>
                  <a:pt x="3472" y="1685"/>
                </a:lnTo>
                <a:lnTo>
                  <a:pt x="3472" y="1693"/>
                </a:lnTo>
                <a:lnTo>
                  <a:pt x="3473" y="1711"/>
                </a:lnTo>
                <a:lnTo>
                  <a:pt x="3474" y="1730"/>
                </a:lnTo>
                <a:lnTo>
                  <a:pt x="3473" y="1756"/>
                </a:lnTo>
                <a:lnTo>
                  <a:pt x="3471" y="1780"/>
                </a:lnTo>
                <a:lnTo>
                  <a:pt x="3470" y="1792"/>
                </a:lnTo>
                <a:lnTo>
                  <a:pt x="3468" y="1802"/>
                </a:lnTo>
                <a:lnTo>
                  <a:pt x="3466" y="1814"/>
                </a:lnTo>
                <a:lnTo>
                  <a:pt x="3464" y="1824"/>
                </a:lnTo>
                <a:lnTo>
                  <a:pt x="3461" y="1834"/>
                </a:lnTo>
                <a:lnTo>
                  <a:pt x="3459" y="1844"/>
                </a:lnTo>
                <a:lnTo>
                  <a:pt x="3452" y="1862"/>
                </a:lnTo>
                <a:lnTo>
                  <a:pt x="3449" y="1870"/>
                </a:lnTo>
                <a:lnTo>
                  <a:pt x="3445" y="1880"/>
                </a:lnTo>
                <a:lnTo>
                  <a:pt x="3437" y="1894"/>
                </a:lnTo>
                <a:lnTo>
                  <a:pt x="3432" y="1902"/>
                </a:lnTo>
                <a:lnTo>
                  <a:pt x="3427" y="1908"/>
                </a:lnTo>
                <a:lnTo>
                  <a:pt x="3422" y="1914"/>
                </a:lnTo>
                <a:lnTo>
                  <a:pt x="3417" y="1920"/>
                </a:lnTo>
                <a:lnTo>
                  <a:pt x="3406" y="1930"/>
                </a:lnTo>
                <a:lnTo>
                  <a:pt x="3394" y="1938"/>
                </a:lnTo>
                <a:lnTo>
                  <a:pt x="3381" y="1946"/>
                </a:lnTo>
                <a:lnTo>
                  <a:pt x="3367" y="1950"/>
                </a:lnTo>
                <a:lnTo>
                  <a:pt x="3360" y="1952"/>
                </a:lnTo>
                <a:lnTo>
                  <a:pt x="3353" y="1952"/>
                </a:lnTo>
                <a:lnTo>
                  <a:pt x="3337" y="1954"/>
                </a:lnTo>
                <a:close/>
                <a:moveTo>
                  <a:pt x="3582" y="1882"/>
                </a:moveTo>
                <a:lnTo>
                  <a:pt x="3574" y="1866"/>
                </a:lnTo>
                <a:lnTo>
                  <a:pt x="3567" y="1848"/>
                </a:lnTo>
                <a:lnTo>
                  <a:pt x="3562" y="1828"/>
                </a:lnTo>
                <a:lnTo>
                  <a:pt x="3559" y="1816"/>
                </a:lnTo>
                <a:lnTo>
                  <a:pt x="3557" y="1806"/>
                </a:lnTo>
                <a:lnTo>
                  <a:pt x="3554" y="1782"/>
                </a:lnTo>
                <a:lnTo>
                  <a:pt x="3551" y="1756"/>
                </a:lnTo>
                <a:lnTo>
                  <a:pt x="3550" y="1742"/>
                </a:lnTo>
                <a:lnTo>
                  <a:pt x="3550" y="1726"/>
                </a:lnTo>
                <a:lnTo>
                  <a:pt x="3549" y="1697"/>
                </a:lnTo>
                <a:lnTo>
                  <a:pt x="3549" y="1166"/>
                </a:lnTo>
                <a:lnTo>
                  <a:pt x="3615" y="1166"/>
                </a:lnTo>
                <a:lnTo>
                  <a:pt x="3615" y="1691"/>
                </a:lnTo>
                <a:lnTo>
                  <a:pt x="3615" y="1711"/>
                </a:lnTo>
                <a:lnTo>
                  <a:pt x="3616" y="1728"/>
                </a:lnTo>
                <a:lnTo>
                  <a:pt x="3617" y="1744"/>
                </a:lnTo>
                <a:lnTo>
                  <a:pt x="3618" y="1758"/>
                </a:lnTo>
                <a:lnTo>
                  <a:pt x="3620" y="1772"/>
                </a:lnTo>
                <a:lnTo>
                  <a:pt x="3623" y="1784"/>
                </a:lnTo>
                <a:lnTo>
                  <a:pt x="3625" y="1796"/>
                </a:lnTo>
                <a:lnTo>
                  <a:pt x="3629" y="1804"/>
                </a:lnTo>
                <a:lnTo>
                  <a:pt x="3633" y="1814"/>
                </a:lnTo>
                <a:lnTo>
                  <a:pt x="3637" y="1822"/>
                </a:lnTo>
                <a:lnTo>
                  <a:pt x="3643" y="1830"/>
                </a:lnTo>
                <a:lnTo>
                  <a:pt x="3649" y="1836"/>
                </a:lnTo>
                <a:lnTo>
                  <a:pt x="3652" y="1838"/>
                </a:lnTo>
                <a:lnTo>
                  <a:pt x="3655" y="1840"/>
                </a:lnTo>
                <a:lnTo>
                  <a:pt x="3662" y="1844"/>
                </a:lnTo>
                <a:lnTo>
                  <a:pt x="3670" y="1846"/>
                </a:lnTo>
                <a:lnTo>
                  <a:pt x="3678" y="1846"/>
                </a:lnTo>
                <a:lnTo>
                  <a:pt x="3686" y="1846"/>
                </a:lnTo>
                <a:lnTo>
                  <a:pt x="3694" y="1844"/>
                </a:lnTo>
                <a:lnTo>
                  <a:pt x="3701" y="1840"/>
                </a:lnTo>
                <a:lnTo>
                  <a:pt x="3708" y="1836"/>
                </a:lnTo>
                <a:lnTo>
                  <a:pt x="3713" y="1830"/>
                </a:lnTo>
                <a:lnTo>
                  <a:pt x="3719" y="1822"/>
                </a:lnTo>
                <a:lnTo>
                  <a:pt x="3723" y="1814"/>
                </a:lnTo>
                <a:lnTo>
                  <a:pt x="3728" y="1804"/>
                </a:lnTo>
                <a:lnTo>
                  <a:pt x="3731" y="1796"/>
                </a:lnTo>
                <a:lnTo>
                  <a:pt x="3734" y="1784"/>
                </a:lnTo>
                <a:lnTo>
                  <a:pt x="3736" y="1772"/>
                </a:lnTo>
                <a:lnTo>
                  <a:pt x="3738" y="1758"/>
                </a:lnTo>
                <a:lnTo>
                  <a:pt x="3740" y="1744"/>
                </a:lnTo>
                <a:lnTo>
                  <a:pt x="3741" y="1728"/>
                </a:lnTo>
                <a:lnTo>
                  <a:pt x="3741" y="1711"/>
                </a:lnTo>
                <a:lnTo>
                  <a:pt x="3741" y="1691"/>
                </a:lnTo>
                <a:lnTo>
                  <a:pt x="3741" y="1166"/>
                </a:lnTo>
                <a:lnTo>
                  <a:pt x="3807" y="1166"/>
                </a:lnTo>
                <a:lnTo>
                  <a:pt x="3807" y="1697"/>
                </a:lnTo>
                <a:lnTo>
                  <a:pt x="3806" y="1726"/>
                </a:lnTo>
                <a:lnTo>
                  <a:pt x="3805" y="1742"/>
                </a:lnTo>
                <a:lnTo>
                  <a:pt x="3805" y="1756"/>
                </a:lnTo>
                <a:lnTo>
                  <a:pt x="3802" y="1782"/>
                </a:lnTo>
                <a:lnTo>
                  <a:pt x="3798" y="1806"/>
                </a:lnTo>
                <a:lnTo>
                  <a:pt x="3796" y="1816"/>
                </a:lnTo>
                <a:lnTo>
                  <a:pt x="3794" y="1828"/>
                </a:lnTo>
                <a:lnTo>
                  <a:pt x="3788" y="1848"/>
                </a:lnTo>
                <a:lnTo>
                  <a:pt x="3785" y="1856"/>
                </a:lnTo>
                <a:lnTo>
                  <a:pt x="3782" y="1866"/>
                </a:lnTo>
                <a:lnTo>
                  <a:pt x="3779" y="1874"/>
                </a:lnTo>
                <a:lnTo>
                  <a:pt x="3775" y="1882"/>
                </a:lnTo>
                <a:lnTo>
                  <a:pt x="3771" y="1890"/>
                </a:lnTo>
                <a:lnTo>
                  <a:pt x="3766" y="1898"/>
                </a:lnTo>
                <a:lnTo>
                  <a:pt x="3756" y="1914"/>
                </a:lnTo>
                <a:lnTo>
                  <a:pt x="3745" y="1926"/>
                </a:lnTo>
                <a:lnTo>
                  <a:pt x="3739" y="1930"/>
                </a:lnTo>
                <a:lnTo>
                  <a:pt x="3733" y="1936"/>
                </a:lnTo>
                <a:lnTo>
                  <a:pt x="3720" y="1944"/>
                </a:lnTo>
                <a:lnTo>
                  <a:pt x="3714" y="1946"/>
                </a:lnTo>
                <a:lnTo>
                  <a:pt x="3707" y="1950"/>
                </a:lnTo>
                <a:lnTo>
                  <a:pt x="3693" y="1952"/>
                </a:lnTo>
                <a:lnTo>
                  <a:pt x="3685" y="1954"/>
                </a:lnTo>
                <a:lnTo>
                  <a:pt x="3678" y="1954"/>
                </a:lnTo>
                <a:lnTo>
                  <a:pt x="3663" y="1952"/>
                </a:lnTo>
                <a:lnTo>
                  <a:pt x="3649" y="1950"/>
                </a:lnTo>
                <a:lnTo>
                  <a:pt x="3643" y="1946"/>
                </a:lnTo>
                <a:lnTo>
                  <a:pt x="3636" y="1944"/>
                </a:lnTo>
                <a:lnTo>
                  <a:pt x="3624" y="1936"/>
                </a:lnTo>
                <a:lnTo>
                  <a:pt x="3612" y="1926"/>
                </a:lnTo>
                <a:lnTo>
                  <a:pt x="3601" y="1914"/>
                </a:lnTo>
                <a:lnTo>
                  <a:pt x="3591" y="1898"/>
                </a:lnTo>
                <a:lnTo>
                  <a:pt x="3586" y="1890"/>
                </a:lnTo>
                <a:lnTo>
                  <a:pt x="3582" y="1882"/>
                </a:lnTo>
                <a:close/>
                <a:moveTo>
                  <a:pt x="3934" y="1882"/>
                </a:moveTo>
                <a:lnTo>
                  <a:pt x="3927" y="1866"/>
                </a:lnTo>
                <a:lnTo>
                  <a:pt x="3920" y="1848"/>
                </a:lnTo>
                <a:lnTo>
                  <a:pt x="3915" y="1828"/>
                </a:lnTo>
                <a:lnTo>
                  <a:pt x="3912" y="1816"/>
                </a:lnTo>
                <a:lnTo>
                  <a:pt x="3910" y="1806"/>
                </a:lnTo>
                <a:lnTo>
                  <a:pt x="3907" y="1782"/>
                </a:lnTo>
                <a:lnTo>
                  <a:pt x="3904" y="1756"/>
                </a:lnTo>
                <a:lnTo>
                  <a:pt x="3903" y="1742"/>
                </a:lnTo>
                <a:lnTo>
                  <a:pt x="3903" y="1726"/>
                </a:lnTo>
                <a:lnTo>
                  <a:pt x="3902" y="1697"/>
                </a:lnTo>
                <a:lnTo>
                  <a:pt x="3902" y="1166"/>
                </a:lnTo>
                <a:lnTo>
                  <a:pt x="3968" y="1166"/>
                </a:lnTo>
                <a:lnTo>
                  <a:pt x="3968" y="1691"/>
                </a:lnTo>
                <a:lnTo>
                  <a:pt x="3968" y="1711"/>
                </a:lnTo>
                <a:lnTo>
                  <a:pt x="3969" y="1728"/>
                </a:lnTo>
                <a:lnTo>
                  <a:pt x="3970" y="1744"/>
                </a:lnTo>
                <a:lnTo>
                  <a:pt x="3972" y="1758"/>
                </a:lnTo>
                <a:lnTo>
                  <a:pt x="3973" y="1772"/>
                </a:lnTo>
                <a:lnTo>
                  <a:pt x="3976" y="1784"/>
                </a:lnTo>
                <a:lnTo>
                  <a:pt x="3979" y="1796"/>
                </a:lnTo>
                <a:lnTo>
                  <a:pt x="3982" y="1804"/>
                </a:lnTo>
                <a:lnTo>
                  <a:pt x="3986" y="1814"/>
                </a:lnTo>
                <a:lnTo>
                  <a:pt x="3991" y="1822"/>
                </a:lnTo>
                <a:lnTo>
                  <a:pt x="3996" y="1830"/>
                </a:lnTo>
                <a:lnTo>
                  <a:pt x="4002" y="1836"/>
                </a:lnTo>
                <a:lnTo>
                  <a:pt x="4005" y="1838"/>
                </a:lnTo>
                <a:lnTo>
                  <a:pt x="4008" y="1840"/>
                </a:lnTo>
                <a:lnTo>
                  <a:pt x="4015" y="1844"/>
                </a:lnTo>
                <a:lnTo>
                  <a:pt x="4023" y="1846"/>
                </a:lnTo>
                <a:lnTo>
                  <a:pt x="4031" y="1846"/>
                </a:lnTo>
                <a:lnTo>
                  <a:pt x="4040" y="1846"/>
                </a:lnTo>
                <a:lnTo>
                  <a:pt x="4047" y="1844"/>
                </a:lnTo>
                <a:lnTo>
                  <a:pt x="4054" y="1840"/>
                </a:lnTo>
                <a:lnTo>
                  <a:pt x="4061" y="1836"/>
                </a:lnTo>
                <a:lnTo>
                  <a:pt x="4067" y="1830"/>
                </a:lnTo>
                <a:lnTo>
                  <a:pt x="4072" y="1822"/>
                </a:lnTo>
                <a:lnTo>
                  <a:pt x="4077" y="1814"/>
                </a:lnTo>
                <a:lnTo>
                  <a:pt x="4081" y="1804"/>
                </a:lnTo>
                <a:lnTo>
                  <a:pt x="4084" y="1796"/>
                </a:lnTo>
                <a:lnTo>
                  <a:pt x="4087" y="1784"/>
                </a:lnTo>
                <a:lnTo>
                  <a:pt x="4090" y="1772"/>
                </a:lnTo>
                <a:lnTo>
                  <a:pt x="4091" y="1758"/>
                </a:lnTo>
                <a:lnTo>
                  <a:pt x="4093" y="1744"/>
                </a:lnTo>
                <a:lnTo>
                  <a:pt x="4094" y="1728"/>
                </a:lnTo>
                <a:lnTo>
                  <a:pt x="4094" y="1711"/>
                </a:lnTo>
                <a:lnTo>
                  <a:pt x="4094" y="1691"/>
                </a:lnTo>
                <a:lnTo>
                  <a:pt x="4094" y="1166"/>
                </a:lnTo>
                <a:lnTo>
                  <a:pt x="4160" y="1166"/>
                </a:lnTo>
                <a:lnTo>
                  <a:pt x="4160" y="1697"/>
                </a:lnTo>
                <a:lnTo>
                  <a:pt x="4159" y="1726"/>
                </a:lnTo>
                <a:lnTo>
                  <a:pt x="4159" y="1742"/>
                </a:lnTo>
                <a:lnTo>
                  <a:pt x="4158" y="1756"/>
                </a:lnTo>
                <a:lnTo>
                  <a:pt x="4155" y="1782"/>
                </a:lnTo>
                <a:lnTo>
                  <a:pt x="4152" y="1806"/>
                </a:lnTo>
                <a:lnTo>
                  <a:pt x="4149" y="1816"/>
                </a:lnTo>
                <a:lnTo>
                  <a:pt x="4147" y="1828"/>
                </a:lnTo>
                <a:lnTo>
                  <a:pt x="4142" y="1848"/>
                </a:lnTo>
                <a:lnTo>
                  <a:pt x="4139" y="1856"/>
                </a:lnTo>
                <a:lnTo>
                  <a:pt x="4135" y="1866"/>
                </a:lnTo>
                <a:lnTo>
                  <a:pt x="4132" y="1874"/>
                </a:lnTo>
                <a:lnTo>
                  <a:pt x="4128" y="1882"/>
                </a:lnTo>
                <a:lnTo>
                  <a:pt x="4124" y="1890"/>
                </a:lnTo>
                <a:lnTo>
                  <a:pt x="4119" y="1898"/>
                </a:lnTo>
                <a:lnTo>
                  <a:pt x="4109" y="1914"/>
                </a:lnTo>
                <a:lnTo>
                  <a:pt x="4098" y="1926"/>
                </a:lnTo>
                <a:lnTo>
                  <a:pt x="4092" y="1930"/>
                </a:lnTo>
                <a:lnTo>
                  <a:pt x="4086" y="1936"/>
                </a:lnTo>
                <a:lnTo>
                  <a:pt x="4073" y="1944"/>
                </a:lnTo>
                <a:lnTo>
                  <a:pt x="4067" y="1946"/>
                </a:lnTo>
                <a:lnTo>
                  <a:pt x="4060" y="1950"/>
                </a:lnTo>
                <a:lnTo>
                  <a:pt x="4046" y="1952"/>
                </a:lnTo>
                <a:lnTo>
                  <a:pt x="4039" y="1954"/>
                </a:lnTo>
                <a:lnTo>
                  <a:pt x="4031" y="1954"/>
                </a:lnTo>
                <a:lnTo>
                  <a:pt x="4017" y="1952"/>
                </a:lnTo>
                <a:lnTo>
                  <a:pt x="4003" y="1950"/>
                </a:lnTo>
                <a:lnTo>
                  <a:pt x="3996" y="1946"/>
                </a:lnTo>
                <a:lnTo>
                  <a:pt x="3989" y="1944"/>
                </a:lnTo>
                <a:lnTo>
                  <a:pt x="3977" y="1936"/>
                </a:lnTo>
                <a:lnTo>
                  <a:pt x="3965" y="1926"/>
                </a:lnTo>
                <a:lnTo>
                  <a:pt x="3954" y="1914"/>
                </a:lnTo>
                <a:lnTo>
                  <a:pt x="3943" y="1898"/>
                </a:lnTo>
                <a:lnTo>
                  <a:pt x="3938" y="1890"/>
                </a:lnTo>
                <a:lnTo>
                  <a:pt x="3934" y="1882"/>
                </a:lnTo>
                <a:close/>
                <a:moveTo>
                  <a:pt x="4370" y="1954"/>
                </a:moveTo>
                <a:lnTo>
                  <a:pt x="4354" y="1954"/>
                </a:lnTo>
                <a:lnTo>
                  <a:pt x="4339" y="1950"/>
                </a:lnTo>
                <a:lnTo>
                  <a:pt x="4324" y="1944"/>
                </a:lnTo>
                <a:lnTo>
                  <a:pt x="4317" y="1940"/>
                </a:lnTo>
                <a:lnTo>
                  <a:pt x="4310" y="1936"/>
                </a:lnTo>
                <a:lnTo>
                  <a:pt x="4298" y="1928"/>
                </a:lnTo>
                <a:lnTo>
                  <a:pt x="4292" y="1922"/>
                </a:lnTo>
                <a:lnTo>
                  <a:pt x="4287" y="1916"/>
                </a:lnTo>
                <a:lnTo>
                  <a:pt x="4277" y="1902"/>
                </a:lnTo>
                <a:lnTo>
                  <a:pt x="4273" y="1896"/>
                </a:lnTo>
                <a:lnTo>
                  <a:pt x="4268" y="1888"/>
                </a:lnTo>
                <a:lnTo>
                  <a:pt x="4264" y="1880"/>
                </a:lnTo>
                <a:lnTo>
                  <a:pt x="4261" y="1872"/>
                </a:lnTo>
                <a:lnTo>
                  <a:pt x="4257" y="1864"/>
                </a:lnTo>
                <a:lnTo>
                  <a:pt x="4254" y="1854"/>
                </a:lnTo>
                <a:lnTo>
                  <a:pt x="4248" y="1834"/>
                </a:lnTo>
                <a:lnTo>
                  <a:pt x="4244" y="1814"/>
                </a:lnTo>
                <a:lnTo>
                  <a:pt x="4242" y="1804"/>
                </a:lnTo>
                <a:lnTo>
                  <a:pt x="4240" y="1792"/>
                </a:lnTo>
                <a:lnTo>
                  <a:pt x="4237" y="1770"/>
                </a:lnTo>
                <a:lnTo>
                  <a:pt x="4236" y="1746"/>
                </a:lnTo>
                <a:lnTo>
                  <a:pt x="4235" y="1732"/>
                </a:lnTo>
                <a:lnTo>
                  <a:pt x="4235" y="1720"/>
                </a:lnTo>
                <a:lnTo>
                  <a:pt x="4298" y="1693"/>
                </a:lnTo>
                <a:lnTo>
                  <a:pt x="4298" y="1714"/>
                </a:lnTo>
                <a:lnTo>
                  <a:pt x="4299" y="1734"/>
                </a:lnTo>
                <a:lnTo>
                  <a:pt x="4301" y="1750"/>
                </a:lnTo>
                <a:lnTo>
                  <a:pt x="4303" y="1766"/>
                </a:lnTo>
                <a:lnTo>
                  <a:pt x="4305" y="1774"/>
                </a:lnTo>
                <a:lnTo>
                  <a:pt x="4306" y="1782"/>
                </a:lnTo>
                <a:lnTo>
                  <a:pt x="4310" y="1794"/>
                </a:lnTo>
                <a:lnTo>
                  <a:pt x="4314" y="1804"/>
                </a:lnTo>
                <a:lnTo>
                  <a:pt x="4318" y="1814"/>
                </a:lnTo>
                <a:lnTo>
                  <a:pt x="4324" y="1824"/>
                </a:lnTo>
                <a:lnTo>
                  <a:pt x="4330" y="1830"/>
                </a:lnTo>
                <a:lnTo>
                  <a:pt x="4336" y="1836"/>
                </a:lnTo>
                <a:lnTo>
                  <a:pt x="4343" y="1840"/>
                </a:lnTo>
                <a:lnTo>
                  <a:pt x="4350" y="1844"/>
                </a:lnTo>
                <a:lnTo>
                  <a:pt x="4357" y="1846"/>
                </a:lnTo>
                <a:lnTo>
                  <a:pt x="4365" y="1848"/>
                </a:lnTo>
                <a:lnTo>
                  <a:pt x="4374" y="1848"/>
                </a:lnTo>
                <a:lnTo>
                  <a:pt x="4381" y="1848"/>
                </a:lnTo>
                <a:lnTo>
                  <a:pt x="4388" y="1846"/>
                </a:lnTo>
                <a:lnTo>
                  <a:pt x="4395" y="1844"/>
                </a:lnTo>
                <a:lnTo>
                  <a:pt x="4401" y="1842"/>
                </a:lnTo>
                <a:lnTo>
                  <a:pt x="4407" y="1838"/>
                </a:lnTo>
                <a:lnTo>
                  <a:pt x="4413" y="1832"/>
                </a:lnTo>
                <a:lnTo>
                  <a:pt x="4418" y="1826"/>
                </a:lnTo>
                <a:lnTo>
                  <a:pt x="4423" y="1820"/>
                </a:lnTo>
                <a:lnTo>
                  <a:pt x="4427" y="1812"/>
                </a:lnTo>
                <a:lnTo>
                  <a:pt x="4431" y="1804"/>
                </a:lnTo>
                <a:lnTo>
                  <a:pt x="4434" y="1796"/>
                </a:lnTo>
                <a:lnTo>
                  <a:pt x="4437" y="1786"/>
                </a:lnTo>
                <a:lnTo>
                  <a:pt x="4439" y="1774"/>
                </a:lnTo>
                <a:lnTo>
                  <a:pt x="4440" y="1770"/>
                </a:lnTo>
                <a:lnTo>
                  <a:pt x="4441" y="1764"/>
                </a:lnTo>
                <a:lnTo>
                  <a:pt x="4442" y="1752"/>
                </a:lnTo>
                <a:lnTo>
                  <a:pt x="4442" y="1738"/>
                </a:lnTo>
                <a:lnTo>
                  <a:pt x="4442" y="1728"/>
                </a:lnTo>
                <a:lnTo>
                  <a:pt x="4442" y="1718"/>
                </a:lnTo>
                <a:lnTo>
                  <a:pt x="4441" y="1711"/>
                </a:lnTo>
                <a:lnTo>
                  <a:pt x="4439" y="1701"/>
                </a:lnTo>
                <a:lnTo>
                  <a:pt x="4437" y="1693"/>
                </a:lnTo>
                <a:lnTo>
                  <a:pt x="4435" y="1685"/>
                </a:lnTo>
                <a:lnTo>
                  <a:pt x="4433" y="1677"/>
                </a:lnTo>
                <a:lnTo>
                  <a:pt x="4430" y="1669"/>
                </a:lnTo>
                <a:lnTo>
                  <a:pt x="4422" y="1653"/>
                </a:lnTo>
                <a:lnTo>
                  <a:pt x="4418" y="1645"/>
                </a:lnTo>
                <a:lnTo>
                  <a:pt x="4413" y="1639"/>
                </a:lnTo>
                <a:lnTo>
                  <a:pt x="4402" y="1625"/>
                </a:lnTo>
                <a:lnTo>
                  <a:pt x="4389" y="1613"/>
                </a:lnTo>
                <a:lnTo>
                  <a:pt x="4325" y="1555"/>
                </a:lnTo>
                <a:lnTo>
                  <a:pt x="4315" y="1547"/>
                </a:lnTo>
                <a:lnTo>
                  <a:pt x="4305" y="1537"/>
                </a:lnTo>
                <a:lnTo>
                  <a:pt x="4289" y="1517"/>
                </a:lnTo>
                <a:lnTo>
                  <a:pt x="4275" y="1497"/>
                </a:lnTo>
                <a:lnTo>
                  <a:pt x="4270" y="1485"/>
                </a:lnTo>
                <a:lnTo>
                  <a:pt x="4264" y="1473"/>
                </a:lnTo>
                <a:lnTo>
                  <a:pt x="4260" y="1461"/>
                </a:lnTo>
                <a:lnTo>
                  <a:pt x="4255" y="1447"/>
                </a:lnTo>
                <a:lnTo>
                  <a:pt x="4252" y="1433"/>
                </a:lnTo>
                <a:lnTo>
                  <a:pt x="4249" y="1417"/>
                </a:lnTo>
                <a:lnTo>
                  <a:pt x="4247" y="1401"/>
                </a:lnTo>
                <a:lnTo>
                  <a:pt x="4246" y="1393"/>
                </a:lnTo>
                <a:lnTo>
                  <a:pt x="4245" y="1385"/>
                </a:lnTo>
                <a:lnTo>
                  <a:pt x="4244" y="1367"/>
                </a:lnTo>
                <a:lnTo>
                  <a:pt x="4244" y="1347"/>
                </a:lnTo>
                <a:lnTo>
                  <a:pt x="4244" y="1335"/>
                </a:lnTo>
                <a:lnTo>
                  <a:pt x="4245" y="1323"/>
                </a:lnTo>
                <a:lnTo>
                  <a:pt x="4246" y="1311"/>
                </a:lnTo>
                <a:lnTo>
                  <a:pt x="4247" y="1299"/>
                </a:lnTo>
                <a:lnTo>
                  <a:pt x="4248" y="1289"/>
                </a:lnTo>
                <a:lnTo>
                  <a:pt x="4250" y="1279"/>
                </a:lnTo>
                <a:lnTo>
                  <a:pt x="4254" y="1259"/>
                </a:lnTo>
                <a:lnTo>
                  <a:pt x="4257" y="1249"/>
                </a:lnTo>
                <a:lnTo>
                  <a:pt x="4260" y="1241"/>
                </a:lnTo>
                <a:lnTo>
                  <a:pt x="4266" y="1225"/>
                </a:lnTo>
                <a:lnTo>
                  <a:pt x="4273" y="1210"/>
                </a:lnTo>
                <a:lnTo>
                  <a:pt x="4277" y="1204"/>
                </a:lnTo>
                <a:lnTo>
                  <a:pt x="4282" y="1198"/>
                </a:lnTo>
                <a:lnTo>
                  <a:pt x="4291" y="1186"/>
                </a:lnTo>
                <a:lnTo>
                  <a:pt x="4301" y="1176"/>
                </a:lnTo>
                <a:lnTo>
                  <a:pt x="4311" y="1166"/>
                </a:lnTo>
                <a:lnTo>
                  <a:pt x="4323" y="1160"/>
                </a:lnTo>
                <a:lnTo>
                  <a:pt x="4335" y="1154"/>
                </a:lnTo>
                <a:lnTo>
                  <a:pt x="4347" y="1150"/>
                </a:lnTo>
                <a:lnTo>
                  <a:pt x="4360" y="1148"/>
                </a:lnTo>
                <a:lnTo>
                  <a:pt x="4373" y="1148"/>
                </a:lnTo>
                <a:lnTo>
                  <a:pt x="4388" y="1150"/>
                </a:lnTo>
                <a:lnTo>
                  <a:pt x="4403" y="1152"/>
                </a:lnTo>
                <a:lnTo>
                  <a:pt x="4416" y="1158"/>
                </a:lnTo>
                <a:lnTo>
                  <a:pt x="4422" y="1162"/>
                </a:lnTo>
                <a:lnTo>
                  <a:pt x="4428" y="1166"/>
                </a:lnTo>
                <a:lnTo>
                  <a:pt x="4440" y="1174"/>
                </a:lnTo>
                <a:lnTo>
                  <a:pt x="4450" y="1186"/>
                </a:lnTo>
                <a:lnTo>
                  <a:pt x="4459" y="1198"/>
                </a:lnTo>
                <a:lnTo>
                  <a:pt x="4467" y="1212"/>
                </a:lnTo>
                <a:lnTo>
                  <a:pt x="4471" y="1218"/>
                </a:lnTo>
                <a:lnTo>
                  <a:pt x="4474" y="1225"/>
                </a:lnTo>
                <a:lnTo>
                  <a:pt x="4477" y="1233"/>
                </a:lnTo>
                <a:lnTo>
                  <a:pt x="4480" y="1241"/>
                </a:lnTo>
                <a:lnTo>
                  <a:pt x="4485" y="1259"/>
                </a:lnTo>
                <a:lnTo>
                  <a:pt x="4490" y="1275"/>
                </a:lnTo>
                <a:lnTo>
                  <a:pt x="4493" y="1293"/>
                </a:lnTo>
                <a:lnTo>
                  <a:pt x="4495" y="1313"/>
                </a:lnTo>
                <a:lnTo>
                  <a:pt x="4497" y="1331"/>
                </a:lnTo>
                <a:lnTo>
                  <a:pt x="4497" y="1349"/>
                </a:lnTo>
                <a:lnTo>
                  <a:pt x="4435" y="1375"/>
                </a:lnTo>
                <a:lnTo>
                  <a:pt x="4435" y="1359"/>
                </a:lnTo>
                <a:lnTo>
                  <a:pt x="4433" y="1345"/>
                </a:lnTo>
                <a:lnTo>
                  <a:pt x="4432" y="1331"/>
                </a:lnTo>
                <a:lnTo>
                  <a:pt x="4430" y="1319"/>
                </a:lnTo>
                <a:lnTo>
                  <a:pt x="4427" y="1309"/>
                </a:lnTo>
                <a:lnTo>
                  <a:pt x="4426" y="1303"/>
                </a:lnTo>
                <a:lnTo>
                  <a:pt x="4424" y="1299"/>
                </a:lnTo>
                <a:lnTo>
                  <a:pt x="4421" y="1289"/>
                </a:lnTo>
                <a:lnTo>
                  <a:pt x="4417" y="1281"/>
                </a:lnTo>
                <a:lnTo>
                  <a:pt x="4413" y="1275"/>
                </a:lnTo>
                <a:lnTo>
                  <a:pt x="4408" y="1269"/>
                </a:lnTo>
                <a:lnTo>
                  <a:pt x="4403" y="1265"/>
                </a:lnTo>
                <a:lnTo>
                  <a:pt x="4397" y="1261"/>
                </a:lnTo>
                <a:lnTo>
                  <a:pt x="4391" y="1257"/>
                </a:lnTo>
                <a:lnTo>
                  <a:pt x="4385" y="1255"/>
                </a:lnTo>
                <a:lnTo>
                  <a:pt x="4378" y="1255"/>
                </a:lnTo>
                <a:lnTo>
                  <a:pt x="4370" y="1253"/>
                </a:lnTo>
                <a:lnTo>
                  <a:pt x="4358" y="1255"/>
                </a:lnTo>
                <a:lnTo>
                  <a:pt x="4346" y="1259"/>
                </a:lnTo>
                <a:lnTo>
                  <a:pt x="4341" y="1263"/>
                </a:lnTo>
                <a:lnTo>
                  <a:pt x="4336" y="1267"/>
                </a:lnTo>
                <a:lnTo>
                  <a:pt x="4331" y="1271"/>
                </a:lnTo>
                <a:lnTo>
                  <a:pt x="4327" y="1275"/>
                </a:lnTo>
                <a:lnTo>
                  <a:pt x="4323" y="1281"/>
                </a:lnTo>
                <a:lnTo>
                  <a:pt x="4319" y="1287"/>
                </a:lnTo>
                <a:lnTo>
                  <a:pt x="4316" y="1295"/>
                </a:lnTo>
                <a:lnTo>
                  <a:pt x="4313" y="1303"/>
                </a:lnTo>
                <a:lnTo>
                  <a:pt x="4311" y="1311"/>
                </a:lnTo>
                <a:lnTo>
                  <a:pt x="4310" y="1321"/>
                </a:lnTo>
                <a:lnTo>
                  <a:pt x="4309" y="1331"/>
                </a:lnTo>
                <a:lnTo>
                  <a:pt x="4308" y="1341"/>
                </a:lnTo>
                <a:lnTo>
                  <a:pt x="4309" y="1351"/>
                </a:lnTo>
                <a:lnTo>
                  <a:pt x="4309" y="1361"/>
                </a:lnTo>
                <a:lnTo>
                  <a:pt x="4310" y="1371"/>
                </a:lnTo>
                <a:lnTo>
                  <a:pt x="4311" y="1379"/>
                </a:lnTo>
                <a:lnTo>
                  <a:pt x="4313" y="1387"/>
                </a:lnTo>
                <a:lnTo>
                  <a:pt x="4315" y="1395"/>
                </a:lnTo>
                <a:lnTo>
                  <a:pt x="4318" y="1403"/>
                </a:lnTo>
                <a:lnTo>
                  <a:pt x="4321" y="1409"/>
                </a:lnTo>
                <a:lnTo>
                  <a:pt x="4325" y="1415"/>
                </a:lnTo>
                <a:lnTo>
                  <a:pt x="4328" y="1421"/>
                </a:lnTo>
                <a:lnTo>
                  <a:pt x="4337" y="1433"/>
                </a:lnTo>
                <a:lnTo>
                  <a:pt x="4347" y="1445"/>
                </a:lnTo>
                <a:lnTo>
                  <a:pt x="4359" y="1457"/>
                </a:lnTo>
                <a:lnTo>
                  <a:pt x="4421" y="1511"/>
                </a:lnTo>
                <a:lnTo>
                  <a:pt x="4431" y="1521"/>
                </a:lnTo>
                <a:lnTo>
                  <a:pt x="4442" y="1531"/>
                </a:lnTo>
                <a:lnTo>
                  <a:pt x="4451" y="1541"/>
                </a:lnTo>
                <a:lnTo>
                  <a:pt x="4459" y="1553"/>
                </a:lnTo>
                <a:lnTo>
                  <a:pt x="4467" y="1565"/>
                </a:lnTo>
                <a:lnTo>
                  <a:pt x="4474" y="1575"/>
                </a:lnTo>
                <a:lnTo>
                  <a:pt x="4480" y="1589"/>
                </a:lnTo>
                <a:lnTo>
                  <a:pt x="4486" y="1601"/>
                </a:lnTo>
                <a:lnTo>
                  <a:pt x="4491" y="1615"/>
                </a:lnTo>
                <a:lnTo>
                  <a:pt x="4495" y="1629"/>
                </a:lnTo>
                <a:lnTo>
                  <a:pt x="4499" y="1643"/>
                </a:lnTo>
                <a:lnTo>
                  <a:pt x="4502" y="1659"/>
                </a:lnTo>
                <a:lnTo>
                  <a:pt x="4504" y="1675"/>
                </a:lnTo>
                <a:lnTo>
                  <a:pt x="4505" y="1685"/>
                </a:lnTo>
                <a:lnTo>
                  <a:pt x="4505" y="1693"/>
                </a:lnTo>
                <a:lnTo>
                  <a:pt x="4506" y="1711"/>
                </a:lnTo>
                <a:lnTo>
                  <a:pt x="4507" y="1730"/>
                </a:lnTo>
                <a:lnTo>
                  <a:pt x="4506" y="1756"/>
                </a:lnTo>
                <a:lnTo>
                  <a:pt x="4504" y="1780"/>
                </a:lnTo>
                <a:lnTo>
                  <a:pt x="4503" y="1792"/>
                </a:lnTo>
                <a:lnTo>
                  <a:pt x="4501" y="1802"/>
                </a:lnTo>
                <a:lnTo>
                  <a:pt x="4499" y="1814"/>
                </a:lnTo>
                <a:lnTo>
                  <a:pt x="4497" y="1824"/>
                </a:lnTo>
                <a:lnTo>
                  <a:pt x="4494" y="1834"/>
                </a:lnTo>
                <a:lnTo>
                  <a:pt x="4492" y="1844"/>
                </a:lnTo>
                <a:lnTo>
                  <a:pt x="4485" y="1862"/>
                </a:lnTo>
                <a:lnTo>
                  <a:pt x="4482" y="1870"/>
                </a:lnTo>
                <a:lnTo>
                  <a:pt x="4478" y="1880"/>
                </a:lnTo>
                <a:lnTo>
                  <a:pt x="4470" y="1894"/>
                </a:lnTo>
                <a:lnTo>
                  <a:pt x="4465" y="1902"/>
                </a:lnTo>
                <a:lnTo>
                  <a:pt x="4460" y="1908"/>
                </a:lnTo>
                <a:lnTo>
                  <a:pt x="4455" y="1914"/>
                </a:lnTo>
                <a:lnTo>
                  <a:pt x="4450" y="1920"/>
                </a:lnTo>
                <a:lnTo>
                  <a:pt x="4439" y="1930"/>
                </a:lnTo>
                <a:lnTo>
                  <a:pt x="4427" y="1938"/>
                </a:lnTo>
                <a:lnTo>
                  <a:pt x="4414" y="1946"/>
                </a:lnTo>
                <a:lnTo>
                  <a:pt x="4400" y="1950"/>
                </a:lnTo>
                <a:lnTo>
                  <a:pt x="4393" y="1952"/>
                </a:lnTo>
                <a:lnTo>
                  <a:pt x="4386" y="1952"/>
                </a:lnTo>
                <a:lnTo>
                  <a:pt x="4370" y="195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897DE48D-705B-612C-7DFA-B303012D79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98587" y="5517232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F5A17A4-EA2D-AFFF-38DF-9699B925DC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98587" y="5805264"/>
            <a:ext cx="9793263" cy="288032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9111268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6924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Vaalea Sinin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F6E1360-F189-4139-9048-115E301C35CC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2394" cy="1656457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3861048"/>
            <a:ext cx="9791700" cy="1512168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2" name="Freeform 9">
            <a:extLst>
              <a:ext uri="{FF2B5EF4-FFF2-40B4-BE49-F238E27FC236}">
                <a16:creationId xmlns:a16="http://schemas.microsoft.com/office/drawing/2014/main" id="{2C197826-9F8E-5472-A8FC-FBC0D76CA5C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876712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Sinin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6AE7960-5EB6-425A-925B-02E512402044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2394" cy="1656457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3861048"/>
            <a:ext cx="9791700" cy="1512168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2" name="Freeform 9">
            <a:extLst>
              <a:ext uri="{FF2B5EF4-FFF2-40B4-BE49-F238E27FC236}">
                <a16:creationId xmlns:a16="http://schemas.microsoft.com/office/drawing/2014/main" id="{2C197826-9F8E-5472-A8FC-FBC0D76CA5C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243200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äliotsikko Oranssi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A89D577-0C58-4EB0-AB36-3EFE9080D37C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2394" cy="1656457"/>
          </a:xfrm>
        </p:spPr>
        <p:txBody>
          <a:bodyPr anchor="t" anchorCtr="0"/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3861048"/>
            <a:ext cx="9791700" cy="1512168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2" name="Freeform 9">
            <a:extLst>
              <a:ext uri="{FF2B5EF4-FFF2-40B4-BE49-F238E27FC236}">
                <a16:creationId xmlns:a16="http://schemas.microsoft.com/office/drawing/2014/main" id="{2C197826-9F8E-5472-A8FC-FBC0D76CA5C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284203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0C2626-BC82-4DB8-A61D-0CB76FEE0940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00150" y="2060575"/>
            <a:ext cx="9792394" cy="1656457"/>
          </a:xfrm>
        </p:spPr>
        <p:txBody>
          <a:bodyPr anchor="t" anchorCtr="0"/>
          <a:lstStyle>
            <a:lvl1pPr algn="l"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0150" y="3861048"/>
            <a:ext cx="9791700" cy="1512168"/>
          </a:xfrm>
        </p:spPr>
        <p:txBody>
          <a:bodyPr/>
          <a:lstStyle>
            <a:lvl1pPr marL="0" indent="0" algn="l">
              <a:buNone/>
              <a:defRPr sz="28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</p:spTree>
    <p:extLst>
      <p:ext uri="{BB962C8B-B14F-4D97-AF65-F5344CB8AC3E}">
        <p14:creationId xmlns:p14="http://schemas.microsoft.com/office/powerpoint/2010/main" val="2030747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BC429FC-A91D-4FB8-B6AB-73636CDB675F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1628800"/>
            <a:ext cx="5328592" cy="2592287"/>
          </a:xfrm>
        </p:spPr>
        <p:txBody>
          <a:bodyPr anchor="t" anchorCtr="0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5999" y="4365104"/>
            <a:ext cx="5327837" cy="100811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98AACD5E-0576-9130-AE59-234634CB2FE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214081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EF7DD2-495D-47AB-85A9-04C62FAD653E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1628800"/>
            <a:ext cx="5328592" cy="2592287"/>
          </a:xfrm>
        </p:spPr>
        <p:txBody>
          <a:bodyPr anchor="t" anchorCtr="0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5999" y="4365104"/>
            <a:ext cx="5327837" cy="100811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98AACD5E-0576-9130-AE59-234634CB2FE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854617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971ACFF-35AD-4B35-8F63-DA36DF47DB07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1628800"/>
            <a:ext cx="5328592" cy="2592287"/>
          </a:xfrm>
        </p:spPr>
        <p:txBody>
          <a:bodyPr anchor="t" anchorCtr="0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5999" y="4365104"/>
            <a:ext cx="5327837" cy="100811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98AACD5E-0576-9130-AE59-234634CB2FE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866483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4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5EE7DD3-9FBC-4A6C-8FEA-3B0F282A29B5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99457" y="1628800"/>
            <a:ext cx="5328592" cy="2592287"/>
          </a:xfrm>
        </p:spPr>
        <p:txBody>
          <a:bodyPr anchor="t" anchorCtr="0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99456" y="4365104"/>
            <a:ext cx="5327837" cy="100811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76B15C77-C3E2-1396-58FE-ACF73DA2054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511890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5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916F1D5-D86D-4DAD-9986-EC6D8222FD1C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99457" y="1628800"/>
            <a:ext cx="5328592" cy="2592287"/>
          </a:xfrm>
        </p:spPr>
        <p:txBody>
          <a:bodyPr anchor="t" anchorCtr="0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99456" y="4365104"/>
            <a:ext cx="5327837" cy="100811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  <p:sp>
        <p:nvSpPr>
          <p:cNvPr id="9" name="Freeform 9">
            <a:extLst>
              <a:ext uri="{FF2B5EF4-FFF2-40B4-BE49-F238E27FC236}">
                <a16:creationId xmlns:a16="http://schemas.microsoft.com/office/drawing/2014/main" id="{76B15C77-C3E2-1396-58FE-ACF73DA2054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924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Kuvall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2">
            <a:extLst>
              <a:ext uri="{FF2B5EF4-FFF2-40B4-BE49-F238E27FC236}">
                <a16:creationId xmlns:a16="http://schemas.microsoft.com/office/drawing/2014/main" id="{24212E61-FA6C-4909-A64F-96957E89603E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" y="0"/>
            <a:ext cx="12192000" cy="6858000"/>
          </a:xfrm>
          <a:solidFill>
            <a:schemeClr val="tx2"/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en-GB" dirty="0" err="1"/>
              <a:t>Lisää</a:t>
            </a:r>
            <a:r>
              <a:rPr lang="en-GB" dirty="0"/>
              <a:t> </a:t>
            </a:r>
            <a:r>
              <a:rPr lang="en-GB" dirty="0" err="1"/>
              <a:t>kuva</a:t>
            </a:r>
            <a:endParaRPr lang="en-GB" dirty="0"/>
          </a:p>
          <a:p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2A1CC72-92FB-3363-C5B8-9136608B0047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1503213" y="6308625"/>
            <a:ext cx="280800" cy="21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5A5EED2-76A3-48AA-9555-CFE6C59D677E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96000" y="1628800"/>
            <a:ext cx="5328592" cy="1231106"/>
          </a:xfrm>
        </p:spPr>
        <p:txBody>
          <a:bodyPr anchor="t" anchorCtr="0">
            <a:sp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5999" y="4365104"/>
            <a:ext cx="5327837" cy="100811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</p:spTree>
    <p:extLst>
      <p:ext uri="{BB962C8B-B14F-4D97-AF65-F5344CB8AC3E}">
        <p14:creationId xmlns:p14="http://schemas.microsoft.com/office/powerpoint/2010/main" val="10392005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3755CC-1185-51FC-E3B8-4147606A50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E6B893-6B04-6927-CE94-9A66F78D614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D925BA-5B20-3CBA-B94B-28B753A84A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45EC5-5E30-4940-8FF5-92373D36D407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7193C2-3638-0637-9E42-4D47B9D9F3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FAE3C4-91D4-D1BC-C03D-1496593FA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74378503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atti Kuvalla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2">
            <a:extLst>
              <a:ext uri="{FF2B5EF4-FFF2-40B4-BE49-F238E27FC236}">
                <a16:creationId xmlns:a16="http://schemas.microsoft.com/office/drawing/2014/main" id="{4623C09F-3FCC-1888-1069-D8D811DF11FB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1" y="0"/>
            <a:ext cx="12192000" cy="6858000"/>
          </a:xfrm>
          <a:solidFill>
            <a:schemeClr val="tx2"/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en-GB" dirty="0" err="1"/>
              <a:t>Lisää</a:t>
            </a:r>
            <a:r>
              <a:rPr lang="en-GB" dirty="0"/>
              <a:t> </a:t>
            </a:r>
            <a:r>
              <a:rPr lang="en-GB" dirty="0" err="1"/>
              <a:t>kuva</a:t>
            </a:r>
            <a:endParaRPr lang="en-GB" dirty="0"/>
          </a:p>
          <a:p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29682F0-63E3-35DE-D7F2-6CCF56790E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1503213" y="6308625"/>
            <a:ext cx="280800" cy="21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997B08-CDC0-D9DA-023C-33EB242458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A80CA5-1E43-43C0-88C9-A420EAC96B13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46E968-BF71-89AA-C26E-10EFAEEEC9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8EEA2C-E894-50CC-1D3C-CCAA51AAE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DBC2BCA-6E98-D0FC-A4D9-2479036B5B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99457" y="1628800"/>
            <a:ext cx="5328592" cy="1231106"/>
          </a:xfrm>
        </p:spPr>
        <p:txBody>
          <a:bodyPr anchor="t" anchorCtr="0">
            <a:sp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Muokkaa ots. perustyyl. napsautt.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64CB5395-4AF2-9EE9-D682-4F6C29D9E16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99456" y="4365104"/>
            <a:ext cx="5327837" cy="1008112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noProof="0"/>
              <a:t>Muokkaa alaotsikon perustyyliä napsautt.</a:t>
            </a:r>
          </a:p>
        </p:txBody>
      </p:sp>
    </p:spTree>
    <p:extLst>
      <p:ext uri="{BB962C8B-B14F-4D97-AF65-F5344CB8AC3E}">
        <p14:creationId xmlns:p14="http://schemas.microsoft.com/office/powerpoint/2010/main" val="9525922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ä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EB8C7F-959D-1EEC-7251-45F8A60E42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5BC727-BC31-A840-E8A4-358FAF23D3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1628775"/>
            <a:ext cx="5543996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A31291B-F0CF-B694-1D67-1103E645FEA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0015" y="1628775"/>
            <a:ext cx="5543997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47E64-0195-479A-AE28-00FBC5DDC954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405263628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ailu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01AF6C-A8F2-8B1F-3829-5C11DD5BA4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90" y="1628800"/>
            <a:ext cx="5543994" cy="57633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E17F7F-1433-10E5-04D5-0E673FC18D3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7989" y="2204864"/>
            <a:ext cx="5543995" cy="3887962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668D6B2-8031-5CD8-60CC-0E7AF2B5E77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40015" y="1628800"/>
            <a:ext cx="5543997" cy="57633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91CFEB5-AAD0-D485-43A0-4E88546F685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40015" y="2204864"/>
            <a:ext cx="5543997" cy="3887962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CE647C8-E6F3-DA33-CDFC-03278D1BE7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ABFF0E-FF8A-4504-BADF-A335FDAD54B5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9B6C7C1-463A-8E2E-E815-A540C8B20C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CA7C553-4260-5B3C-9349-0A103FEFB0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9393B79B-E381-B636-A806-AF96793F7E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</p:spTree>
    <p:extLst>
      <p:ext uri="{BB962C8B-B14F-4D97-AF65-F5344CB8AC3E}">
        <p14:creationId xmlns:p14="http://schemas.microsoft.com/office/powerpoint/2010/main" val="61929841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väliotsiko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01AF6C-A8F2-8B1F-3829-5C11DD5BA4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90" y="1628800"/>
            <a:ext cx="11376022" cy="57633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E17F7F-1433-10E5-04D5-0E673FC18D3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7989" y="2204864"/>
            <a:ext cx="11376024" cy="3887962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CE647C8-E6F3-DA33-CDFC-03278D1BE7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889213-AD28-444C-991F-6528BB6DBA0C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9B6C7C1-463A-8E2E-E815-A540C8B20C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CA7C553-4260-5B3C-9349-0A103FEFB0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9393B79B-E381-B636-A806-AF96793F7E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</p:spTree>
    <p:extLst>
      <p:ext uri="{BB962C8B-B14F-4D97-AF65-F5344CB8AC3E}">
        <p14:creationId xmlns:p14="http://schemas.microsoft.com/office/powerpoint/2010/main" val="326849817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kuva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EB8C7F-959D-1EEC-7251-45F8A60E42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5BC727-BC31-A840-E8A4-358FAF23D3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1628775"/>
            <a:ext cx="5111750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875696-5D9B-4774-837B-64758A33B4B7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B18BA6B-FD37-F710-9ED4-279814FCB04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808663" y="1628775"/>
            <a:ext cx="5975350" cy="446405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fi-FI" noProof="0"/>
              <a:t>Lisää kuva</a:t>
            </a:r>
          </a:p>
          <a:p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129619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kuvall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EB8C7F-959D-1EEC-7251-45F8A60E42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0630F7-1F60-4715-9C16-15CB24960F71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B18BA6B-FD37-F710-9ED4-279814FCB04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808663" y="1628775"/>
            <a:ext cx="5975350" cy="446405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Tx/>
              <a:buFontTx/>
              <a:buNone/>
              <a:tabLst/>
              <a:defRPr/>
            </a:pPr>
            <a:r>
              <a:rPr lang="fi-FI" noProof="0"/>
              <a:t>Lisää kuva</a:t>
            </a:r>
          </a:p>
          <a:p>
            <a:endParaRPr lang="fi-FI" noProof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DB3349D6-A24C-7582-3528-FE72912682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90" y="1628800"/>
            <a:ext cx="5111946" cy="576338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478EB7E6-96D9-B941-05A5-DBD7E4BE8F9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7989" y="2204864"/>
            <a:ext cx="5111947" cy="3887962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</p:spTree>
    <p:extLst>
      <p:ext uri="{BB962C8B-B14F-4D97-AF65-F5344CB8AC3E}">
        <p14:creationId xmlns:p14="http://schemas.microsoft.com/office/powerpoint/2010/main" val="9025910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kuvall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5BC727-BC31-A840-E8A4-358FAF23D3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2060575"/>
            <a:ext cx="5111750" cy="40322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0A3AE5-DE86-439D-BDE7-2D8F9618F9BB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B18BA6B-FD37-F710-9ED4-279814FCB04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808663" y="333375"/>
            <a:ext cx="5975350" cy="575945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3673738-0205-57FC-6748-D7BD974C60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4800"/>
            <a:ext cx="5111948" cy="1436220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</p:spTree>
    <p:extLst>
      <p:ext uri="{BB962C8B-B14F-4D97-AF65-F5344CB8AC3E}">
        <p14:creationId xmlns:p14="http://schemas.microsoft.com/office/powerpoint/2010/main" val="3057974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kuvalla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B18BA6B-FD37-F710-9ED4-279814FCB04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7988" y="333375"/>
            <a:ext cx="5975350" cy="575945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EB8C7F-959D-1EEC-7251-45F8A60E4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7501" y="333375"/>
            <a:ext cx="5111948" cy="1439441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5BC727-BC31-A840-E8A4-358FAF23D3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667501" y="2060575"/>
            <a:ext cx="5111750" cy="40322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FEA7DC-D610-46CE-9AB5-1E9DBD575C55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2354838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sältö kuvalla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B18BA6B-FD37-F710-9ED4-279814FCB04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808662" y="0"/>
            <a:ext cx="6383337" cy="685800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EB8C7F-959D-1EEC-7251-45F8A60E4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5"/>
            <a:ext cx="5111948" cy="1439441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5BC727-BC31-A840-E8A4-358FAF23D3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2060575"/>
            <a:ext cx="5111750" cy="40322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23C54D-74EF-4449-9395-7F9C5DF91A0A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54C5033-1457-FB5E-5116-A846EFC9618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1503213" y="6308625"/>
            <a:ext cx="280800" cy="2160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119473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kuvalla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B18BA6B-FD37-F710-9ED4-279814FCB04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383338" cy="6857999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 noProof="0"/>
              <a:t>Lisää kuva napsauttamalla kuvaketta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EB8C7F-959D-1EEC-7251-45F8A60E4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67501" y="333375"/>
            <a:ext cx="5111948" cy="1439441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5BC727-BC31-A840-E8A4-358FAF23D3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667501" y="2060575"/>
            <a:ext cx="5111750" cy="40322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5352FF-B747-4512-90FC-4FF74DD2FE1D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8823307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3755CC-1185-51FC-E3B8-4147606A50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5"/>
            <a:ext cx="10008494" cy="1008063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E6B893-6B04-6927-CE94-9A66F78D61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628775"/>
            <a:ext cx="10008493" cy="44640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D925BA-5B20-3CBA-B94B-28B753A84A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33BC26-8A72-45DE-A057-6A837FA79951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47193C2-3638-0637-9E42-4D47B9D9F3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FAE3C4-91D4-D1BC-C03D-1496593FA7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314980902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grafiikk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EB8C7F-959D-1EEC-7251-45F8A60E4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5"/>
            <a:ext cx="5111948" cy="1439441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5BC727-BC31-A840-E8A4-358FAF23D3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2060575"/>
            <a:ext cx="5111750" cy="40322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72D24F-84EC-41E4-A6BD-EB85783DA2A8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3516054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grafiikka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EB8C7F-959D-1EEC-7251-45F8A60E4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5"/>
            <a:ext cx="5111948" cy="1439441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5BC727-BC31-A840-E8A4-358FAF23D3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2060575"/>
            <a:ext cx="5111750" cy="40322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9F4816-212F-49F0-9028-D88CF4E97A56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4524853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 ja grafiikka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EB8C7F-959D-1EEC-7251-45F8A60E4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5"/>
            <a:ext cx="5111948" cy="1439441"/>
          </a:xfrm>
        </p:spPr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5BC727-BC31-A840-E8A4-358FAF23D3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2060575"/>
            <a:ext cx="5111750" cy="4032250"/>
          </a:xfrm>
        </p:spPr>
        <p:txBody>
          <a:bodyPr/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8860FF-8024-46E4-9C81-E5A60BE7D630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6120819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kuv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EB8C7F-959D-1EEC-7251-45F8A60E42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64D71A-6F81-440D-A41D-7EBCE793D172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B18BA6B-FD37-F710-9ED4-279814FCB04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7988" y="1628775"/>
            <a:ext cx="11376025" cy="4464050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r>
              <a:rPr lang="fi-FI" noProof="0"/>
              <a:t>Lisää kuva napsauttamalla kuvaketta</a:t>
            </a:r>
          </a:p>
        </p:txBody>
      </p:sp>
    </p:spTree>
    <p:extLst>
      <p:ext uri="{BB962C8B-B14F-4D97-AF65-F5344CB8AC3E}">
        <p14:creationId xmlns:p14="http://schemas.microsoft.com/office/powerpoint/2010/main" val="1191606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3840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sessi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EB8C7F-959D-1EEC-7251-45F8A60E42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5BC727-BC31-A840-E8A4-358FAF23D31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7988" y="1628775"/>
            <a:ext cx="3599780" cy="4464050"/>
          </a:xfrm>
          <a:solidFill>
            <a:srgbClr val="CFD9E2"/>
          </a:solidFill>
        </p:spPr>
        <p:txBody>
          <a:bodyPr lIns="216000" tIns="936000" rIns="216000" bIns="216000"/>
          <a:lstStyle>
            <a:lvl1pPr>
              <a:defRPr sz="1600"/>
            </a:lvl1pPr>
            <a:lvl2pPr>
              <a:defRPr sz="1600"/>
            </a:lvl2pPr>
          </a:lstStyle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A31291B-F0CF-B694-1D67-1103E645FEA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295802" y="1628775"/>
            <a:ext cx="3600398" cy="4464050"/>
          </a:xfrm>
          <a:solidFill>
            <a:srgbClr val="CFD9E2"/>
          </a:solidFill>
        </p:spPr>
        <p:txBody>
          <a:bodyPr lIns="216000" tIns="936000" rIns="216000" bIns="216000"/>
          <a:lstStyle>
            <a:lvl1pPr>
              <a:defRPr sz="1600"/>
            </a:lvl1pPr>
            <a:lvl2pPr>
              <a:defRPr sz="1600"/>
            </a:lvl2pPr>
          </a:lstStyle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FB8E3CE-7338-ACAE-78C6-20E5906936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16BC75-A025-44D9-B8E8-0B20F2A127EE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01CE44-EDA3-BABC-EFAD-E0E455DC6D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172D26-5A20-20E8-C9CB-1A1DB28A2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D0365739-1DC8-C9DA-BDEC-DDC2A6395CCA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184232" y="1628775"/>
            <a:ext cx="3599781" cy="4464050"/>
          </a:xfrm>
          <a:solidFill>
            <a:srgbClr val="CFD9E2"/>
          </a:solidFill>
        </p:spPr>
        <p:txBody>
          <a:bodyPr lIns="216000" tIns="936000" rIns="216000" bIns="216000"/>
          <a:lstStyle>
            <a:lvl1pPr>
              <a:defRPr sz="1600"/>
            </a:lvl1pPr>
            <a:lvl2pPr>
              <a:defRPr sz="1600"/>
            </a:lvl2pPr>
          </a:lstStyle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B9257046-7365-CE0F-5CEA-0410AC025699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623392" y="1844824"/>
            <a:ext cx="3168352" cy="576064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97DCF637-F9C0-1D58-F7C4-84E8D83055D7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4511824" y="1844824"/>
            <a:ext cx="3168352" cy="576064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BC38343-06F5-5344-B173-DE8E4E537803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8400256" y="1844824"/>
            <a:ext cx="3168352" cy="576064"/>
          </a:xfrm>
        </p:spPr>
        <p:txBody>
          <a:bodyPr anchor="t" anchorCtr="0"/>
          <a:lstStyle>
            <a:lvl1pPr marL="0" indent="0">
              <a:spcBef>
                <a:spcPts val="0"/>
              </a:spcBef>
              <a:buNone/>
              <a:defRPr sz="1800" b="0">
                <a:solidFill>
                  <a:schemeClr val="accent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 noProof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79616788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in otsikk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D72A682-F7DD-1E81-4AED-221522F455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A5E549D-7DD7-D2EF-0EA6-2A1DA6A908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38DD16-3BF1-40FB-BB42-6241713665A4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FBFB582-D5BC-AD1E-1505-83B6D08046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127422B-941A-877D-60C4-0B2A653E6B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139781666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E2D486F-EB23-3F8A-8E15-DE5BADB78A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39DF1D-2BB0-4FC0-8DF3-FF21BCA97B77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124ADB-D299-4DCB-4345-9AEF4E4610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 noProof="0"/>
              <a:t>© Rakennusteollisuus R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50F52B-64BF-55A1-2E40-332464A3D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D61EF7-2460-4EE9-A031-27FEBC4F9A95}" type="slidenum">
              <a:rPr lang="fi-FI" noProof="0" smtClean="0"/>
              <a:t>‹#›</a:t>
            </a:fld>
            <a:endParaRPr lang="fi-FI" noProof="0"/>
          </a:p>
        </p:txBody>
      </p:sp>
    </p:spTree>
    <p:extLst>
      <p:ext uri="{BB962C8B-B14F-4D97-AF65-F5344CB8AC3E}">
        <p14:creationId xmlns:p14="http://schemas.microsoft.com/office/powerpoint/2010/main" val="52662461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iitos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89437-0A9F-6907-E834-ECE3DB6251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00150" y="2060575"/>
            <a:ext cx="9791700" cy="2592561"/>
          </a:xfrm>
        </p:spPr>
        <p:txBody>
          <a:bodyPr anchor="b" anchorCtr="0"/>
          <a:lstStyle>
            <a:lvl1pPr algn="l">
              <a:defRPr sz="80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Lisää kiitos viesti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98F4D-E89B-8263-EB37-8F8B305D4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44B865C7-24A8-41AD-ACD1-A1B563CC09A7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B5C31-D7B7-0A4A-9FF1-A8910751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9B765-A518-625F-2D82-59131FF13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CD5646D-347F-0693-85B7-82EEFAEE1F7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07368" y="333375"/>
            <a:ext cx="2325003" cy="504000"/>
          </a:xfrm>
          <a:custGeom>
            <a:avLst/>
            <a:gdLst>
              <a:gd name="T0" fmla="*/ 11 w 4507"/>
              <a:gd name="T1" fmla="*/ 18 h 1954"/>
              <a:gd name="T2" fmla="*/ 659 w 4507"/>
              <a:gd name="T3" fmla="*/ 297 h 1954"/>
              <a:gd name="T4" fmla="*/ 666 w 4507"/>
              <a:gd name="T5" fmla="*/ 916 h 1954"/>
              <a:gd name="T6" fmla="*/ 347 w 4507"/>
              <a:gd name="T7" fmla="*/ 880 h 1954"/>
              <a:gd name="T8" fmla="*/ 471 w 4507"/>
              <a:gd name="T9" fmla="*/ 675 h 1954"/>
              <a:gd name="T10" fmla="*/ 375 w 4507"/>
              <a:gd name="T11" fmla="*/ 401 h 1954"/>
              <a:gd name="T12" fmla="*/ 1722 w 4507"/>
              <a:gd name="T13" fmla="*/ 26 h 1954"/>
              <a:gd name="T14" fmla="*/ 1804 w 4507"/>
              <a:gd name="T15" fmla="*/ 309 h 1954"/>
              <a:gd name="T16" fmla="*/ 1741 w 4507"/>
              <a:gd name="T17" fmla="*/ 269 h 1954"/>
              <a:gd name="T18" fmla="*/ 1854 w 4507"/>
              <a:gd name="T19" fmla="*/ 788 h 1954"/>
              <a:gd name="T20" fmla="*/ 2410 w 4507"/>
              <a:gd name="T21" fmla="*/ 18 h 1954"/>
              <a:gd name="T22" fmla="*/ 3053 w 4507"/>
              <a:gd name="T23" fmla="*/ 553 h 1954"/>
              <a:gd name="T24" fmla="*/ 3419 w 4507"/>
              <a:gd name="T25" fmla="*/ 539 h 1954"/>
              <a:gd name="T26" fmla="*/ 3595 w 4507"/>
              <a:gd name="T27" fmla="*/ 659 h 1954"/>
              <a:gd name="T28" fmla="*/ 3699 w 4507"/>
              <a:gd name="T29" fmla="*/ 697 h 1954"/>
              <a:gd name="T30" fmla="*/ 3842 w 4507"/>
              <a:gd name="T31" fmla="*/ 595 h 1954"/>
              <a:gd name="T32" fmla="*/ 3700 w 4507"/>
              <a:gd name="T33" fmla="*/ 806 h 1954"/>
              <a:gd name="T34" fmla="*/ 3943 w 4507"/>
              <a:gd name="T35" fmla="*/ 725 h 1954"/>
              <a:gd name="T36" fmla="*/ 4018 w 4507"/>
              <a:gd name="T37" fmla="*/ 689 h 1954"/>
              <a:gd name="T38" fmla="*/ 4124 w 4507"/>
              <a:gd name="T39" fmla="*/ 581 h 1954"/>
              <a:gd name="T40" fmla="*/ 3931 w 4507"/>
              <a:gd name="T41" fmla="*/ 269 h 1954"/>
              <a:gd name="T42" fmla="*/ 4017 w 4507"/>
              <a:gd name="T43" fmla="*/ 6 h 1954"/>
              <a:gd name="T44" fmla="*/ 4117 w 4507"/>
              <a:gd name="T45" fmla="*/ 228 h 1954"/>
              <a:gd name="T46" fmla="*/ 4005 w 4507"/>
              <a:gd name="T47" fmla="*/ 134 h 1954"/>
              <a:gd name="T48" fmla="*/ 4123 w 4507"/>
              <a:gd name="T49" fmla="*/ 383 h 1954"/>
              <a:gd name="T50" fmla="*/ 4174 w 4507"/>
              <a:gd name="T51" fmla="*/ 697 h 1954"/>
              <a:gd name="T52" fmla="*/ 1767 w 4507"/>
              <a:gd name="T53" fmla="*/ 1273 h 1954"/>
              <a:gd name="T54" fmla="*/ 2197 w 4507"/>
              <a:gd name="T55" fmla="*/ 1926 h 1954"/>
              <a:gd name="T56" fmla="*/ 2114 w 4507"/>
              <a:gd name="T57" fmla="*/ 1551 h 1954"/>
              <a:gd name="T58" fmla="*/ 2226 w 4507"/>
              <a:gd name="T59" fmla="*/ 1156 h 1954"/>
              <a:gd name="T60" fmla="*/ 2385 w 4507"/>
              <a:gd name="T61" fmla="*/ 1313 h 1954"/>
              <a:gd name="T62" fmla="*/ 2373 w 4507"/>
              <a:gd name="T63" fmla="*/ 1834 h 1954"/>
              <a:gd name="T64" fmla="*/ 2227 w 4507"/>
              <a:gd name="T65" fmla="*/ 1271 h 1954"/>
              <a:gd name="T66" fmla="*/ 2192 w 4507"/>
              <a:gd name="T67" fmla="*/ 1738 h 1954"/>
              <a:gd name="T68" fmla="*/ 2323 w 4507"/>
              <a:gd name="T69" fmla="*/ 1760 h 1954"/>
              <a:gd name="T70" fmla="*/ 2273 w 4507"/>
              <a:gd name="T71" fmla="*/ 1259 h 1954"/>
              <a:gd name="T72" fmla="*/ 3321 w 4507"/>
              <a:gd name="T73" fmla="*/ 1954 h 1954"/>
              <a:gd name="T74" fmla="*/ 3265 w 4507"/>
              <a:gd name="T75" fmla="*/ 1693 h 1954"/>
              <a:gd name="T76" fmla="*/ 3380 w 4507"/>
              <a:gd name="T77" fmla="*/ 1832 h 1954"/>
              <a:gd name="T78" fmla="*/ 3369 w 4507"/>
              <a:gd name="T79" fmla="*/ 1625 h 1954"/>
              <a:gd name="T80" fmla="*/ 3218 w 4507"/>
              <a:gd name="T81" fmla="*/ 1279 h 1954"/>
              <a:gd name="T82" fmla="*/ 3426 w 4507"/>
              <a:gd name="T83" fmla="*/ 1198 h 1954"/>
              <a:gd name="T84" fmla="*/ 3370 w 4507"/>
              <a:gd name="T85" fmla="*/ 1265 h 1954"/>
              <a:gd name="T86" fmla="*/ 3279 w 4507"/>
              <a:gd name="T87" fmla="*/ 1379 h 1954"/>
              <a:gd name="T88" fmla="*/ 3471 w 4507"/>
              <a:gd name="T89" fmla="*/ 1675 h 1954"/>
              <a:gd name="T90" fmla="*/ 3381 w 4507"/>
              <a:gd name="T91" fmla="*/ 1946 h 1954"/>
              <a:gd name="T92" fmla="*/ 3620 w 4507"/>
              <a:gd name="T93" fmla="*/ 1772 h 1954"/>
              <a:gd name="T94" fmla="*/ 3736 w 4507"/>
              <a:gd name="T95" fmla="*/ 1772 h 1954"/>
              <a:gd name="T96" fmla="*/ 3756 w 4507"/>
              <a:gd name="T97" fmla="*/ 1914 h 1954"/>
              <a:gd name="T98" fmla="*/ 3915 w 4507"/>
              <a:gd name="T99" fmla="*/ 1828 h 1954"/>
              <a:gd name="T100" fmla="*/ 4005 w 4507"/>
              <a:gd name="T101" fmla="*/ 1838 h 1954"/>
              <a:gd name="T102" fmla="*/ 4160 w 4507"/>
              <a:gd name="T103" fmla="*/ 1697 h 1954"/>
              <a:gd name="T104" fmla="*/ 4039 w 4507"/>
              <a:gd name="T105" fmla="*/ 1954 h 1954"/>
              <a:gd name="T106" fmla="*/ 4268 w 4507"/>
              <a:gd name="T107" fmla="*/ 1888 h 1954"/>
              <a:gd name="T108" fmla="*/ 4324 w 4507"/>
              <a:gd name="T109" fmla="*/ 1824 h 1954"/>
              <a:gd name="T110" fmla="*/ 4442 w 4507"/>
              <a:gd name="T111" fmla="*/ 1752 h 1954"/>
              <a:gd name="T112" fmla="*/ 4255 w 4507"/>
              <a:gd name="T113" fmla="*/ 1447 h 1954"/>
              <a:gd name="T114" fmla="*/ 4311 w 4507"/>
              <a:gd name="T115" fmla="*/ 1166 h 1954"/>
              <a:gd name="T116" fmla="*/ 4497 w 4507"/>
              <a:gd name="T117" fmla="*/ 1331 h 1954"/>
              <a:gd name="T118" fmla="*/ 4336 w 4507"/>
              <a:gd name="T119" fmla="*/ 1267 h 1954"/>
              <a:gd name="T120" fmla="*/ 4359 w 4507"/>
              <a:gd name="T121" fmla="*/ 1457 h 1954"/>
              <a:gd name="T122" fmla="*/ 4499 w 4507"/>
              <a:gd name="T123" fmla="*/ 1814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507" h="1954">
                <a:moveTo>
                  <a:pt x="4307" y="327"/>
                </a:moveTo>
                <a:lnTo>
                  <a:pt x="4377" y="327"/>
                </a:lnTo>
                <a:lnTo>
                  <a:pt x="4377" y="463"/>
                </a:lnTo>
                <a:lnTo>
                  <a:pt x="4307" y="463"/>
                </a:lnTo>
                <a:lnTo>
                  <a:pt x="4307" y="327"/>
                </a:lnTo>
                <a:close/>
                <a:moveTo>
                  <a:pt x="1248" y="18"/>
                </a:moveTo>
                <a:lnTo>
                  <a:pt x="1248" y="473"/>
                </a:lnTo>
                <a:lnTo>
                  <a:pt x="1051" y="473"/>
                </a:lnTo>
                <a:lnTo>
                  <a:pt x="1051" y="1936"/>
                </a:lnTo>
                <a:lnTo>
                  <a:pt x="821" y="1936"/>
                </a:lnTo>
                <a:lnTo>
                  <a:pt x="821" y="473"/>
                </a:lnTo>
                <a:lnTo>
                  <a:pt x="655" y="18"/>
                </a:lnTo>
                <a:lnTo>
                  <a:pt x="1248" y="18"/>
                </a:lnTo>
                <a:close/>
                <a:moveTo>
                  <a:pt x="0" y="1481"/>
                </a:moveTo>
                <a:lnTo>
                  <a:pt x="230" y="1481"/>
                </a:lnTo>
                <a:lnTo>
                  <a:pt x="230" y="1936"/>
                </a:lnTo>
                <a:lnTo>
                  <a:pt x="0" y="1936"/>
                </a:lnTo>
                <a:lnTo>
                  <a:pt x="0" y="1481"/>
                </a:lnTo>
                <a:close/>
                <a:moveTo>
                  <a:pt x="487" y="1186"/>
                </a:moveTo>
                <a:lnTo>
                  <a:pt x="752" y="1936"/>
                </a:lnTo>
                <a:lnTo>
                  <a:pt x="495" y="1936"/>
                </a:lnTo>
                <a:lnTo>
                  <a:pt x="11" y="559"/>
                </a:lnTo>
                <a:lnTo>
                  <a:pt x="11" y="18"/>
                </a:lnTo>
                <a:lnTo>
                  <a:pt x="309" y="18"/>
                </a:lnTo>
                <a:lnTo>
                  <a:pt x="335" y="18"/>
                </a:lnTo>
                <a:lnTo>
                  <a:pt x="359" y="20"/>
                </a:lnTo>
                <a:lnTo>
                  <a:pt x="382" y="24"/>
                </a:lnTo>
                <a:lnTo>
                  <a:pt x="404" y="30"/>
                </a:lnTo>
                <a:lnTo>
                  <a:pt x="426" y="36"/>
                </a:lnTo>
                <a:lnTo>
                  <a:pt x="447" y="44"/>
                </a:lnTo>
                <a:lnTo>
                  <a:pt x="467" y="52"/>
                </a:lnTo>
                <a:lnTo>
                  <a:pt x="476" y="58"/>
                </a:lnTo>
                <a:lnTo>
                  <a:pt x="486" y="62"/>
                </a:lnTo>
                <a:lnTo>
                  <a:pt x="504" y="74"/>
                </a:lnTo>
                <a:lnTo>
                  <a:pt x="521" y="88"/>
                </a:lnTo>
                <a:lnTo>
                  <a:pt x="538" y="102"/>
                </a:lnTo>
                <a:lnTo>
                  <a:pt x="553" y="116"/>
                </a:lnTo>
                <a:lnTo>
                  <a:pt x="569" y="132"/>
                </a:lnTo>
                <a:lnTo>
                  <a:pt x="583" y="150"/>
                </a:lnTo>
                <a:lnTo>
                  <a:pt x="596" y="168"/>
                </a:lnTo>
                <a:lnTo>
                  <a:pt x="609" y="188"/>
                </a:lnTo>
                <a:lnTo>
                  <a:pt x="620" y="208"/>
                </a:lnTo>
                <a:lnTo>
                  <a:pt x="631" y="230"/>
                </a:lnTo>
                <a:lnTo>
                  <a:pt x="641" y="251"/>
                </a:lnTo>
                <a:lnTo>
                  <a:pt x="650" y="273"/>
                </a:lnTo>
                <a:lnTo>
                  <a:pt x="659" y="297"/>
                </a:lnTo>
                <a:lnTo>
                  <a:pt x="666" y="323"/>
                </a:lnTo>
                <a:lnTo>
                  <a:pt x="673" y="349"/>
                </a:lnTo>
                <a:lnTo>
                  <a:pt x="680" y="375"/>
                </a:lnTo>
                <a:lnTo>
                  <a:pt x="685" y="401"/>
                </a:lnTo>
                <a:lnTo>
                  <a:pt x="690" y="429"/>
                </a:lnTo>
                <a:lnTo>
                  <a:pt x="694" y="459"/>
                </a:lnTo>
                <a:lnTo>
                  <a:pt x="697" y="487"/>
                </a:lnTo>
                <a:lnTo>
                  <a:pt x="699" y="517"/>
                </a:lnTo>
                <a:lnTo>
                  <a:pt x="701" y="547"/>
                </a:lnTo>
                <a:lnTo>
                  <a:pt x="702" y="579"/>
                </a:lnTo>
                <a:lnTo>
                  <a:pt x="703" y="611"/>
                </a:lnTo>
                <a:lnTo>
                  <a:pt x="702" y="661"/>
                </a:lnTo>
                <a:lnTo>
                  <a:pt x="701" y="687"/>
                </a:lnTo>
                <a:lnTo>
                  <a:pt x="699" y="711"/>
                </a:lnTo>
                <a:lnTo>
                  <a:pt x="697" y="735"/>
                </a:lnTo>
                <a:lnTo>
                  <a:pt x="695" y="758"/>
                </a:lnTo>
                <a:lnTo>
                  <a:pt x="692" y="782"/>
                </a:lnTo>
                <a:lnTo>
                  <a:pt x="689" y="806"/>
                </a:lnTo>
                <a:lnTo>
                  <a:pt x="685" y="830"/>
                </a:lnTo>
                <a:lnTo>
                  <a:pt x="681" y="852"/>
                </a:lnTo>
                <a:lnTo>
                  <a:pt x="677" y="874"/>
                </a:lnTo>
                <a:lnTo>
                  <a:pt x="672" y="896"/>
                </a:lnTo>
                <a:lnTo>
                  <a:pt x="666" y="916"/>
                </a:lnTo>
                <a:lnTo>
                  <a:pt x="661" y="938"/>
                </a:lnTo>
                <a:lnTo>
                  <a:pt x="655" y="958"/>
                </a:lnTo>
                <a:lnTo>
                  <a:pt x="648" y="976"/>
                </a:lnTo>
                <a:lnTo>
                  <a:pt x="641" y="996"/>
                </a:lnTo>
                <a:lnTo>
                  <a:pt x="634" y="1014"/>
                </a:lnTo>
                <a:lnTo>
                  <a:pt x="626" y="1030"/>
                </a:lnTo>
                <a:lnTo>
                  <a:pt x="618" y="1048"/>
                </a:lnTo>
                <a:lnTo>
                  <a:pt x="609" y="1064"/>
                </a:lnTo>
                <a:lnTo>
                  <a:pt x="600" y="1080"/>
                </a:lnTo>
                <a:lnTo>
                  <a:pt x="591" y="1094"/>
                </a:lnTo>
                <a:lnTo>
                  <a:pt x="581" y="1108"/>
                </a:lnTo>
                <a:lnTo>
                  <a:pt x="571" y="1120"/>
                </a:lnTo>
                <a:lnTo>
                  <a:pt x="559" y="1132"/>
                </a:lnTo>
                <a:lnTo>
                  <a:pt x="548" y="1144"/>
                </a:lnTo>
                <a:lnTo>
                  <a:pt x="537" y="1154"/>
                </a:lnTo>
                <a:lnTo>
                  <a:pt x="525" y="1164"/>
                </a:lnTo>
                <a:lnTo>
                  <a:pt x="513" y="1172"/>
                </a:lnTo>
                <a:lnTo>
                  <a:pt x="500" y="1180"/>
                </a:lnTo>
                <a:lnTo>
                  <a:pt x="487" y="1186"/>
                </a:lnTo>
                <a:close/>
                <a:moveTo>
                  <a:pt x="239" y="391"/>
                </a:moveTo>
                <a:lnTo>
                  <a:pt x="239" y="880"/>
                </a:lnTo>
                <a:lnTo>
                  <a:pt x="337" y="880"/>
                </a:lnTo>
                <a:lnTo>
                  <a:pt x="347" y="880"/>
                </a:lnTo>
                <a:lnTo>
                  <a:pt x="357" y="880"/>
                </a:lnTo>
                <a:lnTo>
                  <a:pt x="367" y="878"/>
                </a:lnTo>
                <a:lnTo>
                  <a:pt x="376" y="874"/>
                </a:lnTo>
                <a:lnTo>
                  <a:pt x="384" y="872"/>
                </a:lnTo>
                <a:lnTo>
                  <a:pt x="392" y="868"/>
                </a:lnTo>
                <a:lnTo>
                  <a:pt x="400" y="862"/>
                </a:lnTo>
                <a:lnTo>
                  <a:pt x="407" y="858"/>
                </a:lnTo>
                <a:lnTo>
                  <a:pt x="413" y="852"/>
                </a:lnTo>
                <a:lnTo>
                  <a:pt x="419" y="844"/>
                </a:lnTo>
                <a:lnTo>
                  <a:pt x="425" y="838"/>
                </a:lnTo>
                <a:lnTo>
                  <a:pt x="430" y="830"/>
                </a:lnTo>
                <a:lnTo>
                  <a:pt x="435" y="822"/>
                </a:lnTo>
                <a:lnTo>
                  <a:pt x="440" y="814"/>
                </a:lnTo>
                <a:lnTo>
                  <a:pt x="444" y="806"/>
                </a:lnTo>
                <a:lnTo>
                  <a:pt x="448" y="796"/>
                </a:lnTo>
                <a:lnTo>
                  <a:pt x="451" y="788"/>
                </a:lnTo>
                <a:lnTo>
                  <a:pt x="454" y="778"/>
                </a:lnTo>
                <a:lnTo>
                  <a:pt x="457" y="768"/>
                </a:lnTo>
                <a:lnTo>
                  <a:pt x="460" y="758"/>
                </a:lnTo>
                <a:lnTo>
                  <a:pt x="464" y="738"/>
                </a:lnTo>
                <a:lnTo>
                  <a:pt x="467" y="717"/>
                </a:lnTo>
                <a:lnTo>
                  <a:pt x="470" y="697"/>
                </a:lnTo>
                <a:lnTo>
                  <a:pt x="471" y="675"/>
                </a:lnTo>
                <a:lnTo>
                  <a:pt x="472" y="655"/>
                </a:lnTo>
                <a:lnTo>
                  <a:pt x="472" y="635"/>
                </a:lnTo>
                <a:lnTo>
                  <a:pt x="472" y="615"/>
                </a:lnTo>
                <a:lnTo>
                  <a:pt x="470" y="593"/>
                </a:lnTo>
                <a:lnTo>
                  <a:pt x="468" y="573"/>
                </a:lnTo>
                <a:lnTo>
                  <a:pt x="464" y="551"/>
                </a:lnTo>
                <a:lnTo>
                  <a:pt x="462" y="541"/>
                </a:lnTo>
                <a:lnTo>
                  <a:pt x="459" y="531"/>
                </a:lnTo>
                <a:lnTo>
                  <a:pt x="457" y="521"/>
                </a:lnTo>
                <a:lnTo>
                  <a:pt x="454" y="511"/>
                </a:lnTo>
                <a:lnTo>
                  <a:pt x="447" y="491"/>
                </a:lnTo>
                <a:lnTo>
                  <a:pt x="443" y="483"/>
                </a:lnTo>
                <a:lnTo>
                  <a:pt x="439" y="473"/>
                </a:lnTo>
                <a:lnTo>
                  <a:pt x="435" y="465"/>
                </a:lnTo>
                <a:lnTo>
                  <a:pt x="430" y="457"/>
                </a:lnTo>
                <a:lnTo>
                  <a:pt x="420" y="441"/>
                </a:lnTo>
                <a:lnTo>
                  <a:pt x="414" y="433"/>
                </a:lnTo>
                <a:lnTo>
                  <a:pt x="408" y="427"/>
                </a:lnTo>
                <a:lnTo>
                  <a:pt x="402" y="421"/>
                </a:lnTo>
                <a:lnTo>
                  <a:pt x="396" y="415"/>
                </a:lnTo>
                <a:lnTo>
                  <a:pt x="389" y="409"/>
                </a:lnTo>
                <a:lnTo>
                  <a:pt x="382" y="405"/>
                </a:lnTo>
                <a:lnTo>
                  <a:pt x="375" y="401"/>
                </a:lnTo>
                <a:lnTo>
                  <a:pt x="367" y="397"/>
                </a:lnTo>
                <a:lnTo>
                  <a:pt x="359" y="395"/>
                </a:lnTo>
                <a:lnTo>
                  <a:pt x="351" y="393"/>
                </a:lnTo>
                <a:lnTo>
                  <a:pt x="333" y="391"/>
                </a:lnTo>
                <a:lnTo>
                  <a:pt x="239" y="391"/>
                </a:lnTo>
                <a:close/>
                <a:moveTo>
                  <a:pt x="1780" y="395"/>
                </a:moveTo>
                <a:lnTo>
                  <a:pt x="1776" y="403"/>
                </a:lnTo>
                <a:lnTo>
                  <a:pt x="1772" y="411"/>
                </a:lnTo>
                <a:lnTo>
                  <a:pt x="1763" y="423"/>
                </a:lnTo>
                <a:lnTo>
                  <a:pt x="1754" y="433"/>
                </a:lnTo>
                <a:lnTo>
                  <a:pt x="1743" y="443"/>
                </a:lnTo>
                <a:lnTo>
                  <a:pt x="1814" y="788"/>
                </a:lnTo>
                <a:lnTo>
                  <a:pt x="1742" y="788"/>
                </a:lnTo>
                <a:lnTo>
                  <a:pt x="1683" y="465"/>
                </a:lnTo>
                <a:lnTo>
                  <a:pt x="1607" y="465"/>
                </a:lnTo>
                <a:lnTo>
                  <a:pt x="1607" y="788"/>
                </a:lnTo>
                <a:lnTo>
                  <a:pt x="1543" y="788"/>
                </a:lnTo>
                <a:lnTo>
                  <a:pt x="1543" y="18"/>
                </a:lnTo>
                <a:lnTo>
                  <a:pt x="1681" y="18"/>
                </a:lnTo>
                <a:lnTo>
                  <a:pt x="1696" y="18"/>
                </a:lnTo>
                <a:lnTo>
                  <a:pt x="1703" y="20"/>
                </a:lnTo>
                <a:lnTo>
                  <a:pt x="1710" y="22"/>
                </a:lnTo>
                <a:lnTo>
                  <a:pt x="1722" y="26"/>
                </a:lnTo>
                <a:lnTo>
                  <a:pt x="1734" y="32"/>
                </a:lnTo>
                <a:lnTo>
                  <a:pt x="1745" y="40"/>
                </a:lnTo>
                <a:lnTo>
                  <a:pt x="1755" y="50"/>
                </a:lnTo>
                <a:lnTo>
                  <a:pt x="1765" y="62"/>
                </a:lnTo>
                <a:lnTo>
                  <a:pt x="1769" y="68"/>
                </a:lnTo>
                <a:lnTo>
                  <a:pt x="1773" y="76"/>
                </a:lnTo>
                <a:lnTo>
                  <a:pt x="1781" y="92"/>
                </a:lnTo>
                <a:lnTo>
                  <a:pt x="1788" y="108"/>
                </a:lnTo>
                <a:lnTo>
                  <a:pt x="1791" y="118"/>
                </a:lnTo>
                <a:lnTo>
                  <a:pt x="1794" y="126"/>
                </a:lnTo>
                <a:lnTo>
                  <a:pt x="1799" y="146"/>
                </a:lnTo>
                <a:lnTo>
                  <a:pt x="1803" y="168"/>
                </a:lnTo>
                <a:lnTo>
                  <a:pt x="1805" y="178"/>
                </a:lnTo>
                <a:lnTo>
                  <a:pt x="1806" y="190"/>
                </a:lnTo>
                <a:lnTo>
                  <a:pt x="1807" y="200"/>
                </a:lnTo>
                <a:lnTo>
                  <a:pt x="1808" y="212"/>
                </a:lnTo>
                <a:lnTo>
                  <a:pt x="1808" y="224"/>
                </a:lnTo>
                <a:lnTo>
                  <a:pt x="1808" y="236"/>
                </a:lnTo>
                <a:lnTo>
                  <a:pt x="1808" y="263"/>
                </a:lnTo>
                <a:lnTo>
                  <a:pt x="1807" y="275"/>
                </a:lnTo>
                <a:lnTo>
                  <a:pt x="1806" y="287"/>
                </a:lnTo>
                <a:lnTo>
                  <a:pt x="1805" y="299"/>
                </a:lnTo>
                <a:lnTo>
                  <a:pt x="1804" y="309"/>
                </a:lnTo>
                <a:lnTo>
                  <a:pt x="1801" y="331"/>
                </a:lnTo>
                <a:lnTo>
                  <a:pt x="1797" y="349"/>
                </a:lnTo>
                <a:lnTo>
                  <a:pt x="1792" y="367"/>
                </a:lnTo>
                <a:lnTo>
                  <a:pt x="1786" y="381"/>
                </a:lnTo>
                <a:lnTo>
                  <a:pt x="1780" y="395"/>
                </a:lnTo>
                <a:close/>
                <a:moveTo>
                  <a:pt x="1678" y="122"/>
                </a:moveTo>
                <a:lnTo>
                  <a:pt x="1607" y="122"/>
                </a:lnTo>
                <a:lnTo>
                  <a:pt x="1607" y="365"/>
                </a:lnTo>
                <a:lnTo>
                  <a:pt x="1678" y="365"/>
                </a:lnTo>
                <a:lnTo>
                  <a:pt x="1686" y="363"/>
                </a:lnTo>
                <a:lnTo>
                  <a:pt x="1694" y="361"/>
                </a:lnTo>
                <a:lnTo>
                  <a:pt x="1700" y="359"/>
                </a:lnTo>
                <a:lnTo>
                  <a:pt x="1707" y="355"/>
                </a:lnTo>
                <a:lnTo>
                  <a:pt x="1712" y="351"/>
                </a:lnTo>
                <a:lnTo>
                  <a:pt x="1717" y="345"/>
                </a:lnTo>
                <a:lnTo>
                  <a:pt x="1722" y="339"/>
                </a:lnTo>
                <a:lnTo>
                  <a:pt x="1726" y="331"/>
                </a:lnTo>
                <a:lnTo>
                  <a:pt x="1730" y="323"/>
                </a:lnTo>
                <a:lnTo>
                  <a:pt x="1733" y="313"/>
                </a:lnTo>
                <a:lnTo>
                  <a:pt x="1736" y="303"/>
                </a:lnTo>
                <a:lnTo>
                  <a:pt x="1738" y="293"/>
                </a:lnTo>
                <a:lnTo>
                  <a:pt x="1740" y="281"/>
                </a:lnTo>
                <a:lnTo>
                  <a:pt x="1741" y="269"/>
                </a:lnTo>
                <a:lnTo>
                  <a:pt x="1742" y="257"/>
                </a:lnTo>
                <a:lnTo>
                  <a:pt x="1742" y="244"/>
                </a:lnTo>
                <a:lnTo>
                  <a:pt x="1742" y="230"/>
                </a:lnTo>
                <a:lnTo>
                  <a:pt x="1742" y="218"/>
                </a:lnTo>
                <a:lnTo>
                  <a:pt x="1740" y="206"/>
                </a:lnTo>
                <a:lnTo>
                  <a:pt x="1739" y="194"/>
                </a:lnTo>
                <a:lnTo>
                  <a:pt x="1737" y="184"/>
                </a:lnTo>
                <a:lnTo>
                  <a:pt x="1734" y="174"/>
                </a:lnTo>
                <a:lnTo>
                  <a:pt x="1731" y="164"/>
                </a:lnTo>
                <a:lnTo>
                  <a:pt x="1728" y="156"/>
                </a:lnTo>
                <a:lnTo>
                  <a:pt x="1723" y="148"/>
                </a:lnTo>
                <a:lnTo>
                  <a:pt x="1719" y="142"/>
                </a:lnTo>
                <a:lnTo>
                  <a:pt x="1713" y="136"/>
                </a:lnTo>
                <a:lnTo>
                  <a:pt x="1708" y="132"/>
                </a:lnTo>
                <a:lnTo>
                  <a:pt x="1701" y="128"/>
                </a:lnTo>
                <a:lnTo>
                  <a:pt x="1694" y="124"/>
                </a:lnTo>
                <a:lnTo>
                  <a:pt x="1686" y="122"/>
                </a:lnTo>
                <a:lnTo>
                  <a:pt x="1678" y="122"/>
                </a:lnTo>
                <a:close/>
                <a:moveTo>
                  <a:pt x="2090" y="788"/>
                </a:moveTo>
                <a:lnTo>
                  <a:pt x="2069" y="635"/>
                </a:lnTo>
                <a:lnTo>
                  <a:pt x="1942" y="635"/>
                </a:lnTo>
                <a:lnTo>
                  <a:pt x="1921" y="788"/>
                </a:lnTo>
                <a:lnTo>
                  <a:pt x="1854" y="788"/>
                </a:lnTo>
                <a:lnTo>
                  <a:pt x="1975" y="18"/>
                </a:lnTo>
                <a:lnTo>
                  <a:pt x="2037" y="18"/>
                </a:lnTo>
                <a:lnTo>
                  <a:pt x="2160" y="788"/>
                </a:lnTo>
                <a:lnTo>
                  <a:pt x="2090" y="788"/>
                </a:lnTo>
                <a:close/>
                <a:moveTo>
                  <a:pt x="2026" y="323"/>
                </a:moveTo>
                <a:lnTo>
                  <a:pt x="2015" y="250"/>
                </a:lnTo>
                <a:lnTo>
                  <a:pt x="2010" y="210"/>
                </a:lnTo>
                <a:lnTo>
                  <a:pt x="2006" y="170"/>
                </a:lnTo>
                <a:lnTo>
                  <a:pt x="2001" y="210"/>
                </a:lnTo>
                <a:lnTo>
                  <a:pt x="1996" y="250"/>
                </a:lnTo>
                <a:lnTo>
                  <a:pt x="1986" y="325"/>
                </a:lnTo>
                <a:lnTo>
                  <a:pt x="1957" y="529"/>
                </a:lnTo>
                <a:lnTo>
                  <a:pt x="2053" y="529"/>
                </a:lnTo>
                <a:lnTo>
                  <a:pt x="2026" y="323"/>
                </a:lnTo>
                <a:close/>
                <a:moveTo>
                  <a:pt x="2419" y="788"/>
                </a:moveTo>
                <a:lnTo>
                  <a:pt x="2323" y="431"/>
                </a:lnTo>
                <a:lnTo>
                  <a:pt x="2285" y="527"/>
                </a:lnTo>
                <a:lnTo>
                  <a:pt x="2285" y="788"/>
                </a:lnTo>
                <a:lnTo>
                  <a:pt x="2220" y="788"/>
                </a:lnTo>
                <a:lnTo>
                  <a:pt x="2220" y="18"/>
                </a:lnTo>
                <a:lnTo>
                  <a:pt x="2285" y="18"/>
                </a:lnTo>
                <a:lnTo>
                  <a:pt x="2285" y="347"/>
                </a:lnTo>
                <a:lnTo>
                  <a:pt x="2410" y="18"/>
                </a:lnTo>
                <a:lnTo>
                  <a:pt x="2492" y="18"/>
                </a:lnTo>
                <a:lnTo>
                  <a:pt x="2363" y="333"/>
                </a:lnTo>
                <a:lnTo>
                  <a:pt x="2498" y="788"/>
                </a:lnTo>
                <a:lnTo>
                  <a:pt x="2419" y="788"/>
                </a:lnTo>
                <a:close/>
                <a:moveTo>
                  <a:pt x="2558" y="788"/>
                </a:moveTo>
                <a:lnTo>
                  <a:pt x="2558" y="18"/>
                </a:lnTo>
                <a:lnTo>
                  <a:pt x="2786" y="18"/>
                </a:lnTo>
                <a:lnTo>
                  <a:pt x="2786" y="126"/>
                </a:lnTo>
                <a:lnTo>
                  <a:pt x="2623" y="126"/>
                </a:lnTo>
                <a:lnTo>
                  <a:pt x="2623" y="341"/>
                </a:lnTo>
                <a:lnTo>
                  <a:pt x="2756" y="341"/>
                </a:lnTo>
                <a:lnTo>
                  <a:pt x="2756" y="445"/>
                </a:lnTo>
                <a:lnTo>
                  <a:pt x="2623" y="445"/>
                </a:lnTo>
                <a:lnTo>
                  <a:pt x="2623" y="683"/>
                </a:lnTo>
                <a:lnTo>
                  <a:pt x="2786" y="683"/>
                </a:lnTo>
                <a:lnTo>
                  <a:pt x="2786" y="788"/>
                </a:lnTo>
                <a:lnTo>
                  <a:pt x="2558" y="788"/>
                </a:lnTo>
                <a:close/>
                <a:moveTo>
                  <a:pt x="2939" y="18"/>
                </a:moveTo>
                <a:lnTo>
                  <a:pt x="3030" y="439"/>
                </a:lnTo>
                <a:lnTo>
                  <a:pt x="3038" y="477"/>
                </a:lnTo>
                <a:lnTo>
                  <a:pt x="3042" y="495"/>
                </a:lnTo>
                <a:lnTo>
                  <a:pt x="3046" y="515"/>
                </a:lnTo>
                <a:lnTo>
                  <a:pt x="3053" y="553"/>
                </a:lnTo>
                <a:lnTo>
                  <a:pt x="3060" y="595"/>
                </a:lnTo>
                <a:lnTo>
                  <a:pt x="3060" y="509"/>
                </a:lnTo>
                <a:lnTo>
                  <a:pt x="3059" y="421"/>
                </a:lnTo>
                <a:lnTo>
                  <a:pt x="3059" y="18"/>
                </a:lnTo>
                <a:lnTo>
                  <a:pt x="3124" y="18"/>
                </a:lnTo>
                <a:lnTo>
                  <a:pt x="3124" y="788"/>
                </a:lnTo>
                <a:lnTo>
                  <a:pt x="3046" y="788"/>
                </a:lnTo>
                <a:lnTo>
                  <a:pt x="2954" y="369"/>
                </a:lnTo>
                <a:lnTo>
                  <a:pt x="2946" y="331"/>
                </a:lnTo>
                <a:lnTo>
                  <a:pt x="2938" y="293"/>
                </a:lnTo>
                <a:lnTo>
                  <a:pt x="2931" y="255"/>
                </a:lnTo>
                <a:lnTo>
                  <a:pt x="2923" y="214"/>
                </a:lnTo>
                <a:lnTo>
                  <a:pt x="2924" y="389"/>
                </a:lnTo>
                <a:lnTo>
                  <a:pt x="2924" y="790"/>
                </a:lnTo>
                <a:lnTo>
                  <a:pt x="2859" y="790"/>
                </a:lnTo>
                <a:lnTo>
                  <a:pt x="2859" y="18"/>
                </a:lnTo>
                <a:lnTo>
                  <a:pt x="2939" y="18"/>
                </a:lnTo>
                <a:close/>
                <a:moveTo>
                  <a:pt x="3306" y="18"/>
                </a:moveTo>
                <a:lnTo>
                  <a:pt x="3396" y="425"/>
                </a:lnTo>
                <a:lnTo>
                  <a:pt x="3404" y="463"/>
                </a:lnTo>
                <a:lnTo>
                  <a:pt x="3408" y="481"/>
                </a:lnTo>
                <a:lnTo>
                  <a:pt x="3412" y="501"/>
                </a:lnTo>
                <a:lnTo>
                  <a:pt x="3419" y="539"/>
                </a:lnTo>
                <a:lnTo>
                  <a:pt x="3426" y="581"/>
                </a:lnTo>
                <a:lnTo>
                  <a:pt x="3426" y="495"/>
                </a:lnTo>
                <a:lnTo>
                  <a:pt x="3426" y="407"/>
                </a:lnTo>
                <a:lnTo>
                  <a:pt x="3426" y="18"/>
                </a:lnTo>
                <a:lnTo>
                  <a:pt x="3491" y="18"/>
                </a:lnTo>
                <a:lnTo>
                  <a:pt x="3491" y="788"/>
                </a:lnTo>
                <a:lnTo>
                  <a:pt x="3412" y="788"/>
                </a:lnTo>
                <a:lnTo>
                  <a:pt x="3320" y="383"/>
                </a:lnTo>
                <a:lnTo>
                  <a:pt x="3312" y="345"/>
                </a:lnTo>
                <a:lnTo>
                  <a:pt x="3305" y="307"/>
                </a:lnTo>
                <a:lnTo>
                  <a:pt x="3297" y="269"/>
                </a:lnTo>
                <a:lnTo>
                  <a:pt x="3290" y="228"/>
                </a:lnTo>
                <a:lnTo>
                  <a:pt x="3290" y="403"/>
                </a:lnTo>
                <a:lnTo>
                  <a:pt x="3290" y="788"/>
                </a:lnTo>
                <a:lnTo>
                  <a:pt x="3226" y="788"/>
                </a:lnTo>
                <a:lnTo>
                  <a:pt x="3226" y="18"/>
                </a:lnTo>
                <a:lnTo>
                  <a:pt x="3306" y="18"/>
                </a:lnTo>
                <a:close/>
                <a:moveTo>
                  <a:pt x="3618" y="735"/>
                </a:moveTo>
                <a:lnTo>
                  <a:pt x="3611" y="719"/>
                </a:lnTo>
                <a:lnTo>
                  <a:pt x="3605" y="701"/>
                </a:lnTo>
                <a:lnTo>
                  <a:pt x="3599" y="681"/>
                </a:lnTo>
                <a:lnTo>
                  <a:pt x="3597" y="669"/>
                </a:lnTo>
                <a:lnTo>
                  <a:pt x="3595" y="659"/>
                </a:lnTo>
                <a:lnTo>
                  <a:pt x="3591" y="635"/>
                </a:lnTo>
                <a:lnTo>
                  <a:pt x="3589" y="609"/>
                </a:lnTo>
                <a:lnTo>
                  <a:pt x="3588" y="595"/>
                </a:lnTo>
                <a:lnTo>
                  <a:pt x="3587" y="581"/>
                </a:lnTo>
                <a:lnTo>
                  <a:pt x="3587" y="549"/>
                </a:lnTo>
                <a:lnTo>
                  <a:pt x="3587" y="18"/>
                </a:lnTo>
                <a:lnTo>
                  <a:pt x="3652" y="18"/>
                </a:lnTo>
                <a:lnTo>
                  <a:pt x="3652" y="543"/>
                </a:lnTo>
                <a:lnTo>
                  <a:pt x="3652" y="563"/>
                </a:lnTo>
                <a:lnTo>
                  <a:pt x="3652" y="581"/>
                </a:lnTo>
                <a:lnTo>
                  <a:pt x="3653" y="597"/>
                </a:lnTo>
                <a:lnTo>
                  <a:pt x="3655" y="611"/>
                </a:lnTo>
                <a:lnTo>
                  <a:pt x="3657" y="625"/>
                </a:lnTo>
                <a:lnTo>
                  <a:pt x="3659" y="637"/>
                </a:lnTo>
                <a:lnTo>
                  <a:pt x="3662" y="649"/>
                </a:lnTo>
                <a:lnTo>
                  <a:pt x="3665" y="659"/>
                </a:lnTo>
                <a:lnTo>
                  <a:pt x="3669" y="667"/>
                </a:lnTo>
                <a:lnTo>
                  <a:pt x="3674" y="675"/>
                </a:lnTo>
                <a:lnTo>
                  <a:pt x="3679" y="683"/>
                </a:lnTo>
                <a:lnTo>
                  <a:pt x="3685" y="689"/>
                </a:lnTo>
                <a:lnTo>
                  <a:pt x="3688" y="691"/>
                </a:lnTo>
                <a:lnTo>
                  <a:pt x="3692" y="693"/>
                </a:lnTo>
                <a:lnTo>
                  <a:pt x="3699" y="697"/>
                </a:lnTo>
                <a:lnTo>
                  <a:pt x="3706" y="699"/>
                </a:lnTo>
                <a:lnTo>
                  <a:pt x="3715" y="699"/>
                </a:lnTo>
                <a:lnTo>
                  <a:pt x="3723" y="699"/>
                </a:lnTo>
                <a:lnTo>
                  <a:pt x="3731" y="697"/>
                </a:lnTo>
                <a:lnTo>
                  <a:pt x="3738" y="693"/>
                </a:lnTo>
                <a:lnTo>
                  <a:pt x="3744" y="689"/>
                </a:lnTo>
                <a:lnTo>
                  <a:pt x="3750" y="683"/>
                </a:lnTo>
                <a:lnTo>
                  <a:pt x="3755" y="675"/>
                </a:lnTo>
                <a:lnTo>
                  <a:pt x="3760" y="667"/>
                </a:lnTo>
                <a:lnTo>
                  <a:pt x="3764" y="659"/>
                </a:lnTo>
                <a:lnTo>
                  <a:pt x="3768" y="649"/>
                </a:lnTo>
                <a:lnTo>
                  <a:pt x="3770" y="637"/>
                </a:lnTo>
                <a:lnTo>
                  <a:pt x="3773" y="625"/>
                </a:lnTo>
                <a:lnTo>
                  <a:pt x="3775" y="613"/>
                </a:lnTo>
                <a:lnTo>
                  <a:pt x="3776" y="597"/>
                </a:lnTo>
                <a:lnTo>
                  <a:pt x="3777" y="581"/>
                </a:lnTo>
                <a:lnTo>
                  <a:pt x="3778" y="563"/>
                </a:lnTo>
                <a:lnTo>
                  <a:pt x="3778" y="543"/>
                </a:lnTo>
                <a:lnTo>
                  <a:pt x="3778" y="18"/>
                </a:lnTo>
                <a:lnTo>
                  <a:pt x="3843" y="18"/>
                </a:lnTo>
                <a:lnTo>
                  <a:pt x="3843" y="549"/>
                </a:lnTo>
                <a:lnTo>
                  <a:pt x="3843" y="581"/>
                </a:lnTo>
                <a:lnTo>
                  <a:pt x="3842" y="595"/>
                </a:lnTo>
                <a:lnTo>
                  <a:pt x="3841" y="609"/>
                </a:lnTo>
                <a:lnTo>
                  <a:pt x="3838" y="635"/>
                </a:lnTo>
                <a:lnTo>
                  <a:pt x="3835" y="659"/>
                </a:lnTo>
                <a:lnTo>
                  <a:pt x="3833" y="669"/>
                </a:lnTo>
                <a:lnTo>
                  <a:pt x="3830" y="681"/>
                </a:lnTo>
                <a:lnTo>
                  <a:pt x="3825" y="701"/>
                </a:lnTo>
                <a:lnTo>
                  <a:pt x="3822" y="709"/>
                </a:lnTo>
                <a:lnTo>
                  <a:pt x="3819" y="719"/>
                </a:lnTo>
                <a:lnTo>
                  <a:pt x="3815" y="727"/>
                </a:lnTo>
                <a:lnTo>
                  <a:pt x="3812" y="735"/>
                </a:lnTo>
                <a:lnTo>
                  <a:pt x="3807" y="744"/>
                </a:lnTo>
                <a:lnTo>
                  <a:pt x="3802" y="752"/>
                </a:lnTo>
                <a:lnTo>
                  <a:pt x="3792" y="766"/>
                </a:lnTo>
                <a:lnTo>
                  <a:pt x="3781" y="778"/>
                </a:lnTo>
                <a:lnTo>
                  <a:pt x="3775" y="784"/>
                </a:lnTo>
                <a:lnTo>
                  <a:pt x="3769" y="788"/>
                </a:lnTo>
                <a:lnTo>
                  <a:pt x="3757" y="796"/>
                </a:lnTo>
                <a:lnTo>
                  <a:pt x="3750" y="800"/>
                </a:lnTo>
                <a:lnTo>
                  <a:pt x="3743" y="802"/>
                </a:lnTo>
                <a:lnTo>
                  <a:pt x="3729" y="806"/>
                </a:lnTo>
                <a:lnTo>
                  <a:pt x="3722" y="806"/>
                </a:lnTo>
                <a:lnTo>
                  <a:pt x="3715" y="806"/>
                </a:lnTo>
                <a:lnTo>
                  <a:pt x="3700" y="806"/>
                </a:lnTo>
                <a:lnTo>
                  <a:pt x="3686" y="802"/>
                </a:lnTo>
                <a:lnTo>
                  <a:pt x="3679" y="800"/>
                </a:lnTo>
                <a:lnTo>
                  <a:pt x="3673" y="796"/>
                </a:lnTo>
                <a:lnTo>
                  <a:pt x="3660" y="788"/>
                </a:lnTo>
                <a:lnTo>
                  <a:pt x="3648" y="778"/>
                </a:lnTo>
                <a:lnTo>
                  <a:pt x="3637" y="766"/>
                </a:lnTo>
                <a:lnTo>
                  <a:pt x="3627" y="750"/>
                </a:lnTo>
                <a:lnTo>
                  <a:pt x="3623" y="742"/>
                </a:lnTo>
                <a:lnTo>
                  <a:pt x="3618" y="735"/>
                </a:lnTo>
                <a:close/>
                <a:moveTo>
                  <a:pt x="4052" y="806"/>
                </a:moveTo>
                <a:lnTo>
                  <a:pt x="4036" y="806"/>
                </a:lnTo>
                <a:lnTo>
                  <a:pt x="4020" y="802"/>
                </a:lnTo>
                <a:lnTo>
                  <a:pt x="4006" y="796"/>
                </a:lnTo>
                <a:lnTo>
                  <a:pt x="4000" y="792"/>
                </a:lnTo>
                <a:lnTo>
                  <a:pt x="3993" y="788"/>
                </a:lnTo>
                <a:lnTo>
                  <a:pt x="3981" y="780"/>
                </a:lnTo>
                <a:lnTo>
                  <a:pt x="3975" y="774"/>
                </a:lnTo>
                <a:lnTo>
                  <a:pt x="3970" y="768"/>
                </a:lnTo>
                <a:lnTo>
                  <a:pt x="3960" y="756"/>
                </a:lnTo>
                <a:lnTo>
                  <a:pt x="3956" y="748"/>
                </a:lnTo>
                <a:lnTo>
                  <a:pt x="3951" y="740"/>
                </a:lnTo>
                <a:lnTo>
                  <a:pt x="3947" y="733"/>
                </a:lnTo>
                <a:lnTo>
                  <a:pt x="3943" y="725"/>
                </a:lnTo>
                <a:lnTo>
                  <a:pt x="3939" y="717"/>
                </a:lnTo>
                <a:lnTo>
                  <a:pt x="3936" y="707"/>
                </a:lnTo>
                <a:lnTo>
                  <a:pt x="3930" y="687"/>
                </a:lnTo>
                <a:lnTo>
                  <a:pt x="3926" y="667"/>
                </a:lnTo>
                <a:lnTo>
                  <a:pt x="3924" y="657"/>
                </a:lnTo>
                <a:lnTo>
                  <a:pt x="3922" y="645"/>
                </a:lnTo>
                <a:lnTo>
                  <a:pt x="3919" y="623"/>
                </a:lnTo>
                <a:lnTo>
                  <a:pt x="3918" y="599"/>
                </a:lnTo>
                <a:lnTo>
                  <a:pt x="3917" y="585"/>
                </a:lnTo>
                <a:lnTo>
                  <a:pt x="3917" y="573"/>
                </a:lnTo>
                <a:lnTo>
                  <a:pt x="3980" y="545"/>
                </a:lnTo>
                <a:lnTo>
                  <a:pt x="3981" y="567"/>
                </a:lnTo>
                <a:lnTo>
                  <a:pt x="3982" y="587"/>
                </a:lnTo>
                <a:lnTo>
                  <a:pt x="3984" y="603"/>
                </a:lnTo>
                <a:lnTo>
                  <a:pt x="3986" y="619"/>
                </a:lnTo>
                <a:lnTo>
                  <a:pt x="3988" y="627"/>
                </a:lnTo>
                <a:lnTo>
                  <a:pt x="3989" y="635"/>
                </a:lnTo>
                <a:lnTo>
                  <a:pt x="3993" y="647"/>
                </a:lnTo>
                <a:lnTo>
                  <a:pt x="3997" y="659"/>
                </a:lnTo>
                <a:lnTo>
                  <a:pt x="4001" y="667"/>
                </a:lnTo>
                <a:lnTo>
                  <a:pt x="4006" y="677"/>
                </a:lnTo>
                <a:lnTo>
                  <a:pt x="4012" y="683"/>
                </a:lnTo>
                <a:lnTo>
                  <a:pt x="4018" y="689"/>
                </a:lnTo>
                <a:lnTo>
                  <a:pt x="4025" y="693"/>
                </a:lnTo>
                <a:lnTo>
                  <a:pt x="4032" y="697"/>
                </a:lnTo>
                <a:lnTo>
                  <a:pt x="4039" y="699"/>
                </a:lnTo>
                <a:lnTo>
                  <a:pt x="4047" y="701"/>
                </a:lnTo>
                <a:lnTo>
                  <a:pt x="4056" y="701"/>
                </a:lnTo>
                <a:lnTo>
                  <a:pt x="4063" y="701"/>
                </a:lnTo>
                <a:lnTo>
                  <a:pt x="4070" y="699"/>
                </a:lnTo>
                <a:lnTo>
                  <a:pt x="4077" y="697"/>
                </a:lnTo>
                <a:lnTo>
                  <a:pt x="4083" y="695"/>
                </a:lnTo>
                <a:lnTo>
                  <a:pt x="4089" y="691"/>
                </a:lnTo>
                <a:lnTo>
                  <a:pt x="4095" y="685"/>
                </a:lnTo>
                <a:lnTo>
                  <a:pt x="4100" y="679"/>
                </a:lnTo>
                <a:lnTo>
                  <a:pt x="4105" y="673"/>
                </a:lnTo>
                <a:lnTo>
                  <a:pt x="4109" y="665"/>
                </a:lnTo>
                <a:lnTo>
                  <a:pt x="4113" y="657"/>
                </a:lnTo>
                <a:lnTo>
                  <a:pt x="4116" y="649"/>
                </a:lnTo>
                <a:lnTo>
                  <a:pt x="4119" y="639"/>
                </a:lnTo>
                <a:lnTo>
                  <a:pt x="4121" y="627"/>
                </a:lnTo>
                <a:lnTo>
                  <a:pt x="4122" y="623"/>
                </a:lnTo>
                <a:lnTo>
                  <a:pt x="4123" y="617"/>
                </a:lnTo>
                <a:lnTo>
                  <a:pt x="4124" y="605"/>
                </a:lnTo>
                <a:lnTo>
                  <a:pt x="4124" y="591"/>
                </a:lnTo>
                <a:lnTo>
                  <a:pt x="4124" y="581"/>
                </a:lnTo>
                <a:lnTo>
                  <a:pt x="4123" y="571"/>
                </a:lnTo>
                <a:lnTo>
                  <a:pt x="4122" y="563"/>
                </a:lnTo>
                <a:lnTo>
                  <a:pt x="4121" y="553"/>
                </a:lnTo>
                <a:lnTo>
                  <a:pt x="4119" y="545"/>
                </a:lnTo>
                <a:lnTo>
                  <a:pt x="4117" y="537"/>
                </a:lnTo>
                <a:lnTo>
                  <a:pt x="4115" y="529"/>
                </a:lnTo>
                <a:lnTo>
                  <a:pt x="4112" y="521"/>
                </a:lnTo>
                <a:lnTo>
                  <a:pt x="4104" y="505"/>
                </a:lnTo>
                <a:lnTo>
                  <a:pt x="4100" y="497"/>
                </a:lnTo>
                <a:lnTo>
                  <a:pt x="4095" y="491"/>
                </a:lnTo>
                <a:lnTo>
                  <a:pt x="4084" y="477"/>
                </a:lnTo>
                <a:lnTo>
                  <a:pt x="4071" y="465"/>
                </a:lnTo>
                <a:lnTo>
                  <a:pt x="4007" y="407"/>
                </a:lnTo>
                <a:lnTo>
                  <a:pt x="3998" y="399"/>
                </a:lnTo>
                <a:lnTo>
                  <a:pt x="3988" y="389"/>
                </a:lnTo>
                <a:lnTo>
                  <a:pt x="3972" y="369"/>
                </a:lnTo>
                <a:lnTo>
                  <a:pt x="3958" y="349"/>
                </a:lnTo>
                <a:lnTo>
                  <a:pt x="3953" y="337"/>
                </a:lnTo>
                <a:lnTo>
                  <a:pt x="3947" y="325"/>
                </a:lnTo>
                <a:lnTo>
                  <a:pt x="3942" y="313"/>
                </a:lnTo>
                <a:lnTo>
                  <a:pt x="3937" y="299"/>
                </a:lnTo>
                <a:lnTo>
                  <a:pt x="3934" y="285"/>
                </a:lnTo>
                <a:lnTo>
                  <a:pt x="3931" y="269"/>
                </a:lnTo>
                <a:lnTo>
                  <a:pt x="3929" y="253"/>
                </a:lnTo>
                <a:lnTo>
                  <a:pt x="3928" y="246"/>
                </a:lnTo>
                <a:lnTo>
                  <a:pt x="3927" y="238"/>
                </a:lnTo>
                <a:lnTo>
                  <a:pt x="3927" y="220"/>
                </a:lnTo>
                <a:lnTo>
                  <a:pt x="3926" y="200"/>
                </a:lnTo>
                <a:lnTo>
                  <a:pt x="3926" y="188"/>
                </a:lnTo>
                <a:lnTo>
                  <a:pt x="3927" y="176"/>
                </a:lnTo>
                <a:lnTo>
                  <a:pt x="3928" y="164"/>
                </a:lnTo>
                <a:lnTo>
                  <a:pt x="3929" y="152"/>
                </a:lnTo>
                <a:lnTo>
                  <a:pt x="3930" y="142"/>
                </a:lnTo>
                <a:lnTo>
                  <a:pt x="3932" y="132"/>
                </a:lnTo>
                <a:lnTo>
                  <a:pt x="3936" y="112"/>
                </a:lnTo>
                <a:lnTo>
                  <a:pt x="3939" y="102"/>
                </a:lnTo>
                <a:lnTo>
                  <a:pt x="3942" y="94"/>
                </a:lnTo>
                <a:lnTo>
                  <a:pt x="3949" y="78"/>
                </a:lnTo>
                <a:lnTo>
                  <a:pt x="3957" y="62"/>
                </a:lnTo>
                <a:lnTo>
                  <a:pt x="3961" y="56"/>
                </a:lnTo>
                <a:lnTo>
                  <a:pt x="3965" y="50"/>
                </a:lnTo>
                <a:lnTo>
                  <a:pt x="3974" y="38"/>
                </a:lnTo>
                <a:lnTo>
                  <a:pt x="3984" y="28"/>
                </a:lnTo>
                <a:lnTo>
                  <a:pt x="3994" y="20"/>
                </a:lnTo>
                <a:lnTo>
                  <a:pt x="4005" y="12"/>
                </a:lnTo>
                <a:lnTo>
                  <a:pt x="4017" y="6"/>
                </a:lnTo>
                <a:lnTo>
                  <a:pt x="4029" y="4"/>
                </a:lnTo>
                <a:lnTo>
                  <a:pt x="4042" y="0"/>
                </a:lnTo>
                <a:lnTo>
                  <a:pt x="4055" y="0"/>
                </a:lnTo>
                <a:lnTo>
                  <a:pt x="4070" y="2"/>
                </a:lnTo>
                <a:lnTo>
                  <a:pt x="4085" y="4"/>
                </a:lnTo>
                <a:lnTo>
                  <a:pt x="4098" y="10"/>
                </a:lnTo>
                <a:lnTo>
                  <a:pt x="4104" y="14"/>
                </a:lnTo>
                <a:lnTo>
                  <a:pt x="4110" y="18"/>
                </a:lnTo>
                <a:lnTo>
                  <a:pt x="4122" y="26"/>
                </a:lnTo>
                <a:lnTo>
                  <a:pt x="4132" y="38"/>
                </a:lnTo>
                <a:lnTo>
                  <a:pt x="4141" y="50"/>
                </a:lnTo>
                <a:lnTo>
                  <a:pt x="4149" y="64"/>
                </a:lnTo>
                <a:lnTo>
                  <a:pt x="4153" y="72"/>
                </a:lnTo>
                <a:lnTo>
                  <a:pt x="4156" y="78"/>
                </a:lnTo>
                <a:lnTo>
                  <a:pt x="4159" y="86"/>
                </a:lnTo>
                <a:lnTo>
                  <a:pt x="4162" y="94"/>
                </a:lnTo>
                <a:lnTo>
                  <a:pt x="4167" y="112"/>
                </a:lnTo>
                <a:lnTo>
                  <a:pt x="4172" y="128"/>
                </a:lnTo>
                <a:lnTo>
                  <a:pt x="4175" y="146"/>
                </a:lnTo>
                <a:lnTo>
                  <a:pt x="4177" y="166"/>
                </a:lnTo>
                <a:lnTo>
                  <a:pt x="4179" y="184"/>
                </a:lnTo>
                <a:lnTo>
                  <a:pt x="4179" y="202"/>
                </a:lnTo>
                <a:lnTo>
                  <a:pt x="4117" y="228"/>
                </a:lnTo>
                <a:lnTo>
                  <a:pt x="4117" y="212"/>
                </a:lnTo>
                <a:lnTo>
                  <a:pt x="4115" y="198"/>
                </a:lnTo>
                <a:lnTo>
                  <a:pt x="4114" y="186"/>
                </a:lnTo>
                <a:lnTo>
                  <a:pt x="4112" y="172"/>
                </a:lnTo>
                <a:lnTo>
                  <a:pt x="4109" y="162"/>
                </a:lnTo>
                <a:lnTo>
                  <a:pt x="4106" y="152"/>
                </a:lnTo>
                <a:lnTo>
                  <a:pt x="4103" y="142"/>
                </a:lnTo>
                <a:lnTo>
                  <a:pt x="4099" y="136"/>
                </a:lnTo>
                <a:lnTo>
                  <a:pt x="4095" y="128"/>
                </a:lnTo>
                <a:lnTo>
                  <a:pt x="4090" y="122"/>
                </a:lnTo>
                <a:lnTo>
                  <a:pt x="4085" y="118"/>
                </a:lnTo>
                <a:lnTo>
                  <a:pt x="4079" y="114"/>
                </a:lnTo>
                <a:lnTo>
                  <a:pt x="4073" y="110"/>
                </a:lnTo>
                <a:lnTo>
                  <a:pt x="4067" y="108"/>
                </a:lnTo>
                <a:lnTo>
                  <a:pt x="4060" y="108"/>
                </a:lnTo>
                <a:lnTo>
                  <a:pt x="4052" y="106"/>
                </a:lnTo>
                <a:lnTo>
                  <a:pt x="4040" y="108"/>
                </a:lnTo>
                <a:lnTo>
                  <a:pt x="4028" y="112"/>
                </a:lnTo>
                <a:lnTo>
                  <a:pt x="4023" y="116"/>
                </a:lnTo>
                <a:lnTo>
                  <a:pt x="4018" y="120"/>
                </a:lnTo>
                <a:lnTo>
                  <a:pt x="4013" y="124"/>
                </a:lnTo>
                <a:lnTo>
                  <a:pt x="4009" y="128"/>
                </a:lnTo>
                <a:lnTo>
                  <a:pt x="4005" y="134"/>
                </a:lnTo>
                <a:lnTo>
                  <a:pt x="4002" y="140"/>
                </a:lnTo>
                <a:lnTo>
                  <a:pt x="3999" y="148"/>
                </a:lnTo>
                <a:lnTo>
                  <a:pt x="3996" y="156"/>
                </a:lnTo>
                <a:lnTo>
                  <a:pt x="3994" y="164"/>
                </a:lnTo>
                <a:lnTo>
                  <a:pt x="3993" y="174"/>
                </a:lnTo>
                <a:lnTo>
                  <a:pt x="3992" y="184"/>
                </a:lnTo>
                <a:lnTo>
                  <a:pt x="3992" y="194"/>
                </a:lnTo>
                <a:lnTo>
                  <a:pt x="3992" y="204"/>
                </a:lnTo>
                <a:lnTo>
                  <a:pt x="3992" y="214"/>
                </a:lnTo>
                <a:lnTo>
                  <a:pt x="3993" y="224"/>
                </a:lnTo>
                <a:lnTo>
                  <a:pt x="3994" y="232"/>
                </a:lnTo>
                <a:lnTo>
                  <a:pt x="3996" y="240"/>
                </a:lnTo>
                <a:lnTo>
                  <a:pt x="3998" y="248"/>
                </a:lnTo>
                <a:lnTo>
                  <a:pt x="4001" y="255"/>
                </a:lnTo>
                <a:lnTo>
                  <a:pt x="4003" y="261"/>
                </a:lnTo>
                <a:lnTo>
                  <a:pt x="4007" y="267"/>
                </a:lnTo>
                <a:lnTo>
                  <a:pt x="4010" y="273"/>
                </a:lnTo>
                <a:lnTo>
                  <a:pt x="4019" y="285"/>
                </a:lnTo>
                <a:lnTo>
                  <a:pt x="4029" y="297"/>
                </a:lnTo>
                <a:lnTo>
                  <a:pt x="4041" y="309"/>
                </a:lnTo>
                <a:lnTo>
                  <a:pt x="4103" y="363"/>
                </a:lnTo>
                <a:lnTo>
                  <a:pt x="4113" y="373"/>
                </a:lnTo>
                <a:lnTo>
                  <a:pt x="4123" y="383"/>
                </a:lnTo>
                <a:lnTo>
                  <a:pt x="4133" y="393"/>
                </a:lnTo>
                <a:lnTo>
                  <a:pt x="4141" y="405"/>
                </a:lnTo>
                <a:lnTo>
                  <a:pt x="4149" y="417"/>
                </a:lnTo>
                <a:lnTo>
                  <a:pt x="4156" y="427"/>
                </a:lnTo>
                <a:lnTo>
                  <a:pt x="4162" y="441"/>
                </a:lnTo>
                <a:lnTo>
                  <a:pt x="4168" y="453"/>
                </a:lnTo>
                <a:lnTo>
                  <a:pt x="4173" y="467"/>
                </a:lnTo>
                <a:lnTo>
                  <a:pt x="4177" y="481"/>
                </a:lnTo>
                <a:lnTo>
                  <a:pt x="4181" y="495"/>
                </a:lnTo>
                <a:lnTo>
                  <a:pt x="4184" y="511"/>
                </a:lnTo>
                <a:lnTo>
                  <a:pt x="4186" y="527"/>
                </a:lnTo>
                <a:lnTo>
                  <a:pt x="4187" y="537"/>
                </a:lnTo>
                <a:lnTo>
                  <a:pt x="4187" y="545"/>
                </a:lnTo>
                <a:lnTo>
                  <a:pt x="4188" y="563"/>
                </a:lnTo>
                <a:lnTo>
                  <a:pt x="4189" y="583"/>
                </a:lnTo>
                <a:lnTo>
                  <a:pt x="4188" y="609"/>
                </a:lnTo>
                <a:lnTo>
                  <a:pt x="4186" y="633"/>
                </a:lnTo>
                <a:lnTo>
                  <a:pt x="4185" y="645"/>
                </a:lnTo>
                <a:lnTo>
                  <a:pt x="4183" y="655"/>
                </a:lnTo>
                <a:lnTo>
                  <a:pt x="4181" y="667"/>
                </a:lnTo>
                <a:lnTo>
                  <a:pt x="4179" y="677"/>
                </a:lnTo>
                <a:lnTo>
                  <a:pt x="4177" y="687"/>
                </a:lnTo>
                <a:lnTo>
                  <a:pt x="4174" y="697"/>
                </a:lnTo>
                <a:lnTo>
                  <a:pt x="4167" y="715"/>
                </a:lnTo>
                <a:lnTo>
                  <a:pt x="4164" y="723"/>
                </a:lnTo>
                <a:lnTo>
                  <a:pt x="4160" y="733"/>
                </a:lnTo>
                <a:lnTo>
                  <a:pt x="4152" y="746"/>
                </a:lnTo>
                <a:lnTo>
                  <a:pt x="4147" y="754"/>
                </a:lnTo>
                <a:lnTo>
                  <a:pt x="4142" y="760"/>
                </a:lnTo>
                <a:lnTo>
                  <a:pt x="4137" y="766"/>
                </a:lnTo>
                <a:lnTo>
                  <a:pt x="4132" y="772"/>
                </a:lnTo>
                <a:lnTo>
                  <a:pt x="4121" y="782"/>
                </a:lnTo>
                <a:lnTo>
                  <a:pt x="4109" y="790"/>
                </a:lnTo>
                <a:lnTo>
                  <a:pt x="4096" y="798"/>
                </a:lnTo>
                <a:lnTo>
                  <a:pt x="4082" y="802"/>
                </a:lnTo>
                <a:lnTo>
                  <a:pt x="4075" y="804"/>
                </a:lnTo>
                <a:lnTo>
                  <a:pt x="4068" y="804"/>
                </a:lnTo>
                <a:lnTo>
                  <a:pt x="4052" y="806"/>
                </a:lnTo>
                <a:close/>
                <a:moveTo>
                  <a:pt x="1669" y="1273"/>
                </a:moveTo>
                <a:lnTo>
                  <a:pt x="1669" y="1936"/>
                </a:lnTo>
                <a:lnTo>
                  <a:pt x="1604" y="1936"/>
                </a:lnTo>
                <a:lnTo>
                  <a:pt x="1604" y="1273"/>
                </a:lnTo>
                <a:lnTo>
                  <a:pt x="1506" y="1273"/>
                </a:lnTo>
                <a:lnTo>
                  <a:pt x="1506" y="1166"/>
                </a:lnTo>
                <a:lnTo>
                  <a:pt x="1767" y="1166"/>
                </a:lnTo>
                <a:lnTo>
                  <a:pt x="1767" y="1273"/>
                </a:lnTo>
                <a:lnTo>
                  <a:pt x="1669" y="1273"/>
                </a:lnTo>
                <a:close/>
                <a:moveTo>
                  <a:pt x="1832" y="1936"/>
                </a:moveTo>
                <a:lnTo>
                  <a:pt x="1832" y="1166"/>
                </a:lnTo>
                <a:lnTo>
                  <a:pt x="2060" y="1166"/>
                </a:lnTo>
                <a:lnTo>
                  <a:pt x="2060" y="1273"/>
                </a:lnTo>
                <a:lnTo>
                  <a:pt x="1897" y="1273"/>
                </a:lnTo>
                <a:lnTo>
                  <a:pt x="1897" y="1489"/>
                </a:lnTo>
                <a:lnTo>
                  <a:pt x="2030" y="1489"/>
                </a:lnTo>
                <a:lnTo>
                  <a:pt x="2030" y="1593"/>
                </a:lnTo>
                <a:lnTo>
                  <a:pt x="1897" y="1593"/>
                </a:lnTo>
                <a:lnTo>
                  <a:pt x="1897" y="1828"/>
                </a:lnTo>
                <a:lnTo>
                  <a:pt x="2060" y="1828"/>
                </a:lnTo>
                <a:lnTo>
                  <a:pt x="2060" y="1936"/>
                </a:lnTo>
                <a:lnTo>
                  <a:pt x="1832" y="1936"/>
                </a:lnTo>
                <a:close/>
                <a:moveTo>
                  <a:pt x="2260" y="1954"/>
                </a:moveTo>
                <a:lnTo>
                  <a:pt x="2251" y="1954"/>
                </a:lnTo>
                <a:lnTo>
                  <a:pt x="2242" y="1952"/>
                </a:lnTo>
                <a:lnTo>
                  <a:pt x="2234" y="1950"/>
                </a:lnTo>
                <a:lnTo>
                  <a:pt x="2226" y="1948"/>
                </a:lnTo>
                <a:lnTo>
                  <a:pt x="2218" y="1944"/>
                </a:lnTo>
                <a:lnTo>
                  <a:pt x="2211" y="1938"/>
                </a:lnTo>
                <a:lnTo>
                  <a:pt x="2204" y="1932"/>
                </a:lnTo>
                <a:lnTo>
                  <a:pt x="2197" y="1926"/>
                </a:lnTo>
                <a:lnTo>
                  <a:pt x="2190" y="1920"/>
                </a:lnTo>
                <a:lnTo>
                  <a:pt x="2184" y="1912"/>
                </a:lnTo>
                <a:lnTo>
                  <a:pt x="2178" y="1902"/>
                </a:lnTo>
                <a:lnTo>
                  <a:pt x="2172" y="1892"/>
                </a:lnTo>
                <a:lnTo>
                  <a:pt x="2166" y="1882"/>
                </a:lnTo>
                <a:lnTo>
                  <a:pt x="2161" y="1872"/>
                </a:lnTo>
                <a:lnTo>
                  <a:pt x="2156" y="1860"/>
                </a:lnTo>
                <a:lnTo>
                  <a:pt x="2151" y="1846"/>
                </a:lnTo>
                <a:lnTo>
                  <a:pt x="2147" y="1834"/>
                </a:lnTo>
                <a:lnTo>
                  <a:pt x="2143" y="1820"/>
                </a:lnTo>
                <a:lnTo>
                  <a:pt x="2139" y="1804"/>
                </a:lnTo>
                <a:lnTo>
                  <a:pt x="2135" y="1788"/>
                </a:lnTo>
                <a:lnTo>
                  <a:pt x="2132" y="1772"/>
                </a:lnTo>
                <a:lnTo>
                  <a:pt x="2129" y="1756"/>
                </a:lnTo>
                <a:lnTo>
                  <a:pt x="2126" y="1738"/>
                </a:lnTo>
                <a:lnTo>
                  <a:pt x="2124" y="1720"/>
                </a:lnTo>
                <a:lnTo>
                  <a:pt x="2121" y="1701"/>
                </a:lnTo>
                <a:lnTo>
                  <a:pt x="2120" y="1681"/>
                </a:lnTo>
                <a:lnTo>
                  <a:pt x="2118" y="1661"/>
                </a:lnTo>
                <a:lnTo>
                  <a:pt x="2117" y="1641"/>
                </a:lnTo>
                <a:lnTo>
                  <a:pt x="2115" y="1597"/>
                </a:lnTo>
                <a:lnTo>
                  <a:pt x="2114" y="1575"/>
                </a:lnTo>
                <a:lnTo>
                  <a:pt x="2114" y="1551"/>
                </a:lnTo>
                <a:lnTo>
                  <a:pt x="2115" y="1505"/>
                </a:lnTo>
                <a:lnTo>
                  <a:pt x="2117" y="1461"/>
                </a:lnTo>
                <a:lnTo>
                  <a:pt x="2118" y="1441"/>
                </a:lnTo>
                <a:lnTo>
                  <a:pt x="2120" y="1421"/>
                </a:lnTo>
                <a:lnTo>
                  <a:pt x="2124" y="1383"/>
                </a:lnTo>
                <a:lnTo>
                  <a:pt x="2126" y="1363"/>
                </a:lnTo>
                <a:lnTo>
                  <a:pt x="2129" y="1347"/>
                </a:lnTo>
                <a:lnTo>
                  <a:pt x="2135" y="1313"/>
                </a:lnTo>
                <a:lnTo>
                  <a:pt x="2139" y="1297"/>
                </a:lnTo>
                <a:lnTo>
                  <a:pt x="2143" y="1283"/>
                </a:lnTo>
                <a:lnTo>
                  <a:pt x="2147" y="1269"/>
                </a:lnTo>
                <a:lnTo>
                  <a:pt x="2151" y="1255"/>
                </a:lnTo>
                <a:lnTo>
                  <a:pt x="2156" y="1243"/>
                </a:lnTo>
                <a:lnTo>
                  <a:pt x="2161" y="1231"/>
                </a:lnTo>
                <a:lnTo>
                  <a:pt x="2166" y="1220"/>
                </a:lnTo>
                <a:lnTo>
                  <a:pt x="2172" y="1210"/>
                </a:lnTo>
                <a:lnTo>
                  <a:pt x="2178" y="1200"/>
                </a:lnTo>
                <a:lnTo>
                  <a:pt x="2184" y="1192"/>
                </a:lnTo>
                <a:lnTo>
                  <a:pt x="2197" y="1176"/>
                </a:lnTo>
                <a:lnTo>
                  <a:pt x="2204" y="1170"/>
                </a:lnTo>
                <a:lnTo>
                  <a:pt x="2211" y="1164"/>
                </a:lnTo>
                <a:lnTo>
                  <a:pt x="2218" y="1160"/>
                </a:lnTo>
                <a:lnTo>
                  <a:pt x="2226" y="1156"/>
                </a:lnTo>
                <a:lnTo>
                  <a:pt x="2234" y="1152"/>
                </a:lnTo>
                <a:lnTo>
                  <a:pt x="2242" y="1150"/>
                </a:lnTo>
                <a:lnTo>
                  <a:pt x="2251" y="1148"/>
                </a:lnTo>
                <a:lnTo>
                  <a:pt x="2260" y="1148"/>
                </a:lnTo>
                <a:lnTo>
                  <a:pt x="2268" y="1148"/>
                </a:lnTo>
                <a:lnTo>
                  <a:pt x="2277" y="1150"/>
                </a:lnTo>
                <a:lnTo>
                  <a:pt x="2285" y="1152"/>
                </a:lnTo>
                <a:lnTo>
                  <a:pt x="2293" y="1156"/>
                </a:lnTo>
                <a:lnTo>
                  <a:pt x="2301" y="1160"/>
                </a:lnTo>
                <a:lnTo>
                  <a:pt x="2308" y="1164"/>
                </a:lnTo>
                <a:lnTo>
                  <a:pt x="2316" y="1170"/>
                </a:lnTo>
                <a:lnTo>
                  <a:pt x="2323" y="1176"/>
                </a:lnTo>
                <a:lnTo>
                  <a:pt x="2329" y="1184"/>
                </a:lnTo>
                <a:lnTo>
                  <a:pt x="2336" y="1192"/>
                </a:lnTo>
                <a:lnTo>
                  <a:pt x="2342" y="1200"/>
                </a:lnTo>
                <a:lnTo>
                  <a:pt x="2348" y="1210"/>
                </a:lnTo>
                <a:lnTo>
                  <a:pt x="2353" y="1220"/>
                </a:lnTo>
                <a:lnTo>
                  <a:pt x="2359" y="1229"/>
                </a:lnTo>
                <a:lnTo>
                  <a:pt x="2364" y="1241"/>
                </a:lnTo>
                <a:lnTo>
                  <a:pt x="2368" y="1255"/>
                </a:lnTo>
                <a:lnTo>
                  <a:pt x="2377" y="1283"/>
                </a:lnTo>
                <a:lnTo>
                  <a:pt x="2381" y="1297"/>
                </a:lnTo>
                <a:lnTo>
                  <a:pt x="2385" y="1313"/>
                </a:lnTo>
                <a:lnTo>
                  <a:pt x="2391" y="1345"/>
                </a:lnTo>
                <a:lnTo>
                  <a:pt x="2394" y="1363"/>
                </a:lnTo>
                <a:lnTo>
                  <a:pt x="2396" y="1381"/>
                </a:lnTo>
                <a:lnTo>
                  <a:pt x="2398" y="1401"/>
                </a:lnTo>
                <a:lnTo>
                  <a:pt x="2400" y="1421"/>
                </a:lnTo>
                <a:lnTo>
                  <a:pt x="2402" y="1441"/>
                </a:lnTo>
                <a:lnTo>
                  <a:pt x="2403" y="1461"/>
                </a:lnTo>
                <a:lnTo>
                  <a:pt x="2404" y="1483"/>
                </a:lnTo>
                <a:lnTo>
                  <a:pt x="2405" y="1505"/>
                </a:lnTo>
                <a:lnTo>
                  <a:pt x="2405" y="1527"/>
                </a:lnTo>
                <a:lnTo>
                  <a:pt x="2406" y="1551"/>
                </a:lnTo>
                <a:lnTo>
                  <a:pt x="2405" y="1597"/>
                </a:lnTo>
                <a:lnTo>
                  <a:pt x="2403" y="1641"/>
                </a:lnTo>
                <a:lnTo>
                  <a:pt x="2402" y="1663"/>
                </a:lnTo>
                <a:lnTo>
                  <a:pt x="2400" y="1683"/>
                </a:lnTo>
                <a:lnTo>
                  <a:pt x="2396" y="1720"/>
                </a:lnTo>
                <a:lnTo>
                  <a:pt x="2394" y="1738"/>
                </a:lnTo>
                <a:lnTo>
                  <a:pt x="2391" y="1756"/>
                </a:lnTo>
                <a:lnTo>
                  <a:pt x="2388" y="1772"/>
                </a:lnTo>
                <a:lnTo>
                  <a:pt x="2385" y="1790"/>
                </a:lnTo>
                <a:lnTo>
                  <a:pt x="2381" y="1804"/>
                </a:lnTo>
                <a:lnTo>
                  <a:pt x="2377" y="1820"/>
                </a:lnTo>
                <a:lnTo>
                  <a:pt x="2373" y="1834"/>
                </a:lnTo>
                <a:lnTo>
                  <a:pt x="2368" y="1846"/>
                </a:lnTo>
                <a:lnTo>
                  <a:pt x="2364" y="1860"/>
                </a:lnTo>
                <a:lnTo>
                  <a:pt x="2359" y="1872"/>
                </a:lnTo>
                <a:lnTo>
                  <a:pt x="2353" y="1882"/>
                </a:lnTo>
                <a:lnTo>
                  <a:pt x="2348" y="1894"/>
                </a:lnTo>
                <a:lnTo>
                  <a:pt x="2342" y="1902"/>
                </a:lnTo>
                <a:lnTo>
                  <a:pt x="2336" y="1912"/>
                </a:lnTo>
                <a:lnTo>
                  <a:pt x="2329" y="1920"/>
                </a:lnTo>
                <a:lnTo>
                  <a:pt x="2323" y="1926"/>
                </a:lnTo>
                <a:lnTo>
                  <a:pt x="2316" y="1934"/>
                </a:lnTo>
                <a:lnTo>
                  <a:pt x="2308" y="1938"/>
                </a:lnTo>
                <a:lnTo>
                  <a:pt x="2301" y="1944"/>
                </a:lnTo>
                <a:lnTo>
                  <a:pt x="2293" y="1948"/>
                </a:lnTo>
                <a:lnTo>
                  <a:pt x="2285" y="1950"/>
                </a:lnTo>
                <a:lnTo>
                  <a:pt x="2277" y="1952"/>
                </a:lnTo>
                <a:lnTo>
                  <a:pt x="2268" y="1954"/>
                </a:lnTo>
                <a:lnTo>
                  <a:pt x="2260" y="1954"/>
                </a:lnTo>
                <a:close/>
                <a:moveTo>
                  <a:pt x="2260" y="1257"/>
                </a:moveTo>
                <a:lnTo>
                  <a:pt x="2251" y="1257"/>
                </a:lnTo>
                <a:lnTo>
                  <a:pt x="2246" y="1259"/>
                </a:lnTo>
                <a:lnTo>
                  <a:pt x="2242" y="1259"/>
                </a:lnTo>
                <a:lnTo>
                  <a:pt x="2234" y="1265"/>
                </a:lnTo>
                <a:lnTo>
                  <a:pt x="2227" y="1271"/>
                </a:lnTo>
                <a:lnTo>
                  <a:pt x="2223" y="1275"/>
                </a:lnTo>
                <a:lnTo>
                  <a:pt x="2220" y="1281"/>
                </a:lnTo>
                <a:lnTo>
                  <a:pt x="2216" y="1287"/>
                </a:lnTo>
                <a:lnTo>
                  <a:pt x="2213" y="1293"/>
                </a:lnTo>
                <a:lnTo>
                  <a:pt x="2210" y="1299"/>
                </a:lnTo>
                <a:lnTo>
                  <a:pt x="2207" y="1307"/>
                </a:lnTo>
                <a:lnTo>
                  <a:pt x="2201" y="1323"/>
                </a:lnTo>
                <a:lnTo>
                  <a:pt x="2199" y="1331"/>
                </a:lnTo>
                <a:lnTo>
                  <a:pt x="2196" y="1341"/>
                </a:lnTo>
                <a:lnTo>
                  <a:pt x="2192" y="1363"/>
                </a:lnTo>
                <a:lnTo>
                  <a:pt x="2188" y="1387"/>
                </a:lnTo>
                <a:lnTo>
                  <a:pt x="2187" y="1399"/>
                </a:lnTo>
                <a:lnTo>
                  <a:pt x="2185" y="1413"/>
                </a:lnTo>
                <a:lnTo>
                  <a:pt x="2183" y="1443"/>
                </a:lnTo>
                <a:lnTo>
                  <a:pt x="2181" y="1477"/>
                </a:lnTo>
                <a:lnTo>
                  <a:pt x="2180" y="1513"/>
                </a:lnTo>
                <a:lnTo>
                  <a:pt x="2180" y="1551"/>
                </a:lnTo>
                <a:lnTo>
                  <a:pt x="2180" y="1591"/>
                </a:lnTo>
                <a:lnTo>
                  <a:pt x="2181" y="1627"/>
                </a:lnTo>
                <a:lnTo>
                  <a:pt x="2183" y="1659"/>
                </a:lnTo>
                <a:lnTo>
                  <a:pt x="2185" y="1689"/>
                </a:lnTo>
                <a:lnTo>
                  <a:pt x="2188" y="1714"/>
                </a:lnTo>
                <a:lnTo>
                  <a:pt x="2192" y="1738"/>
                </a:lnTo>
                <a:lnTo>
                  <a:pt x="2196" y="1760"/>
                </a:lnTo>
                <a:lnTo>
                  <a:pt x="2201" y="1780"/>
                </a:lnTo>
                <a:lnTo>
                  <a:pt x="2207" y="1796"/>
                </a:lnTo>
                <a:lnTo>
                  <a:pt x="2213" y="1810"/>
                </a:lnTo>
                <a:lnTo>
                  <a:pt x="2220" y="1820"/>
                </a:lnTo>
                <a:lnTo>
                  <a:pt x="2227" y="1830"/>
                </a:lnTo>
                <a:lnTo>
                  <a:pt x="2234" y="1836"/>
                </a:lnTo>
                <a:lnTo>
                  <a:pt x="2242" y="1842"/>
                </a:lnTo>
                <a:lnTo>
                  <a:pt x="2251" y="1844"/>
                </a:lnTo>
                <a:lnTo>
                  <a:pt x="2260" y="1846"/>
                </a:lnTo>
                <a:lnTo>
                  <a:pt x="2269" y="1844"/>
                </a:lnTo>
                <a:lnTo>
                  <a:pt x="2273" y="1844"/>
                </a:lnTo>
                <a:lnTo>
                  <a:pt x="2277" y="1842"/>
                </a:lnTo>
                <a:lnTo>
                  <a:pt x="2285" y="1836"/>
                </a:lnTo>
                <a:lnTo>
                  <a:pt x="2293" y="1830"/>
                </a:lnTo>
                <a:lnTo>
                  <a:pt x="2296" y="1826"/>
                </a:lnTo>
                <a:lnTo>
                  <a:pt x="2300" y="1820"/>
                </a:lnTo>
                <a:lnTo>
                  <a:pt x="2306" y="1808"/>
                </a:lnTo>
                <a:lnTo>
                  <a:pt x="2309" y="1802"/>
                </a:lnTo>
                <a:lnTo>
                  <a:pt x="2312" y="1796"/>
                </a:lnTo>
                <a:lnTo>
                  <a:pt x="2318" y="1778"/>
                </a:lnTo>
                <a:lnTo>
                  <a:pt x="2320" y="1770"/>
                </a:lnTo>
                <a:lnTo>
                  <a:pt x="2323" y="1760"/>
                </a:lnTo>
                <a:lnTo>
                  <a:pt x="2327" y="1738"/>
                </a:lnTo>
                <a:lnTo>
                  <a:pt x="2331" y="1714"/>
                </a:lnTo>
                <a:lnTo>
                  <a:pt x="2332" y="1703"/>
                </a:lnTo>
                <a:lnTo>
                  <a:pt x="2334" y="1689"/>
                </a:lnTo>
                <a:lnTo>
                  <a:pt x="2336" y="1659"/>
                </a:lnTo>
                <a:lnTo>
                  <a:pt x="2338" y="1625"/>
                </a:lnTo>
                <a:lnTo>
                  <a:pt x="2339" y="1591"/>
                </a:lnTo>
                <a:lnTo>
                  <a:pt x="2340" y="1551"/>
                </a:lnTo>
                <a:lnTo>
                  <a:pt x="2339" y="1513"/>
                </a:lnTo>
                <a:lnTo>
                  <a:pt x="2338" y="1477"/>
                </a:lnTo>
                <a:lnTo>
                  <a:pt x="2336" y="1443"/>
                </a:lnTo>
                <a:lnTo>
                  <a:pt x="2334" y="1415"/>
                </a:lnTo>
                <a:lnTo>
                  <a:pt x="2331" y="1387"/>
                </a:lnTo>
                <a:lnTo>
                  <a:pt x="2327" y="1363"/>
                </a:lnTo>
                <a:lnTo>
                  <a:pt x="2323" y="1341"/>
                </a:lnTo>
                <a:lnTo>
                  <a:pt x="2318" y="1323"/>
                </a:lnTo>
                <a:lnTo>
                  <a:pt x="2312" y="1307"/>
                </a:lnTo>
                <a:lnTo>
                  <a:pt x="2306" y="1293"/>
                </a:lnTo>
                <a:lnTo>
                  <a:pt x="2300" y="1281"/>
                </a:lnTo>
                <a:lnTo>
                  <a:pt x="2293" y="1271"/>
                </a:lnTo>
                <a:lnTo>
                  <a:pt x="2285" y="1265"/>
                </a:lnTo>
                <a:lnTo>
                  <a:pt x="2277" y="1259"/>
                </a:lnTo>
                <a:lnTo>
                  <a:pt x="2273" y="1259"/>
                </a:lnTo>
                <a:lnTo>
                  <a:pt x="2269" y="1257"/>
                </a:lnTo>
                <a:lnTo>
                  <a:pt x="2260" y="1257"/>
                </a:lnTo>
                <a:close/>
                <a:moveTo>
                  <a:pt x="2485" y="1936"/>
                </a:moveTo>
                <a:lnTo>
                  <a:pt x="2485" y="1166"/>
                </a:lnTo>
                <a:lnTo>
                  <a:pt x="2549" y="1166"/>
                </a:lnTo>
                <a:lnTo>
                  <a:pt x="2549" y="1828"/>
                </a:lnTo>
                <a:lnTo>
                  <a:pt x="2709" y="1828"/>
                </a:lnTo>
                <a:lnTo>
                  <a:pt x="2709" y="1936"/>
                </a:lnTo>
                <a:lnTo>
                  <a:pt x="2485" y="1936"/>
                </a:lnTo>
                <a:close/>
                <a:moveTo>
                  <a:pt x="2769" y="1936"/>
                </a:moveTo>
                <a:lnTo>
                  <a:pt x="2769" y="1166"/>
                </a:lnTo>
                <a:lnTo>
                  <a:pt x="2835" y="1166"/>
                </a:lnTo>
                <a:lnTo>
                  <a:pt x="2835" y="1828"/>
                </a:lnTo>
                <a:lnTo>
                  <a:pt x="2994" y="1828"/>
                </a:lnTo>
                <a:lnTo>
                  <a:pt x="2994" y="1936"/>
                </a:lnTo>
                <a:lnTo>
                  <a:pt x="2769" y="1936"/>
                </a:lnTo>
                <a:close/>
                <a:moveTo>
                  <a:pt x="3055" y="1166"/>
                </a:moveTo>
                <a:lnTo>
                  <a:pt x="3120" y="1166"/>
                </a:lnTo>
                <a:lnTo>
                  <a:pt x="3120" y="1936"/>
                </a:lnTo>
                <a:lnTo>
                  <a:pt x="3055" y="1936"/>
                </a:lnTo>
                <a:lnTo>
                  <a:pt x="3055" y="1166"/>
                </a:lnTo>
                <a:close/>
                <a:moveTo>
                  <a:pt x="3337" y="1954"/>
                </a:moveTo>
                <a:lnTo>
                  <a:pt x="3321" y="1954"/>
                </a:lnTo>
                <a:lnTo>
                  <a:pt x="3305" y="1950"/>
                </a:lnTo>
                <a:lnTo>
                  <a:pt x="3291" y="1944"/>
                </a:lnTo>
                <a:lnTo>
                  <a:pt x="3284" y="1940"/>
                </a:lnTo>
                <a:lnTo>
                  <a:pt x="3278" y="1936"/>
                </a:lnTo>
                <a:lnTo>
                  <a:pt x="3266" y="1928"/>
                </a:lnTo>
                <a:lnTo>
                  <a:pt x="3260" y="1922"/>
                </a:lnTo>
                <a:lnTo>
                  <a:pt x="3255" y="1916"/>
                </a:lnTo>
                <a:lnTo>
                  <a:pt x="3245" y="1902"/>
                </a:lnTo>
                <a:lnTo>
                  <a:pt x="3241" y="1896"/>
                </a:lnTo>
                <a:lnTo>
                  <a:pt x="3236" y="1888"/>
                </a:lnTo>
                <a:lnTo>
                  <a:pt x="3232" y="1880"/>
                </a:lnTo>
                <a:lnTo>
                  <a:pt x="3229" y="1872"/>
                </a:lnTo>
                <a:lnTo>
                  <a:pt x="3225" y="1864"/>
                </a:lnTo>
                <a:lnTo>
                  <a:pt x="3222" y="1854"/>
                </a:lnTo>
                <a:lnTo>
                  <a:pt x="3216" y="1834"/>
                </a:lnTo>
                <a:lnTo>
                  <a:pt x="3211" y="1814"/>
                </a:lnTo>
                <a:lnTo>
                  <a:pt x="3210" y="1804"/>
                </a:lnTo>
                <a:lnTo>
                  <a:pt x="3208" y="1792"/>
                </a:lnTo>
                <a:lnTo>
                  <a:pt x="3205" y="1770"/>
                </a:lnTo>
                <a:lnTo>
                  <a:pt x="3203" y="1746"/>
                </a:lnTo>
                <a:lnTo>
                  <a:pt x="3203" y="1732"/>
                </a:lnTo>
                <a:lnTo>
                  <a:pt x="3203" y="1720"/>
                </a:lnTo>
                <a:lnTo>
                  <a:pt x="3265" y="1693"/>
                </a:lnTo>
                <a:lnTo>
                  <a:pt x="3266" y="1714"/>
                </a:lnTo>
                <a:lnTo>
                  <a:pt x="3267" y="1734"/>
                </a:lnTo>
                <a:lnTo>
                  <a:pt x="3269" y="1750"/>
                </a:lnTo>
                <a:lnTo>
                  <a:pt x="3271" y="1766"/>
                </a:lnTo>
                <a:lnTo>
                  <a:pt x="3273" y="1774"/>
                </a:lnTo>
                <a:lnTo>
                  <a:pt x="3274" y="1782"/>
                </a:lnTo>
                <a:lnTo>
                  <a:pt x="3278" y="1794"/>
                </a:lnTo>
                <a:lnTo>
                  <a:pt x="3282" y="1804"/>
                </a:lnTo>
                <a:lnTo>
                  <a:pt x="3286" y="1814"/>
                </a:lnTo>
                <a:lnTo>
                  <a:pt x="3291" y="1824"/>
                </a:lnTo>
                <a:lnTo>
                  <a:pt x="3297" y="1830"/>
                </a:lnTo>
                <a:lnTo>
                  <a:pt x="3303" y="1836"/>
                </a:lnTo>
                <a:lnTo>
                  <a:pt x="3310" y="1840"/>
                </a:lnTo>
                <a:lnTo>
                  <a:pt x="3317" y="1844"/>
                </a:lnTo>
                <a:lnTo>
                  <a:pt x="3324" y="1846"/>
                </a:lnTo>
                <a:lnTo>
                  <a:pt x="3332" y="1848"/>
                </a:lnTo>
                <a:lnTo>
                  <a:pt x="3341" y="1848"/>
                </a:lnTo>
                <a:lnTo>
                  <a:pt x="3348" y="1848"/>
                </a:lnTo>
                <a:lnTo>
                  <a:pt x="3355" y="1846"/>
                </a:lnTo>
                <a:lnTo>
                  <a:pt x="3362" y="1844"/>
                </a:lnTo>
                <a:lnTo>
                  <a:pt x="3368" y="1842"/>
                </a:lnTo>
                <a:lnTo>
                  <a:pt x="3374" y="1838"/>
                </a:lnTo>
                <a:lnTo>
                  <a:pt x="3380" y="1832"/>
                </a:lnTo>
                <a:lnTo>
                  <a:pt x="3385" y="1826"/>
                </a:lnTo>
                <a:lnTo>
                  <a:pt x="3390" y="1820"/>
                </a:lnTo>
                <a:lnTo>
                  <a:pt x="3394" y="1812"/>
                </a:lnTo>
                <a:lnTo>
                  <a:pt x="3398" y="1804"/>
                </a:lnTo>
                <a:lnTo>
                  <a:pt x="3401" y="1796"/>
                </a:lnTo>
                <a:lnTo>
                  <a:pt x="3404" y="1786"/>
                </a:lnTo>
                <a:lnTo>
                  <a:pt x="3406" y="1774"/>
                </a:lnTo>
                <a:lnTo>
                  <a:pt x="3407" y="1770"/>
                </a:lnTo>
                <a:lnTo>
                  <a:pt x="3408" y="1764"/>
                </a:lnTo>
                <a:lnTo>
                  <a:pt x="3409" y="1752"/>
                </a:lnTo>
                <a:lnTo>
                  <a:pt x="3409" y="1738"/>
                </a:lnTo>
                <a:lnTo>
                  <a:pt x="3409" y="1728"/>
                </a:lnTo>
                <a:lnTo>
                  <a:pt x="3408" y="1718"/>
                </a:lnTo>
                <a:lnTo>
                  <a:pt x="3407" y="1711"/>
                </a:lnTo>
                <a:lnTo>
                  <a:pt x="3406" y="1701"/>
                </a:lnTo>
                <a:lnTo>
                  <a:pt x="3404" y="1693"/>
                </a:lnTo>
                <a:lnTo>
                  <a:pt x="3402" y="1685"/>
                </a:lnTo>
                <a:lnTo>
                  <a:pt x="3400" y="1677"/>
                </a:lnTo>
                <a:lnTo>
                  <a:pt x="3396" y="1669"/>
                </a:lnTo>
                <a:lnTo>
                  <a:pt x="3389" y="1653"/>
                </a:lnTo>
                <a:lnTo>
                  <a:pt x="3385" y="1645"/>
                </a:lnTo>
                <a:lnTo>
                  <a:pt x="3380" y="1639"/>
                </a:lnTo>
                <a:lnTo>
                  <a:pt x="3369" y="1625"/>
                </a:lnTo>
                <a:lnTo>
                  <a:pt x="3356" y="1613"/>
                </a:lnTo>
                <a:lnTo>
                  <a:pt x="3292" y="1555"/>
                </a:lnTo>
                <a:lnTo>
                  <a:pt x="3282" y="1547"/>
                </a:lnTo>
                <a:lnTo>
                  <a:pt x="3273" y="1537"/>
                </a:lnTo>
                <a:lnTo>
                  <a:pt x="3257" y="1517"/>
                </a:lnTo>
                <a:lnTo>
                  <a:pt x="3243" y="1497"/>
                </a:lnTo>
                <a:lnTo>
                  <a:pt x="3237" y="1485"/>
                </a:lnTo>
                <a:lnTo>
                  <a:pt x="3232" y="1473"/>
                </a:lnTo>
                <a:lnTo>
                  <a:pt x="3227" y="1461"/>
                </a:lnTo>
                <a:lnTo>
                  <a:pt x="3223" y="1447"/>
                </a:lnTo>
                <a:lnTo>
                  <a:pt x="3220" y="1433"/>
                </a:lnTo>
                <a:lnTo>
                  <a:pt x="3217" y="1417"/>
                </a:lnTo>
                <a:lnTo>
                  <a:pt x="3215" y="1401"/>
                </a:lnTo>
                <a:lnTo>
                  <a:pt x="3214" y="1393"/>
                </a:lnTo>
                <a:lnTo>
                  <a:pt x="3213" y="1385"/>
                </a:lnTo>
                <a:lnTo>
                  <a:pt x="3212" y="1367"/>
                </a:lnTo>
                <a:lnTo>
                  <a:pt x="3212" y="1347"/>
                </a:lnTo>
                <a:lnTo>
                  <a:pt x="3212" y="1335"/>
                </a:lnTo>
                <a:lnTo>
                  <a:pt x="3213" y="1323"/>
                </a:lnTo>
                <a:lnTo>
                  <a:pt x="3214" y="1311"/>
                </a:lnTo>
                <a:lnTo>
                  <a:pt x="3215" y="1299"/>
                </a:lnTo>
                <a:lnTo>
                  <a:pt x="3216" y="1289"/>
                </a:lnTo>
                <a:lnTo>
                  <a:pt x="3218" y="1279"/>
                </a:lnTo>
                <a:lnTo>
                  <a:pt x="3222" y="1259"/>
                </a:lnTo>
                <a:lnTo>
                  <a:pt x="3225" y="1249"/>
                </a:lnTo>
                <a:lnTo>
                  <a:pt x="3228" y="1241"/>
                </a:lnTo>
                <a:lnTo>
                  <a:pt x="3234" y="1225"/>
                </a:lnTo>
                <a:lnTo>
                  <a:pt x="3241" y="1210"/>
                </a:lnTo>
                <a:lnTo>
                  <a:pt x="3245" y="1204"/>
                </a:lnTo>
                <a:lnTo>
                  <a:pt x="3250" y="1198"/>
                </a:lnTo>
                <a:lnTo>
                  <a:pt x="3259" y="1186"/>
                </a:lnTo>
                <a:lnTo>
                  <a:pt x="3269" y="1176"/>
                </a:lnTo>
                <a:lnTo>
                  <a:pt x="3279" y="1166"/>
                </a:lnTo>
                <a:lnTo>
                  <a:pt x="3290" y="1160"/>
                </a:lnTo>
                <a:lnTo>
                  <a:pt x="3302" y="1154"/>
                </a:lnTo>
                <a:lnTo>
                  <a:pt x="3314" y="1150"/>
                </a:lnTo>
                <a:lnTo>
                  <a:pt x="3327" y="1148"/>
                </a:lnTo>
                <a:lnTo>
                  <a:pt x="3340" y="1148"/>
                </a:lnTo>
                <a:lnTo>
                  <a:pt x="3355" y="1150"/>
                </a:lnTo>
                <a:lnTo>
                  <a:pt x="3370" y="1152"/>
                </a:lnTo>
                <a:lnTo>
                  <a:pt x="3383" y="1158"/>
                </a:lnTo>
                <a:lnTo>
                  <a:pt x="3389" y="1162"/>
                </a:lnTo>
                <a:lnTo>
                  <a:pt x="3395" y="1166"/>
                </a:lnTo>
                <a:lnTo>
                  <a:pt x="3407" y="1174"/>
                </a:lnTo>
                <a:lnTo>
                  <a:pt x="3417" y="1186"/>
                </a:lnTo>
                <a:lnTo>
                  <a:pt x="3426" y="1198"/>
                </a:lnTo>
                <a:lnTo>
                  <a:pt x="3434" y="1212"/>
                </a:lnTo>
                <a:lnTo>
                  <a:pt x="3438" y="1218"/>
                </a:lnTo>
                <a:lnTo>
                  <a:pt x="3441" y="1225"/>
                </a:lnTo>
                <a:lnTo>
                  <a:pt x="3444" y="1233"/>
                </a:lnTo>
                <a:lnTo>
                  <a:pt x="3447" y="1241"/>
                </a:lnTo>
                <a:lnTo>
                  <a:pt x="3452" y="1259"/>
                </a:lnTo>
                <a:lnTo>
                  <a:pt x="3457" y="1275"/>
                </a:lnTo>
                <a:lnTo>
                  <a:pt x="3460" y="1293"/>
                </a:lnTo>
                <a:lnTo>
                  <a:pt x="3462" y="1313"/>
                </a:lnTo>
                <a:lnTo>
                  <a:pt x="3464" y="1331"/>
                </a:lnTo>
                <a:lnTo>
                  <a:pt x="3464" y="1349"/>
                </a:lnTo>
                <a:lnTo>
                  <a:pt x="3402" y="1375"/>
                </a:lnTo>
                <a:lnTo>
                  <a:pt x="3402" y="1359"/>
                </a:lnTo>
                <a:lnTo>
                  <a:pt x="3400" y="1345"/>
                </a:lnTo>
                <a:lnTo>
                  <a:pt x="3399" y="1331"/>
                </a:lnTo>
                <a:lnTo>
                  <a:pt x="3397" y="1319"/>
                </a:lnTo>
                <a:lnTo>
                  <a:pt x="3394" y="1309"/>
                </a:lnTo>
                <a:lnTo>
                  <a:pt x="3391" y="1299"/>
                </a:lnTo>
                <a:lnTo>
                  <a:pt x="3388" y="1289"/>
                </a:lnTo>
                <a:lnTo>
                  <a:pt x="3384" y="1281"/>
                </a:lnTo>
                <a:lnTo>
                  <a:pt x="3380" y="1275"/>
                </a:lnTo>
                <a:lnTo>
                  <a:pt x="3375" y="1269"/>
                </a:lnTo>
                <a:lnTo>
                  <a:pt x="3370" y="1265"/>
                </a:lnTo>
                <a:lnTo>
                  <a:pt x="3364" y="1261"/>
                </a:lnTo>
                <a:lnTo>
                  <a:pt x="3358" y="1257"/>
                </a:lnTo>
                <a:lnTo>
                  <a:pt x="3352" y="1255"/>
                </a:lnTo>
                <a:lnTo>
                  <a:pt x="3345" y="1255"/>
                </a:lnTo>
                <a:lnTo>
                  <a:pt x="3337" y="1253"/>
                </a:lnTo>
                <a:lnTo>
                  <a:pt x="3325" y="1255"/>
                </a:lnTo>
                <a:lnTo>
                  <a:pt x="3313" y="1259"/>
                </a:lnTo>
                <a:lnTo>
                  <a:pt x="3308" y="1263"/>
                </a:lnTo>
                <a:lnTo>
                  <a:pt x="3303" y="1267"/>
                </a:lnTo>
                <a:lnTo>
                  <a:pt x="3298" y="1271"/>
                </a:lnTo>
                <a:lnTo>
                  <a:pt x="3294" y="1275"/>
                </a:lnTo>
                <a:lnTo>
                  <a:pt x="3290" y="1281"/>
                </a:lnTo>
                <a:lnTo>
                  <a:pt x="3287" y="1287"/>
                </a:lnTo>
                <a:lnTo>
                  <a:pt x="3284" y="1295"/>
                </a:lnTo>
                <a:lnTo>
                  <a:pt x="3281" y="1303"/>
                </a:lnTo>
                <a:lnTo>
                  <a:pt x="3279" y="1311"/>
                </a:lnTo>
                <a:lnTo>
                  <a:pt x="3278" y="1321"/>
                </a:lnTo>
                <a:lnTo>
                  <a:pt x="3277" y="1331"/>
                </a:lnTo>
                <a:lnTo>
                  <a:pt x="3276" y="1341"/>
                </a:lnTo>
                <a:lnTo>
                  <a:pt x="3277" y="1351"/>
                </a:lnTo>
                <a:lnTo>
                  <a:pt x="3277" y="1361"/>
                </a:lnTo>
                <a:lnTo>
                  <a:pt x="3278" y="1371"/>
                </a:lnTo>
                <a:lnTo>
                  <a:pt x="3279" y="1379"/>
                </a:lnTo>
                <a:lnTo>
                  <a:pt x="3281" y="1387"/>
                </a:lnTo>
                <a:lnTo>
                  <a:pt x="3283" y="1395"/>
                </a:lnTo>
                <a:lnTo>
                  <a:pt x="3286" y="1403"/>
                </a:lnTo>
                <a:lnTo>
                  <a:pt x="3288" y="1409"/>
                </a:lnTo>
                <a:lnTo>
                  <a:pt x="3292" y="1415"/>
                </a:lnTo>
                <a:lnTo>
                  <a:pt x="3295" y="1421"/>
                </a:lnTo>
                <a:lnTo>
                  <a:pt x="3304" y="1433"/>
                </a:lnTo>
                <a:lnTo>
                  <a:pt x="3314" y="1445"/>
                </a:lnTo>
                <a:lnTo>
                  <a:pt x="3326" y="1457"/>
                </a:lnTo>
                <a:lnTo>
                  <a:pt x="3388" y="1511"/>
                </a:lnTo>
                <a:lnTo>
                  <a:pt x="3398" y="1521"/>
                </a:lnTo>
                <a:lnTo>
                  <a:pt x="3408" y="1531"/>
                </a:lnTo>
                <a:lnTo>
                  <a:pt x="3418" y="1541"/>
                </a:lnTo>
                <a:lnTo>
                  <a:pt x="3426" y="1553"/>
                </a:lnTo>
                <a:lnTo>
                  <a:pt x="3434" y="1565"/>
                </a:lnTo>
                <a:lnTo>
                  <a:pt x="3441" y="1575"/>
                </a:lnTo>
                <a:lnTo>
                  <a:pt x="3447" y="1589"/>
                </a:lnTo>
                <a:lnTo>
                  <a:pt x="3453" y="1601"/>
                </a:lnTo>
                <a:lnTo>
                  <a:pt x="3458" y="1615"/>
                </a:lnTo>
                <a:lnTo>
                  <a:pt x="3462" y="1629"/>
                </a:lnTo>
                <a:lnTo>
                  <a:pt x="3466" y="1643"/>
                </a:lnTo>
                <a:lnTo>
                  <a:pt x="3469" y="1659"/>
                </a:lnTo>
                <a:lnTo>
                  <a:pt x="3471" y="1675"/>
                </a:lnTo>
                <a:lnTo>
                  <a:pt x="3472" y="1685"/>
                </a:lnTo>
                <a:lnTo>
                  <a:pt x="3472" y="1693"/>
                </a:lnTo>
                <a:lnTo>
                  <a:pt x="3473" y="1711"/>
                </a:lnTo>
                <a:lnTo>
                  <a:pt x="3474" y="1730"/>
                </a:lnTo>
                <a:lnTo>
                  <a:pt x="3473" y="1756"/>
                </a:lnTo>
                <a:lnTo>
                  <a:pt x="3471" y="1780"/>
                </a:lnTo>
                <a:lnTo>
                  <a:pt x="3470" y="1792"/>
                </a:lnTo>
                <a:lnTo>
                  <a:pt x="3468" y="1802"/>
                </a:lnTo>
                <a:lnTo>
                  <a:pt x="3466" y="1814"/>
                </a:lnTo>
                <a:lnTo>
                  <a:pt x="3464" y="1824"/>
                </a:lnTo>
                <a:lnTo>
                  <a:pt x="3461" y="1834"/>
                </a:lnTo>
                <a:lnTo>
                  <a:pt x="3459" y="1844"/>
                </a:lnTo>
                <a:lnTo>
                  <a:pt x="3452" y="1862"/>
                </a:lnTo>
                <a:lnTo>
                  <a:pt x="3449" y="1870"/>
                </a:lnTo>
                <a:lnTo>
                  <a:pt x="3445" y="1880"/>
                </a:lnTo>
                <a:lnTo>
                  <a:pt x="3437" y="1894"/>
                </a:lnTo>
                <a:lnTo>
                  <a:pt x="3432" y="1902"/>
                </a:lnTo>
                <a:lnTo>
                  <a:pt x="3427" y="1908"/>
                </a:lnTo>
                <a:lnTo>
                  <a:pt x="3422" y="1914"/>
                </a:lnTo>
                <a:lnTo>
                  <a:pt x="3417" y="1920"/>
                </a:lnTo>
                <a:lnTo>
                  <a:pt x="3406" y="1930"/>
                </a:lnTo>
                <a:lnTo>
                  <a:pt x="3394" y="1938"/>
                </a:lnTo>
                <a:lnTo>
                  <a:pt x="3381" y="1946"/>
                </a:lnTo>
                <a:lnTo>
                  <a:pt x="3367" y="1950"/>
                </a:lnTo>
                <a:lnTo>
                  <a:pt x="3360" y="1952"/>
                </a:lnTo>
                <a:lnTo>
                  <a:pt x="3353" y="1952"/>
                </a:lnTo>
                <a:lnTo>
                  <a:pt x="3337" y="1954"/>
                </a:lnTo>
                <a:close/>
                <a:moveTo>
                  <a:pt x="3582" y="1882"/>
                </a:moveTo>
                <a:lnTo>
                  <a:pt x="3574" y="1866"/>
                </a:lnTo>
                <a:lnTo>
                  <a:pt x="3567" y="1848"/>
                </a:lnTo>
                <a:lnTo>
                  <a:pt x="3562" y="1828"/>
                </a:lnTo>
                <a:lnTo>
                  <a:pt x="3559" y="1816"/>
                </a:lnTo>
                <a:lnTo>
                  <a:pt x="3557" y="1806"/>
                </a:lnTo>
                <a:lnTo>
                  <a:pt x="3554" y="1782"/>
                </a:lnTo>
                <a:lnTo>
                  <a:pt x="3551" y="1756"/>
                </a:lnTo>
                <a:lnTo>
                  <a:pt x="3550" y="1742"/>
                </a:lnTo>
                <a:lnTo>
                  <a:pt x="3550" y="1726"/>
                </a:lnTo>
                <a:lnTo>
                  <a:pt x="3549" y="1697"/>
                </a:lnTo>
                <a:lnTo>
                  <a:pt x="3549" y="1166"/>
                </a:lnTo>
                <a:lnTo>
                  <a:pt x="3615" y="1166"/>
                </a:lnTo>
                <a:lnTo>
                  <a:pt x="3615" y="1691"/>
                </a:lnTo>
                <a:lnTo>
                  <a:pt x="3615" y="1711"/>
                </a:lnTo>
                <a:lnTo>
                  <a:pt x="3616" y="1728"/>
                </a:lnTo>
                <a:lnTo>
                  <a:pt x="3617" y="1744"/>
                </a:lnTo>
                <a:lnTo>
                  <a:pt x="3618" y="1758"/>
                </a:lnTo>
                <a:lnTo>
                  <a:pt x="3620" y="1772"/>
                </a:lnTo>
                <a:lnTo>
                  <a:pt x="3623" y="1784"/>
                </a:lnTo>
                <a:lnTo>
                  <a:pt x="3625" y="1796"/>
                </a:lnTo>
                <a:lnTo>
                  <a:pt x="3629" y="1804"/>
                </a:lnTo>
                <a:lnTo>
                  <a:pt x="3633" y="1814"/>
                </a:lnTo>
                <a:lnTo>
                  <a:pt x="3637" y="1822"/>
                </a:lnTo>
                <a:lnTo>
                  <a:pt x="3643" y="1830"/>
                </a:lnTo>
                <a:lnTo>
                  <a:pt x="3649" y="1836"/>
                </a:lnTo>
                <a:lnTo>
                  <a:pt x="3652" y="1838"/>
                </a:lnTo>
                <a:lnTo>
                  <a:pt x="3655" y="1840"/>
                </a:lnTo>
                <a:lnTo>
                  <a:pt x="3662" y="1844"/>
                </a:lnTo>
                <a:lnTo>
                  <a:pt x="3670" y="1846"/>
                </a:lnTo>
                <a:lnTo>
                  <a:pt x="3678" y="1846"/>
                </a:lnTo>
                <a:lnTo>
                  <a:pt x="3686" y="1846"/>
                </a:lnTo>
                <a:lnTo>
                  <a:pt x="3694" y="1844"/>
                </a:lnTo>
                <a:lnTo>
                  <a:pt x="3701" y="1840"/>
                </a:lnTo>
                <a:lnTo>
                  <a:pt x="3708" y="1836"/>
                </a:lnTo>
                <a:lnTo>
                  <a:pt x="3713" y="1830"/>
                </a:lnTo>
                <a:lnTo>
                  <a:pt x="3719" y="1822"/>
                </a:lnTo>
                <a:lnTo>
                  <a:pt x="3723" y="1814"/>
                </a:lnTo>
                <a:lnTo>
                  <a:pt x="3728" y="1804"/>
                </a:lnTo>
                <a:lnTo>
                  <a:pt x="3731" y="1796"/>
                </a:lnTo>
                <a:lnTo>
                  <a:pt x="3734" y="1784"/>
                </a:lnTo>
                <a:lnTo>
                  <a:pt x="3736" y="1772"/>
                </a:lnTo>
                <a:lnTo>
                  <a:pt x="3738" y="1758"/>
                </a:lnTo>
                <a:lnTo>
                  <a:pt x="3740" y="1744"/>
                </a:lnTo>
                <a:lnTo>
                  <a:pt x="3741" y="1728"/>
                </a:lnTo>
                <a:lnTo>
                  <a:pt x="3741" y="1711"/>
                </a:lnTo>
                <a:lnTo>
                  <a:pt x="3741" y="1691"/>
                </a:lnTo>
                <a:lnTo>
                  <a:pt x="3741" y="1166"/>
                </a:lnTo>
                <a:lnTo>
                  <a:pt x="3807" y="1166"/>
                </a:lnTo>
                <a:lnTo>
                  <a:pt x="3807" y="1697"/>
                </a:lnTo>
                <a:lnTo>
                  <a:pt x="3806" y="1726"/>
                </a:lnTo>
                <a:lnTo>
                  <a:pt x="3805" y="1742"/>
                </a:lnTo>
                <a:lnTo>
                  <a:pt x="3805" y="1756"/>
                </a:lnTo>
                <a:lnTo>
                  <a:pt x="3802" y="1782"/>
                </a:lnTo>
                <a:lnTo>
                  <a:pt x="3798" y="1806"/>
                </a:lnTo>
                <a:lnTo>
                  <a:pt x="3796" y="1816"/>
                </a:lnTo>
                <a:lnTo>
                  <a:pt x="3794" y="1828"/>
                </a:lnTo>
                <a:lnTo>
                  <a:pt x="3788" y="1848"/>
                </a:lnTo>
                <a:lnTo>
                  <a:pt x="3785" y="1856"/>
                </a:lnTo>
                <a:lnTo>
                  <a:pt x="3782" y="1866"/>
                </a:lnTo>
                <a:lnTo>
                  <a:pt x="3779" y="1874"/>
                </a:lnTo>
                <a:lnTo>
                  <a:pt x="3775" y="1882"/>
                </a:lnTo>
                <a:lnTo>
                  <a:pt x="3771" y="1890"/>
                </a:lnTo>
                <a:lnTo>
                  <a:pt x="3766" y="1898"/>
                </a:lnTo>
                <a:lnTo>
                  <a:pt x="3756" y="1914"/>
                </a:lnTo>
                <a:lnTo>
                  <a:pt x="3745" y="1926"/>
                </a:lnTo>
                <a:lnTo>
                  <a:pt x="3739" y="1930"/>
                </a:lnTo>
                <a:lnTo>
                  <a:pt x="3733" y="1936"/>
                </a:lnTo>
                <a:lnTo>
                  <a:pt x="3720" y="1944"/>
                </a:lnTo>
                <a:lnTo>
                  <a:pt x="3714" y="1946"/>
                </a:lnTo>
                <a:lnTo>
                  <a:pt x="3707" y="1950"/>
                </a:lnTo>
                <a:lnTo>
                  <a:pt x="3693" y="1952"/>
                </a:lnTo>
                <a:lnTo>
                  <a:pt x="3685" y="1954"/>
                </a:lnTo>
                <a:lnTo>
                  <a:pt x="3678" y="1954"/>
                </a:lnTo>
                <a:lnTo>
                  <a:pt x="3663" y="1952"/>
                </a:lnTo>
                <a:lnTo>
                  <a:pt x="3649" y="1950"/>
                </a:lnTo>
                <a:lnTo>
                  <a:pt x="3643" y="1946"/>
                </a:lnTo>
                <a:lnTo>
                  <a:pt x="3636" y="1944"/>
                </a:lnTo>
                <a:lnTo>
                  <a:pt x="3624" y="1936"/>
                </a:lnTo>
                <a:lnTo>
                  <a:pt x="3612" y="1926"/>
                </a:lnTo>
                <a:lnTo>
                  <a:pt x="3601" y="1914"/>
                </a:lnTo>
                <a:lnTo>
                  <a:pt x="3591" y="1898"/>
                </a:lnTo>
                <a:lnTo>
                  <a:pt x="3586" y="1890"/>
                </a:lnTo>
                <a:lnTo>
                  <a:pt x="3582" y="1882"/>
                </a:lnTo>
                <a:close/>
                <a:moveTo>
                  <a:pt x="3934" y="1882"/>
                </a:moveTo>
                <a:lnTo>
                  <a:pt x="3927" y="1866"/>
                </a:lnTo>
                <a:lnTo>
                  <a:pt x="3920" y="1848"/>
                </a:lnTo>
                <a:lnTo>
                  <a:pt x="3915" y="1828"/>
                </a:lnTo>
                <a:lnTo>
                  <a:pt x="3912" y="1816"/>
                </a:lnTo>
                <a:lnTo>
                  <a:pt x="3910" y="1806"/>
                </a:lnTo>
                <a:lnTo>
                  <a:pt x="3907" y="1782"/>
                </a:lnTo>
                <a:lnTo>
                  <a:pt x="3904" y="1756"/>
                </a:lnTo>
                <a:lnTo>
                  <a:pt x="3903" y="1742"/>
                </a:lnTo>
                <a:lnTo>
                  <a:pt x="3903" y="1726"/>
                </a:lnTo>
                <a:lnTo>
                  <a:pt x="3902" y="1697"/>
                </a:lnTo>
                <a:lnTo>
                  <a:pt x="3902" y="1166"/>
                </a:lnTo>
                <a:lnTo>
                  <a:pt x="3968" y="1166"/>
                </a:lnTo>
                <a:lnTo>
                  <a:pt x="3968" y="1691"/>
                </a:lnTo>
                <a:lnTo>
                  <a:pt x="3968" y="1711"/>
                </a:lnTo>
                <a:lnTo>
                  <a:pt x="3969" y="1728"/>
                </a:lnTo>
                <a:lnTo>
                  <a:pt x="3970" y="1744"/>
                </a:lnTo>
                <a:lnTo>
                  <a:pt x="3972" y="1758"/>
                </a:lnTo>
                <a:lnTo>
                  <a:pt x="3973" y="1772"/>
                </a:lnTo>
                <a:lnTo>
                  <a:pt x="3976" y="1784"/>
                </a:lnTo>
                <a:lnTo>
                  <a:pt x="3979" y="1796"/>
                </a:lnTo>
                <a:lnTo>
                  <a:pt x="3982" y="1804"/>
                </a:lnTo>
                <a:lnTo>
                  <a:pt x="3986" y="1814"/>
                </a:lnTo>
                <a:lnTo>
                  <a:pt x="3991" y="1822"/>
                </a:lnTo>
                <a:lnTo>
                  <a:pt x="3996" y="1830"/>
                </a:lnTo>
                <a:lnTo>
                  <a:pt x="4002" y="1836"/>
                </a:lnTo>
                <a:lnTo>
                  <a:pt x="4005" y="1838"/>
                </a:lnTo>
                <a:lnTo>
                  <a:pt x="4008" y="1840"/>
                </a:lnTo>
                <a:lnTo>
                  <a:pt x="4015" y="1844"/>
                </a:lnTo>
                <a:lnTo>
                  <a:pt x="4023" y="1846"/>
                </a:lnTo>
                <a:lnTo>
                  <a:pt x="4031" y="1846"/>
                </a:lnTo>
                <a:lnTo>
                  <a:pt x="4040" y="1846"/>
                </a:lnTo>
                <a:lnTo>
                  <a:pt x="4047" y="1844"/>
                </a:lnTo>
                <a:lnTo>
                  <a:pt x="4054" y="1840"/>
                </a:lnTo>
                <a:lnTo>
                  <a:pt x="4061" y="1836"/>
                </a:lnTo>
                <a:lnTo>
                  <a:pt x="4067" y="1830"/>
                </a:lnTo>
                <a:lnTo>
                  <a:pt x="4072" y="1822"/>
                </a:lnTo>
                <a:lnTo>
                  <a:pt x="4077" y="1814"/>
                </a:lnTo>
                <a:lnTo>
                  <a:pt x="4081" y="1804"/>
                </a:lnTo>
                <a:lnTo>
                  <a:pt x="4084" y="1796"/>
                </a:lnTo>
                <a:lnTo>
                  <a:pt x="4087" y="1784"/>
                </a:lnTo>
                <a:lnTo>
                  <a:pt x="4090" y="1772"/>
                </a:lnTo>
                <a:lnTo>
                  <a:pt x="4091" y="1758"/>
                </a:lnTo>
                <a:lnTo>
                  <a:pt x="4093" y="1744"/>
                </a:lnTo>
                <a:lnTo>
                  <a:pt x="4094" y="1728"/>
                </a:lnTo>
                <a:lnTo>
                  <a:pt x="4094" y="1711"/>
                </a:lnTo>
                <a:lnTo>
                  <a:pt x="4094" y="1691"/>
                </a:lnTo>
                <a:lnTo>
                  <a:pt x="4094" y="1166"/>
                </a:lnTo>
                <a:lnTo>
                  <a:pt x="4160" y="1166"/>
                </a:lnTo>
                <a:lnTo>
                  <a:pt x="4160" y="1697"/>
                </a:lnTo>
                <a:lnTo>
                  <a:pt x="4159" y="1726"/>
                </a:lnTo>
                <a:lnTo>
                  <a:pt x="4159" y="1742"/>
                </a:lnTo>
                <a:lnTo>
                  <a:pt x="4158" y="1756"/>
                </a:lnTo>
                <a:lnTo>
                  <a:pt x="4155" y="1782"/>
                </a:lnTo>
                <a:lnTo>
                  <a:pt x="4152" y="1806"/>
                </a:lnTo>
                <a:lnTo>
                  <a:pt x="4149" y="1816"/>
                </a:lnTo>
                <a:lnTo>
                  <a:pt x="4147" y="1828"/>
                </a:lnTo>
                <a:lnTo>
                  <a:pt x="4142" y="1848"/>
                </a:lnTo>
                <a:lnTo>
                  <a:pt x="4139" y="1856"/>
                </a:lnTo>
                <a:lnTo>
                  <a:pt x="4135" y="1866"/>
                </a:lnTo>
                <a:lnTo>
                  <a:pt x="4132" y="1874"/>
                </a:lnTo>
                <a:lnTo>
                  <a:pt x="4128" y="1882"/>
                </a:lnTo>
                <a:lnTo>
                  <a:pt x="4124" y="1890"/>
                </a:lnTo>
                <a:lnTo>
                  <a:pt x="4119" y="1898"/>
                </a:lnTo>
                <a:lnTo>
                  <a:pt x="4109" y="1914"/>
                </a:lnTo>
                <a:lnTo>
                  <a:pt x="4098" y="1926"/>
                </a:lnTo>
                <a:lnTo>
                  <a:pt x="4092" y="1930"/>
                </a:lnTo>
                <a:lnTo>
                  <a:pt x="4086" y="1936"/>
                </a:lnTo>
                <a:lnTo>
                  <a:pt x="4073" y="1944"/>
                </a:lnTo>
                <a:lnTo>
                  <a:pt x="4067" y="1946"/>
                </a:lnTo>
                <a:lnTo>
                  <a:pt x="4060" y="1950"/>
                </a:lnTo>
                <a:lnTo>
                  <a:pt x="4046" y="1952"/>
                </a:lnTo>
                <a:lnTo>
                  <a:pt x="4039" y="1954"/>
                </a:lnTo>
                <a:lnTo>
                  <a:pt x="4031" y="1954"/>
                </a:lnTo>
                <a:lnTo>
                  <a:pt x="4017" y="1952"/>
                </a:lnTo>
                <a:lnTo>
                  <a:pt x="4003" y="1950"/>
                </a:lnTo>
                <a:lnTo>
                  <a:pt x="3996" y="1946"/>
                </a:lnTo>
                <a:lnTo>
                  <a:pt x="3989" y="1944"/>
                </a:lnTo>
                <a:lnTo>
                  <a:pt x="3977" y="1936"/>
                </a:lnTo>
                <a:lnTo>
                  <a:pt x="3965" y="1926"/>
                </a:lnTo>
                <a:lnTo>
                  <a:pt x="3954" y="1914"/>
                </a:lnTo>
                <a:lnTo>
                  <a:pt x="3943" y="1898"/>
                </a:lnTo>
                <a:lnTo>
                  <a:pt x="3938" y="1890"/>
                </a:lnTo>
                <a:lnTo>
                  <a:pt x="3934" y="1882"/>
                </a:lnTo>
                <a:close/>
                <a:moveTo>
                  <a:pt x="4370" y="1954"/>
                </a:moveTo>
                <a:lnTo>
                  <a:pt x="4354" y="1954"/>
                </a:lnTo>
                <a:lnTo>
                  <a:pt x="4339" y="1950"/>
                </a:lnTo>
                <a:lnTo>
                  <a:pt x="4324" y="1944"/>
                </a:lnTo>
                <a:lnTo>
                  <a:pt x="4317" y="1940"/>
                </a:lnTo>
                <a:lnTo>
                  <a:pt x="4310" y="1936"/>
                </a:lnTo>
                <a:lnTo>
                  <a:pt x="4298" y="1928"/>
                </a:lnTo>
                <a:lnTo>
                  <a:pt x="4292" y="1922"/>
                </a:lnTo>
                <a:lnTo>
                  <a:pt x="4287" y="1916"/>
                </a:lnTo>
                <a:lnTo>
                  <a:pt x="4277" y="1902"/>
                </a:lnTo>
                <a:lnTo>
                  <a:pt x="4273" y="1896"/>
                </a:lnTo>
                <a:lnTo>
                  <a:pt x="4268" y="1888"/>
                </a:lnTo>
                <a:lnTo>
                  <a:pt x="4264" y="1880"/>
                </a:lnTo>
                <a:lnTo>
                  <a:pt x="4261" y="1872"/>
                </a:lnTo>
                <a:lnTo>
                  <a:pt x="4257" y="1864"/>
                </a:lnTo>
                <a:lnTo>
                  <a:pt x="4254" y="1854"/>
                </a:lnTo>
                <a:lnTo>
                  <a:pt x="4248" y="1834"/>
                </a:lnTo>
                <a:lnTo>
                  <a:pt x="4244" y="1814"/>
                </a:lnTo>
                <a:lnTo>
                  <a:pt x="4242" y="1804"/>
                </a:lnTo>
                <a:lnTo>
                  <a:pt x="4240" y="1792"/>
                </a:lnTo>
                <a:lnTo>
                  <a:pt x="4237" y="1770"/>
                </a:lnTo>
                <a:lnTo>
                  <a:pt x="4236" y="1746"/>
                </a:lnTo>
                <a:lnTo>
                  <a:pt x="4235" y="1732"/>
                </a:lnTo>
                <a:lnTo>
                  <a:pt x="4235" y="1720"/>
                </a:lnTo>
                <a:lnTo>
                  <a:pt x="4298" y="1693"/>
                </a:lnTo>
                <a:lnTo>
                  <a:pt x="4298" y="1714"/>
                </a:lnTo>
                <a:lnTo>
                  <a:pt x="4299" y="1734"/>
                </a:lnTo>
                <a:lnTo>
                  <a:pt x="4301" y="1750"/>
                </a:lnTo>
                <a:lnTo>
                  <a:pt x="4303" y="1766"/>
                </a:lnTo>
                <a:lnTo>
                  <a:pt x="4305" y="1774"/>
                </a:lnTo>
                <a:lnTo>
                  <a:pt x="4306" y="1782"/>
                </a:lnTo>
                <a:lnTo>
                  <a:pt x="4310" y="1794"/>
                </a:lnTo>
                <a:lnTo>
                  <a:pt x="4314" y="1804"/>
                </a:lnTo>
                <a:lnTo>
                  <a:pt x="4318" y="1814"/>
                </a:lnTo>
                <a:lnTo>
                  <a:pt x="4324" y="1824"/>
                </a:lnTo>
                <a:lnTo>
                  <a:pt x="4330" y="1830"/>
                </a:lnTo>
                <a:lnTo>
                  <a:pt x="4336" y="1836"/>
                </a:lnTo>
                <a:lnTo>
                  <a:pt x="4343" y="1840"/>
                </a:lnTo>
                <a:lnTo>
                  <a:pt x="4350" y="1844"/>
                </a:lnTo>
                <a:lnTo>
                  <a:pt x="4357" y="1846"/>
                </a:lnTo>
                <a:lnTo>
                  <a:pt x="4365" y="1848"/>
                </a:lnTo>
                <a:lnTo>
                  <a:pt x="4374" y="1848"/>
                </a:lnTo>
                <a:lnTo>
                  <a:pt x="4381" y="1848"/>
                </a:lnTo>
                <a:lnTo>
                  <a:pt x="4388" y="1846"/>
                </a:lnTo>
                <a:lnTo>
                  <a:pt x="4395" y="1844"/>
                </a:lnTo>
                <a:lnTo>
                  <a:pt x="4401" y="1842"/>
                </a:lnTo>
                <a:lnTo>
                  <a:pt x="4407" y="1838"/>
                </a:lnTo>
                <a:lnTo>
                  <a:pt x="4413" y="1832"/>
                </a:lnTo>
                <a:lnTo>
                  <a:pt x="4418" y="1826"/>
                </a:lnTo>
                <a:lnTo>
                  <a:pt x="4423" y="1820"/>
                </a:lnTo>
                <a:lnTo>
                  <a:pt x="4427" y="1812"/>
                </a:lnTo>
                <a:lnTo>
                  <a:pt x="4431" y="1804"/>
                </a:lnTo>
                <a:lnTo>
                  <a:pt x="4434" y="1796"/>
                </a:lnTo>
                <a:lnTo>
                  <a:pt x="4437" y="1786"/>
                </a:lnTo>
                <a:lnTo>
                  <a:pt x="4439" y="1774"/>
                </a:lnTo>
                <a:lnTo>
                  <a:pt x="4440" y="1770"/>
                </a:lnTo>
                <a:lnTo>
                  <a:pt x="4441" y="1764"/>
                </a:lnTo>
                <a:lnTo>
                  <a:pt x="4442" y="1752"/>
                </a:lnTo>
                <a:lnTo>
                  <a:pt x="4442" y="1738"/>
                </a:lnTo>
                <a:lnTo>
                  <a:pt x="4442" y="1728"/>
                </a:lnTo>
                <a:lnTo>
                  <a:pt x="4442" y="1718"/>
                </a:lnTo>
                <a:lnTo>
                  <a:pt x="4441" y="1711"/>
                </a:lnTo>
                <a:lnTo>
                  <a:pt x="4439" y="1701"/>
                </a:lnTo>
                <a:lnTo>
                  <a:pt x="4437" y="1693"/>
                </a:lnTo>
                <a:lnTo>
                  <a:pt x="4435" y="1685"/>
                </a:lnTo>
                <a:lnTo>
                  <a:pt x="4433" y="1677"/>
                </a:lnTo>
                <a:lnTo>
                  <a:pt x="4430" y="1669"/>
                </a:lnTo>
                <a:lnTo>
                  <a:pt x="4422" y="1653"/>
                </a:lnTo>
                <a:lnTo>
                  <a:pt x="4418" y="1645"/>
                </a:lnTo>
                <a:lnTo>
                  <a:pt x="4413" y="1639"/>
                </a:lnTo>
                <a:lnTo>
                  <a:pt x="4402" y="1625"/>
                </a:lnTo>
                <a:lnTo>
                  <a:pt x="4389" y="1613"/>
                </a:lnTo>
                <a:lnTo>
                  <a:pt x="4325" y="1555"/>
                </a:lnTo>
                <a:lnTo>
                  <a:pt x="4315" y="1547"/>
                </a:lnTo>
                <a:lnTo>
                  <a:pt x="4305" y="1537"/>
                </a:lnTo>
                <a:lnTo>
                  <a:pt x="4289" y="1517"/>
                </a:lnTo>
                <a:lnTo>
                  <a:pt x="4275" y="1497"/>
                </a:lnTo>
                <a:lnTo>
                  <a:pt x="4270" y="1485"/>
                </a:lnTo>
                <a:lnTo>
                  <a:pt x="4264" y="1473"/>
                </a:lnTo>
                <a:lnTo>
                  <a:pt x="4260" y="1461"/>
                </a:lnTo>
                <a:lnTo>
                  <a:pt x="4255" y="1447"/>
                </a:lnTo>
                <a:lnTo>
                  <a:pt x="4252" y="1433"/>
                </a:lnTo>
                <a:lnTo>
                  <a:pt x="4249" y="1417"/>
                </a:lnTo>
                <a:lnTo>
                  <a:pt x="4247" y="1401"/>
                </a:lnTo>
                <a:lnTo>
                  <a:pt x="4246" y="1393"/>
                </a:lnTo>
                <a:lnTo>
                  <a:pt x="4245" y="1385"/>
                </a:lnTo>
                <a:lnTo>
                  <a:pt x="4244" y="1367"/>
                </a:lnTo>
                <a:lnTo>
                  <a:pt x="4244" y="1347"/>
                </a:lnTo>
                <a:lnTo>
                  <a:pt x="4244" y="1335"/>
                </a:lnTo>
                <a:lnTo>
                  <a:pt x="4245" y="1323"/>
                </a:lnTo>
                <a:lnTo>
                  <a:pt x="4246" y="1311"/>
                </a:lnTo>
                <a:lnTo>
                  <a:pt x="4247" y="1299"/>
                </a:lnTo>
                <a:lnTo>
                  <a:pt x="4248" y="1289"/>
                </a:lnTo>
                <a:lnTo>
                  <a:pt x="4250" y="1279"/>
                </a:lnTo>
                <a:lnTo>
                  <a:pt x="4254" y="1259"/>
                </a:lnTo>
                <a:lnTo>
                  <a:pt x="4257" y="1249"/>
                </a:lnTo>
                <a:lnTo>
                  <a:pt x="4260" y="1241"/>
                </a:lnTo>
                <a:lnTo>
                  <a:pt x="4266" y="1225"/>
                </a:lnTo>
                <a:lnTo>
                  <a:pt x="4273" y="1210"/>
                </a:lnTo>
                <a:lnTo>
                  <a:pt x="4277" y="1204"/>
                </a:lnTo>
                <a:lnTo>
                  <a:pt x="4282" y="1198"/>
                </a:lnTo>
                <a:lnTo>
                  <a:pt x="4291" y="1186"/>
                </a:lnTo>
                <a:lnTo>
                  <a:pt x="4301" y="1176"/>
                </a:lnTo>
                <a:lnTo>
                  <a:pt x="4311" y="1166"/>
                </a:lnTo>
                <a:lnTo>
                  <a:pt x="4323" y="1160"/>
                </a:lnTo>
                <a:lnTo>
                  <a:pt x="4335" y="1154"/>
                </a:lnTo>
                <a:lnTo>
                  <a:pt x="4347" y="1150"/>
                </a:lnTo>
                <a:lnTo>
                  <a:pt x="4360" y="1148"/>
                </a:lnTo>
                <a:lnTo>
                  <a:pt x="4373" y="1148"/>
                </a:lnTo>
                <a:lnTo>
                  <a:pt x="4388" y="1150"/>
                </a:lnTo>
                <a:lnTo>
                  <a:pt x="4403" y="1152"/>
                </a:lnTo>
                <a:lnTo>
                  <a:pt x="4416" y="1158"/>
                </a:lnTo>
                <a:lnTo>
                  <a:pt x="4422" y="1162"/>
                </a:lnTo>
                <a:lnTo>
                  <a:pt x="4428" y="1166"/>
                </a:lnTo>
                <a:lnTo>
                  <a:pt x="4440" y="1174"/>
                </a:lnTo>
                <a:lnTo>
                  <a:pt x="4450" y="1186"/>
                </a:lnTo>
                <a:lnTo>
                  <a:pt x="4459" y="1198"/>
                </a:lnTo>
                <a:lnTo>
                  <a:pt x="4467" y="1212"/>
                </a:lnTo>
                <a:lnTo>
                  <a:pt x="4471" y="1218"/>
                </a:lnTo>
                <a:lnTo>
                  <a:pt x="4474" y="1225"/>
                </a:lnTo>
                <a:lnTo>
                  <a:pt x="4477" y="1233"/>
                </a:lnTo>
                <a:lnTo>
                  <a:pt x="4480" y="1241"/>
                </a:lnTo>
                <a:lnTo>
                  <a:pt x="4485" y="1259"/>
                </a:lnTo>
                <a:lnTo>
                  <a:pt x="4490" y="1275"/>
                </a:lnTo>
                <a:lnTo>
                  <a:pt x="4493" y="1293"/>
                </a:lnTo>
                <a:lnTo>
                  <a:pt x="4495" y="1313"/>
                </a:lnTo>
                <a:lnTo>
                  <a:pt x="4497" y="1331"/>
                </a:lnTo>
                <a:lnTo>
                  <a:pt x="4497" y="1349"/>
                </a:lnTo>
                <a:lnTo>
                  <a:pt x="4435" y="1375"/>
                </a:lnTo>
                <a:lnTo>
                  <a:pt x="4435" y="1359"/>
                </a:lnTo>
                <a:lnTo>
                  <a:pt x="4433" y="1345"/>
                </a:lnTo>
                <a:lnTo>
                  <a:pt x="4432" y="1331"/>
                </a:lnTo>
                <a:lnTo>
                  <a:pt x="4430" y="1319"/>
                </a:lnTo>
                <a:lnTo>
                  <a:pt x="4427" y="1309"/>
                </a:lnTo>
                <a:lnTo>
                  <a:pt x="4426" y="1303"/>
                </a:lnTo>
                <a:lnTo>
                  <a:pt x="4424" y="1299"/>
                </a:lnTo>
                <a:lnTo>
                  <a:pt x="4421" y="1289"/>
                </a:lnTo>
                <a:lnTo>
                  <a:pt x="4417" y="1281"/>
                </a:lnTo>
                <a:lnTo>
                  <a:pt x="4413" y="1275"/>
                </a:lnTo>
                <a:lnTo>
                  <a:pt x="4408" y="1269"/>
                </a:lnTo>
                <a:lnTo>
                  <a:pt x="4403" y="1265"/>
                </a:lnTo>
                <a:lnTo>
                  <a:pt x="4397" y="1261"/>
                </a:lnTo>
                <a:lnTo>
                  <a:pt x="4391" y="1257"/>
                </a:lnTo>
                <a:lnTo>
                  <a:pt x="4385" y="1255"/>
                </a:lnTo>
                <a:lnTo>
                  <a:pt x="4378" y="1255"/>
                </a:lnTo>
                <a:lnTo>
                  <a:pt x="4370" y="1253"/>
                </a:lnTo>
                <a:lnTo>
                  <a:pt x="4358" y="1255"/>
                </a:lnTo>
                <a:lnTo>
                  <a:pt x="4346" y="1259"/>
                </a:lnTo>
                <a:lnTo>
                  <a:pt x="4341" y="1263"/>
                </a:lnTo>
                <a:lnTo>
                  <a:pt x="4336" y="1267"/>
                </a:lnTo>
                <a:lnTo>
                  <a:pt x="4331" y="1271"/>
                </a:lnTo>
                <a:lnTo>
                  <a:pt x="4327" y="1275"/>
                </a:lnTo>
                <a:lnTo>
                  <a:pt x="4323" y="1281"/>
                </a:lnTo>
                <a:lnTo>
                  <a:pt x="4319" y="1287"/>
                </a:lnTo>
                <a:lnTo>
                  <a:pt x="4316" y="1295"/>
                </a:lnTo>
                <a:lnTo>
                  <a:pt x="4313" y="1303"/>
                </a:lnTo>
                <a:lnTo>
                  <a:pt x="4311" y="1311"/>
                </a:lnTo>
                <a:lnTo>
                  <a:pt x="4310" y="1321"/>
                </a:lnTo>
                <a:lnTo>
                  <a:pt x="4309" y="1331"/>
                </a:lnTo>
                <a:lnTo>
                  <a:pt x="4308" y="1341"/>
                </a:lnTo>
                <a:lnTo>
                  <a:pt x="4309" y="1351"/>
                </a:lnTo>
                <a:lnTo>
                  <a:pt x="4309" y="1361"/>
                </a:lnTo>
                <a:lnTo>
                  <a:pt x="4310" y="1371"/>
                </a:lnTo>
                <a:lnTo>
                  <a:pt x="4311" y="1379"/>
                </a:lnTo>
                <a:lnTo>
                  <a:pt x="4313" y="1387"/>
                </a:lnTo>
                <a:lnTo>
                  <a:pt x="4315" y="1395"/>
                </a:lnTo>
                <a:lnTo>
                  <a:pt x="4318" y="1403"/>
                </a:lnTo>
                <a:lnTo>
                  <a:pt x="4321" y="1409"/>
                </a:lnTo>
                <a:lnTo>
                  <a:pt x="4325" y="1415"/>
                </a:lnTo>
                <a:lnTo>
                  <a:pt x="4328" y="1421"/>
                </a:lnTo>
                <a:lnTo>
                  <a:pt x="4337" y="1433"/>
                </a:lnTo>
                <a:lnTo>
                  <a:pt x="4347" y="1445"/>
                </a:lnTo>
                <a:lnTo>
                  <a:pt x="4359" y="1457"/>
                </a:lnTo>
                <a:lnTo>
                  <a:pt x="4421" y="1511"/>
                </a:lnTo>
                <a:lnTo>
                  <a:pt x="4431" y="1521"/>
                </a:lnTo>
                <a:lnTo>
                  <a:pt x="4442" y="1531"/>
                </a:lnTo>
                <a:lnTo>
                  <a:pt x="4451" y="1541"/>
                </a:lnTo>
                <a:lnTo>
                  <a:pt x="4459" y="1553"/>
                </a:lnTo>
                <a:lnTo>
                  <a:pt x="4467" y="1565"/>
                </a:lnTo>
                <a:lnTo>
                  <a:pt x="4474" y="1575"/>
                </a:lnTo>
                <a:lnTo>
                  <a:pt x="4480" y="1589"/>
                </a:lnTo>
                <a:lnTo>
                  <a:pt x="4486" y="1601"/>
                </a:lnTo>
                <a:lnTo>
                  <a:pt x="4491" y="1615"/>
                </a:lnTo>
                <a:lnTo>
                  <a:pt x="4495" y="1629"/>
                </a:lnTo>
                <a:lnTo>
                  <a:pt x="4499" y="1643"/>
                </a:lnTo>
                <a:lnTo>
                  <a:pt x="4502" y="1659"/>
                </a:lnTo>
                <a:lnTo>
                  <a:pt x="4504" y="1675"/>
                </a:lnTo>
                <a:lnTo>
                  <a:pt x="4505" y="1685"/>
                </a:lnTo>
                <a:lnTo>
                  <a:pt x="4505" y="1693"/>
                </a:lnTo>
                <a:lnTo>
                  <a:pt x="4506" y="1711"/>
                </a:lnTo>
                <a:lnTo>
                  <a:pt x="4507" y="1730"/>
                </a:lnTo>
                <a:lnTo>
                  <a:pt x="4506" y="1756"/>
                </a:lnTo>
                <a:lnTo>
                  <a:pt x="4504" y="1780"/>
                </a:lnTo>
                <a:lnTo>
                  <a:pt x="4503" y="1792"/>
                </a:lnTo>
                <a:lnTo>
                  <a:pt x="4501" y="1802"/>
                </a:lnTo>
                <a:lnTo>
                  <a:pt x="4499" y="1814"/>
                </a:lnTo>
                <a:lnTo>
                  <a:pt x="4497" y="1824"/>
                </a:lnTo>
                <a:lnTo>
                  <a:pt x="4494" y="1834"/>
                </a:lnTo>
                <a:lnTo>
                  <a:pt x="4492" y="1844"/>
                </a:lnTo>
                <a:lnTo>
                  <a:pt x="4485" y="1862"/>
                </a:lnTo>
                <a:lnTo>
                  <a:pt x="4482" y="1870"/>
                </a:lnTo>
                <a:lnTo>
                  <a:pt x="4478" y="1880"/>
                </a:lnTo>
                <a:lnTo>
                  <a:pt x="4470" y="1894"/>
                </a:lnTo>
                <a:lnTo>
                  <a:pt x="4465" y="1902"/>
                </a:lnTo>
                <a:lnTo>
                  <a:pt x="4460" y="1908"/>
                </a:lnTo>
                <a:lnTo>
                  <a:pt x="4455" y="1914"/>
                </a:lnTo>
                <a:lnTo>
                  <a:pt x="4450" y="1920"/>
                </a:lnTo>
                <a:lnTo>
                  <a:pt x="4439" y="1930"/>
                </a:lnTo>
                <a:lnTo>
                  <a:pt x="4427" y="1938"/>
                </a:lnTo>
                <a:lnTo>
                  <a:pt x="4414" y="1946"/>
                </a:lnTo>
                <a:lnTo>
                  <a:pt x="4400" y="1950"/>
                </a:lnTo>
                <a:lnTo>
                  <a:pt x="4393" y="1952"/>
                </a:lnTo>
                <a:lnTo>
                  <a:pt x="4386" y="1952"/>
                </a:lnTo>
                <a:lnTo>
                  <a:pt x="4370" y="19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F5A17A4-EA2D-AFFF-38DF-9699B925DC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98587" y="4797152"/>
            <a:ext cx="9793263" cy="1296144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Yhteystiedot</a:t>
            </a:r>
          </a:p>
        </p:txBody>
      </p:sp>
    </p:spTree>
    <p:extLst>
      <p:ext uri="{BB962C8B-B14F-4D97-AF65-F5344CB8AC3E}">
        <p14:creationId xmlns:p14="http://schemas.microsoft.com/office/powerpoint/2010/main" val="2608488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6924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iitos 2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89437-0A9F-6907-E834-ECE3DB6251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00150" y="2060575"/>
            <a:ext cx="9791700" cy="2592561"/>
          </a:xfrm>
        </p:spPr>
        <p:txBody>
          <a:bodyPr anchor="b" anchorCtr="0"/>
          <a:lstStyle>
            <a:lvl1pPr algn="l">
              <a:defRPr sz="80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Lisää kiitos viesti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98F4D-E89B-8263-EB37-8F8B305D4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244A659-D19C-4B19-A12D-36D54DADEBEF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B5C31-D7B7-0A4A-9FF1-A8910751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9B765-A518-625F-2D82-59131FF13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CD5646D-347F-0693-85B7-82EEFAEE1F7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07368" y="333375"/>
            <a:ext cx="2325003" cy="504000"/>
          </a:xfrm>
          <a:custGeom>
            <a:avLst/>
            <a:gdLst>
              <a:gd name="T0" fmla="*/ 11 w 4507"/>
              <a:gd name="T1" fmla="*/ 18 h 1954"/>
              <a:gd name="T2" fmla="*/ 659 w 4507"/>
              <a:gd name="T3" fmla="*/ 297 h 1954"/>
              <a:gd name="T4" fmla="*/ 666 w 4507"/>
              <a:gd name="T5" fmla="*/ 916 h 1954"/>
              <a:gd name="T6" fmla="*/ 347 w 4507"/>
              <a:gd name="T7" fmla="*/ 880 h 1954"/>
              <a:gd name="T8" fmla="*/ 471 w 4507"/>
              <a:gd name="T9" fmla="*/ 675 h 1954"/>
              <a:gd name="T10" fmla="*/ 375 w 4507"/>
              <a:gd name="T11" fmla="*/ 401 h 1954"/>
              <a:gd name="T12" fmla="*/ 1722 w 4507"/>
              <a:gd name="T13" fmla="*/ 26 h 1954"/>
              <a:gd name="T14" fmla="*/ 1804 w 4507"/>
              <a:gd name="T15" fmla="*/ 309 h 1954"/>
              <a:gd name="T16" fmla="*/ 1741 w 4507"/>
              <a:gd name="T17" fmla="*/ 269 h 1954"/>
              <a:gd name="T18" fmla="*/ 1854 w 4507"/>
              <a:gd name="T19" fmla="*/ 788 h 1954"/>
              <a:gd name="T20" fmla="*/ 2410 w 4507"/>
              <a:gd name="T21" fmla="*/ 18 h 1954"/>
              <a:gd name="T22" fmla="*/ 3053 w 4507"/>
              <a:gd name="T23" fmla="*/ 553 h 1954"/>
              <a:gd name="T24" fmla="*/ 3419 w 4507"/>
              <a:gd name="T25" fmla="*/ 539 h 1954"/>
              <a:gd name="T26" fmla="*/ 3595 w 4507"/>
              <a:gd name="T27" fmla="*/ 659 h 1954"/>
              <a:gd name="T28" fmla="*/ 3699 w 4507"/>
              <a:gd name="T29" fmla="*/ 697 h 1954"/>
              <a:gd name="T30" fmla="*/ 3842 w 4507"/>
              <a:gd name="T31" fmla="*/ 595 h 1954"/>
              <a:gd name="T32" fmla="*/ 3700 w 4507"/>
              <a:gd name="T33" fmla="*/ 806 h 1954"/>
              <a:gd name="T34" fmla="*/ 3943 w 4507"/>
              <a:gd name="T35" fmla="*/ 725 h 1954"/>
              <a:gd name="T36" fmla="*/ 4018 w 4507"/>
              <a:gd name="T37" fmla="*/ 689 h 1954"/>
              <a:gd name="T38" fmla="*/ 4124 w 4507"/>
              <a:gd name="T39" fmla="*/ 581 h 1954"/>
              <a:gd name="T40" fmla="*/ 3931 w 4507"/>
              <a:gd name="T41" fmla="*/ 269 h 1954"/>
              <a:gd name="T42" fmla="*/ 4017 w 4507"/>
              <a:gd name="T43" fmla="*/ 6 h 1954"/>
              <a:gd name="T44" fmla="*/ 4117 w 4507"/>
              <a:gd name="T45" fmla="*/ 228 h 1954"/>
              <a:gd name="T46" fmla="*/ 4005 w 4507"/>
              <a:gd name="T47" fmla="*/ 134 h 1954"/>
              <a:gd name="T48" fmla="*/ 4123 w 4507"/>
              <a:gd name="T49" fmla="*/ 383 h 1954"/>
              <a:gd name="T50" fmla="*/ 4174 w 4507"/>
              <a:gd name="T51" fmla="*/ 697 h 1954"/>
              <a:gd name="T52" fmla="*/ 1767 w 4507"/>
              <a:gd name="T53" fmla="*/ 1273 h 1954"/>
              <a:gd name="T54" fmla="*/ 2197 w 4507"/>
              <a:gd name="T55" fmla="*/ 1926 h 1954"/>
              <a:gd name="T56" fmla="*/ 2114 w 4507"/>
              <a:gd name="T57" fmla="*/ 1551 h 1954"/>
              <a:gd name="T58" fmla="*/ 2226 w 4507"/>
              <a:gd name="T59" fmla="*/ 1156 h 1954"/>
              <a:gd name="T60" fmla="*/ 2385 w 4507"/>
              <a:gd name="T61" fmla="*/ 1313 h 1954"/>
              <a:gd name="T62" fmla="*/ 2373 w 4507"/>
              <a:gd name="T63" fmla="*/ 1834 h 1954"/>
              <a:gd name="T64" fmla="*/ 2227 w 4507"/>
              <a:gd name="T65" fmla="*/ 1271 h 1954"/>
              <a:gd name="T66" fmla="*/ 2192 w 4507"/>
              <a:gd name="T67" fmla="*/ 1738 h 1954"/>
              <a:gd name="T68" fmla="*/ 2323 w 4507"/>
              <a:gd name="T69" fmla="*/ 1760 h 1954"/>
              <a:gd name="T70" fmla="*/ 2273 w 4507"/>
              <a:gd name="T71" fmla="*/ 1259 h 1954"/>
              <a:gd name="T72" fmla="*/ 3321 w 4507"/>
              <a:gd name="T73" fmla="*/ 1954 h 1954"/>
              <a:gd name="T74" fmla="*/ 3265 w 4507"/>
              <a:gd name="T75" fmla="*/ 1693 h 1954"/>
              <a:gd name="T76" fmla="*/ 3380 w 4507"/>
              <a:gd name="T77" fmla="*/ 1832 h 1954"/>
              <a:gd name="T78" fmla="*/ 3369 w 4507"/>
              <a:gd name="T79" fmla="*/ 1625 h 1954"/>
              <a:gd name="T80" fmla="*/ 3218 w 4507"/>
              <a:gd name="T81" fmla="*/ 1279 h 1954"/>
              <a:gd name="T82" fmla="*/ 3426 w 4507"/>
              <a:gd name="T83" fmla="*/ 1198 h 1954"/>
              <a:gd name="T84" fmla="*/ 3370 w 4507"/>
              <a:gd name="T85" fmla="*/ 1265 h 1954"/>
              <a:gd name="T86" fmla="*/ 3279 w 4507"/>
              <a:gd name="T87" fmla="*/ 1379 h 1954"/>
              <a:gd name="T88" fmla="*/ 3471 w 4507"/>
              <a:gd name="T89" fmla="*/ 1675 h 1954"/>
              <a:gd name="T90" fmla="*/ 3381 w 4507"/>
              <a:gd name="T91" fmla="*/ 1946 h 1954"/>
              <a:gd name="T92" fmla="*/ 3620 w 4507"/>
              <a:gd name="T93" fmla="*/ 1772 h 1954"/>
              <a:gd name="T94" fmla="*/ 3736 w 4507"/>
              <a:gd name="T95" fmla="*/ 1772 h 1954"/>
              <a:gd name="T96" fmla="*/ 3756 w 4507"/>
              <a:gd name="T97" fmla="*/ 1914 h 1954"/>
              <a:gd name="T98" fmla="*/ 3915 w 4507"/>
              <a:gd name="T99" fmla="*/ 1828 h 1954"/>
              <a:gd name="T100" fmla="*/ 4005 w 4507"/>
              <a:gd name="T101" fmla="*/ 1838 h 1954"/>
              <a:gd name="T102" fmla="*/ 4160 w 4507"/>
              <a:gd name="T103" fmla="*/ 1697 h 1954"/>
              <a:gd name="T104" fmla="*/ 4039 w 4507"/>
              <a:gd name="T105" fmla="*/ 1954 h 1954"/>
              <a:gd name="T106" fmla="*/ 4268 w 4507"/>
              <a:gd name="T107" fmla="*/ 1888 h 1954"/>
              <a:gd name="T108" fmla="*/ 4324 w 4507"/>
              <a:gd name="T109" fmla="*/ 1824 h 1954"/>
              <a:gd name="T110" fmla="*/ 4442 w 4507"/>
              <a:gd name="T111" fmla="*/ 1752 h 1954"/>
              <a:gd name="T112" fmla="*/ 4255 w 4507"/>
              <a:gd name="T113" fmla="*/ 1447 h 1954"/>
              <a:gd name="T114" fmla="*/ 4311 w 4507"/>
              <a:gd name="T115" fmla="*/ 1166 h 1954"/>
              <a:gd name="T116" fmla="*/ 4497 w 4507"/>
              <a:gd name="T117" fmla="*/ 1331 h 1954"/>
              <a:gd name="T118" fmla="*/ 4336 w 4507"/>
              <a:gd name="T119" fmla="*/ 1267 h 1954"/>
              <a:gd name="T120" fmla="*/ 4359 w 4507"/>
              <a:gd name="T121" fmla="*/ 1457 h 1954"/>
              <a:gd name="T122" fmla="*/ 4499 w 4507"/>
              <a:gd name="T123" fmla="*/ 1814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507" h="1954">
                <a:moveTo>
                  <a:pt x="4307" y="327"/>
                </a:moveTo>
                <a:lnTo>
                  <a:pt x="4377" y="327"/>
                </a:lnTo>
                <a:lnTo>
                  <a:pt x="4377" y="463"/>
                </a:lnTo>
                <a:lnTo>
                  <a:pt x="4307" y="463"/>
                </a:lnTo>
                <a:lnTo>
                  <a:pt x="4307" y="327"/>
                </a:lnTo>
                <a:close/>
                <a:moveTo>
                  <a:pt x="1248" y="18"/>
                </a:moveTo>
                <a:lnTo>
                  <a:pt x="1248" y="473"/>
                </a:lnTo>
                <a:lnTo>
                  <a:pt x="1051" y="473"/>
                </a:lnTo>
                <a:lnTo>
                  <a:pt x="1051" y="1936"/>
                </a:lnTo>
                <a:lnTo>
                  <a:pt x="821" y="1936"/>
                </a:lnTo>
                <a:lnTo>
                  <a:pt x="821" y="473"/>
                </a:lnTo>
                <a:lnTo>
                  <a:pt x="655" y="18"/>
                </a:lnTo>
                <a:lnTo>
                  <a:pt x="1248" y="18"/>
                </a:lnTo>
                <a:close/>
                <a:moveTo>
                  <a:pt x="0" y="1481"/>
                </a:moveTo>
                <a:lnTo>
                  <a:pt x="230" y="1481"/>
                </a:lnTo>
                <a:lnTo>
                  <a:pt x="230" y="1936"/>
                </a:lnTo>
                <a:lnTo>
                  <a:pt x="0" y="1936"/>
                </a:lnTo>
                <a:lnTo>
                  <a:pt x="0" y="1481"/>
                </a:lnTo>
                <a:close/>
                <a:moveTo>
                  <a:pt x="487" y="1186"/>
                </a:moveTo>
                <a:lnTo>
                  <a:pt x="752" y="1936"/>
                </a:lnTo>
                <a:lnTo>
                  <a:pt x="495" y="1936"/>
                </a:lnTo>
                <a:lnTo>
                  <a:pt x="11" y="559"/>
                </a:lnTo>
                <a:lnTo>
                  <a:pt x="11" y="18"/>
                </a:lnTo>
                <a:lnTo>
                  <a:pt x="309" y="18"/>
                </a:lnTo>
                <a:lnTo>
                  <a:pt x="335" y="18"/>
                </a:lnTo>
                <a:lnTo>
                  <a:pt x="359" y="20"/>
                </a:lnTo>
                <a:lnTo>
                  <a:pt x="382" y="24"/>
                </a:lnTo>
                <a:lnTo>
                  <a:pt x="404" y="30"/>
                </a:lnTo>
                <a:lnTo>
                  <a:pt x="426" y="36"/>
                </a:lnTo>
                <a:lnTo>
                  <a:pt x="447" y="44"/>
                </a:lnTo>
                <a:lnTo>
                  <a:pt x="467" y="52"/>
                </a:lnTo>
                <a:lnTo>
                  <a:pt x="476" y="58"/>
                </a:lnTo>
                <a:lnTo>
                  <a:pt x="486" y="62"/>
                </a:lnTo>
                <a:lnTo>
                  <a:pt x="504" y="74"/>
                </a:lnTo>
                <a:lnTo>
                  <a:pt x="521" y="88"/>
                </a:lnTo>
                <a:lnTo>
                  <a:pt x="538" y="102"/>
                </a:lnTo>
                <a:lnTo>
                  <a:pt x="553" y="116"/>
                </a:lnTo>
                <a:lnTo>
                  <a:pt x="569" y="132"/>
                </a:lnTo>
                <a:lnTo>
                  <a:pt x="583" y="150"/>
                </a:lnTo>
                <a:lnTo>
                  <a:pt x="596" y="168"/>
                </a:lnTo>
                <a:lnTo>
                  <a:pt x="609" y="188"/>
                </a:lnTo>
                <a:lnTo>
                  <a:pt x="620" y="208"/>
                </a:lnTo>
                <a:lnTo>
                  <a:pt x="631" y="230"/>
                </a:lnTo>
                <a:lnTo>
                  <a:pt x="641" y="251"/>
                </a:lnTo>
                <a:lnTo>
                  <a:pt x="650" y="273"/>
                </a:lnTo>
                <a:lnTo>
                  <a:pt x="659" y="297"/>
                </a:lnTo>
                <a:lnTo>
                  <a:pt x="666" y="323"/>
                </a:lnTo>
                <a:lnTo>
                  <a:pt x="673" y="349"/>
                </a:lnTo>
                <a:lnTo>
                  <a:pt x="680" y="375"/>
                </a:lnTo>
                <a:lnTo>
                  <a:pt x="685" y="401"/>
                </a:lnTo>
                <a:lnTo>
                  <a:pt x="690" y="429"/>
                </a:lnTo>
                <a:lnTo>
                  <a:pt x="694" y="459"/>
                </a:lnTo>
                <a:lnTo>
                  <a:pt x="697" y="487"/>
                </a:lnTo>
                <a:lnTo>
                  <a:pt x="699" y="517"/>
                </a:lnTo>
                <a:lnTo>
                  <a:pt x="701" y="547"/>
                </a:lnTo>
                <a:lnTo>
                  <a:pt x="702" y="579"/>
                </a:lnTo>
                <a:lnTo>
                  <a:pt x="703" y="611"/>
                </a:lnTo>
                <a:lnTo>
                  <a:pt x="702" y="661"/>
                </a:lnTo>
                <a:lnTo>
                  <a:pt x="701" y="687"/>
                </a:lnTo>
                <a:lnTo>
                  <a:pt x="699" y="711"/>
                </a:lnTo>
                <a:lnTo>
                  <a:pt x="697" y="735"/>
                </a:lnTo>
                <a:lnTo>
                  <a:pt x="695" y="758"/>
                </a:lnTo>
                <a:lnTo>
                  <a:pt x="692" y="782"/>
                </a:lnTo>
                <a:lnTo>
                  <a:pt x="689" y="806"/>
                </a:lnTo>
                <a:lnTo>
                  <a:pt x="685" y="830"/>
                </a:lnTo>
                <a:lnTo>
                  <a:pt x="681" y="852"/>
                </a:lnTo>
                <a:lnTo>
                  <a:pt x="677" y="874"/>
                </a:lnTo>
                <a:lnTo>
                  <a:pt x="672" y="896"/>
                </a:lnTo>
                <a:lnTo>
                  <a:pt x="666" y="916"/>
                </a:lnTo>
                <a:lnTo>
                  <a:pt x="661" y="938"/>
                </a:lnTo>
                <a:lnTo>
                  <a:pt x="655" y="958"/>
                </a:lnTo>
                <a:lnTo>
                  <a:pt x="648" y="976"/>
                </a:lnTo>
                <a:lnTo>
                  <a:pt x="641" y="996"/>
                </a:lnTo>
                <a:lnTo>
                  <a:pt x="634" y="1014"/>
                </a:lnTo>
                <a:lnTo>
                  <a:pt x="626" y="1030"/>
                </a:lnTo>
                <a:lnTo>
                  <a:pt x="618" y="1048"/>
                </a:lnTo>
                <a:lnTo>
                  <a:pt x="609" y="1064"/>
                </a:lnTo>
                <a:lnTo>
                  <a:pt x="600" y="1080"/>
                </a:lnTo>
                <a:lnTo>
                  <a:pt x="591" y="1094"/>
                </a:lnTo>
                <a:lnTo>
                  <a:pt x="581" y="1108"/>
                </a:lnTo>
                <a:lnTo>
                  <a:pt x="571" y="1120"/>
                </a:lnTo>
                <a:lnTo>
                  <a:pt x="559" y="1132"/>
                </a:lnTo>
                <a:lnTo>
                  <a:pt x="548" y="1144"/>
                </a:lnTo>
                <a:lnTo>
                  <a:pt x="537" y="1154"/>
                </a:lnTo>
                <a:lnTo>
                  <a:pt x="525" y="1164"/>
                </a:lnTo>
                <a:lnTo>
                  <a:pt x="513" y="1172"/>
                </a:lnTo>
                <a:lnTo>
                  <a:pt x="500" y="1180"/>
                </a:lnTo>
                <a:lnTo>
                  <a:pt x="487" y="1186"/>
                </a:lnTo>
                <a:close/>
                <a:moveTo>
                  <a:pt x="239" y="391"/>
                </a:moveTo>
                <a:lnTo>
                  <a:pt x="239" y="880"/>
                </a:lnTo>
                <a:lnTo>
                  <a:pt x="337" y="880"/>
                </a:lnTo>
                <a:lnTo>
                  <a:pt x="347" y="880"/>
                </a:lnTo>
                <a:lnTo>
                  <a:pt x="357" y="880"/>
                </a:lnTo>
                <a:lnTo>
                  <a:pt x="367" y="878"/>
                </a:lnTo>
                <a:lnTo>
                  <a:pt x="376" y="874"/>
                </a:lnTo>
                <a:lnTo>
                  <a:pt x="384" y="872"/>
                </a:lnTo>
                <a:lnTo>
                  <a:pt x="392" y="868"/>
                </a:lnTo>
                <a:lnTo>
                  <a:pt x="400" y="862"/>
                </a:lnTo>
                <a:lnTo>
                  <a:pt x="407" y="858"/>
                </a:lnTo>
                <a:lnTo>
                  <a:pt x="413" y="852"/>
                </a:lnTo>
                <a:lnTo>
                  <a:pt x="419" y="844"/>
                </a:lnTo>
                <a:lnTo>
                  <a:pt x="425" y="838"/>
                </a:lnTo>
                <a:lnTo>
                  <a:pt x="430" y="830"/>
                </a:lnTo>
                <a:lnTo>
                  <a:pt x="435" y="822"/>
                </a:lnTo>
                <a:lnTo>
                  <a:pt x="440" y="814"/>
                </a:lnTo>
                <a:lnTo>
                  <a:pt x="444" y="806"/>
                </a:lnTo>
                <a:lnTo>
                  <a:pt x="448" y="796"/>
                </a:lnTo>
                <a:lnTo>
                  <a:pt x="451" y="788"/>
                </a:lnTo>
                <a:lnTo>
                  <a:pt x="454" y="778"/>
                </a:lnTo>
                <a:lnTo>
                  <a:pt x="457" y="768"/>
                </a:lnTo>
                <a:lnTo>
                  <a:pt x="460" y="758"/>
                </a:lnTo>
                <a:lnTo>
                  <a:pt x="464" y="738"/>
                </a:lnTo>
                <a:lnTo>
                  <a:pt x="467" y="717"/>
                </a:lnTo>
                <a:lnTo>
                  <a:pt x="470" y="697"/>
                </a:lnTo>
                <a:lnTo>
                  <a:pt x="471" y="675"/>
                </a:lnTo>
                <a:lnTo>
                  <a:pt x="472" y="655"/>
                </a:lnTo>
                <a:lnTo>
                  <a:pt x="472" y="635"/>
                </a:lnTo>
                <a:lnTo>
                  <a:pt x="472" y="615"/>
                </a:lnTo>
                <a:lnTo>
                  <a:pt x="470" y="593"/>
                </a:lnTo>
                <a:lnTo>
                  <a:pt x="468" y="573"/>
                </a:lnTo>
                <a:lnTo>
                  <a:pt x="464" y="551"/>
                </a:lnTo>
                <a:lnTo>
                  <a:pt x="462" y="541"/>
                </a:lnTo>
                <a:lnTo>
                  <a:pt x="459" y="531"/>
                </a:lnTo>
                <a:lnTo>
                  <a:pt x="457" y="521"/>
                </a:lnTo>
                <a:lnTo>
                  <a:pt x="454" y="511"/>
                </a:lnTo>
                <a:lnTo>
                  <a:pt x="447" y="491"/>
                </a:lnTo>
                <a:lnTo>
                  <a:pt x="443" y="483"/>
                </a:lnTo>
                <a:lnTo>
                  <a:pt x="439" y="473"/>
                </a:lnTo>
                <a:lnTo>
                  <a:pt x="435" y="465"/>
                </a:lnTo>
                <a:lnTo>
                  <a:pt x="430" y="457"/>
                </a:lnTo>
                <a:lnTo>
                  <a:pt x="420" y="441"/>
                </a:lnTo>
                <a:lnTo>
                  <a:pt x="414" y="433"/>
                </a:lnTo>
                <a:lnTo>
                  <a:pt x="408" y="427"/>
                </a:lnTo>
                <a:lnTo>
                  <a:pt x="402" y="421"/>
                </a:lnTo>
                <a:lnTo>
                  <a:pt x="396" y="415"/>
                </a:lnTo>
                <a:lnTo>
                  <a:pt x="389" y="409"/>
                </a:lnTo>
                <a:lnTo>
                  <a:pt x="382" y="405"/>
                </a:lnTo>
                <a:lnTo>
                  <a:pt x="375" y="401"/>
                </a:lnTo>
                <a:lnTo>
                  <a:pt x="367" y="397"/>
                </a:lnTo>
                <a:lnTo>
                  <a:pt x="359" y="395"/>
                </a:lnTo>
                <a:lnTo>
                  <a:pt x="351" y="393"/>
                </a:lnTo>
                <a:lnTo>
                  <a:pt x="333" y="391"/>
                </a:lnTo>
                <a:lnTo>
                  <a:pt x="239" y="391"/>
                </a:lnTo>
                <a:close/>
                <a:moveTo>
                  <a:pt x="1780" y="395"/>
                </a:moveTo>
                <a:lnTo>
                  <a:pt x="1776" y="403"/>
                </a:lnTo>
                <a:lnTo>
                  <a:pt x="1772" y="411"/>
                </a:lnTo>
                <a:lnTo>
                  <a:pt x="1763" y="423"/>
                </a:lnTo>
                <a:lnTo>
                  <a:pt x="1754" y="433"/>
                </a:lnTo>
                <a:lnTo>
                  <a:pt x="1743" y="443"/>
                </a:lnTo>
                <a:lnTo>
                  <a:pt x="1814" y="788"/>
                </a:lnTo>
                <a:lnTo>
                  <a:pt x="1742" y="788"/>
                </a:lnTo>
                <a:lnTo>
                  <a:pt x="1683" y="465"/>
                </a:lnTo>
                <a:lnTo>
                  <a:pt x="1607" y="465"/>
                </a:lnTo>
                <a:lnTo>
                  <a:pt x="1607" y="788"/>
                </a:lnTo>
                <a:lnTo>
                  <a:pt x="1543" y="788"/>
                </a:lnTo>
                <a:lnTo>
                  <a:pt x="1543" y="18"/>
                </a:lnTo>
                <a:lnTo>
                  <a:pt x="1681" y="18"/>
                </a:lnTo>
                <a:lnTo>
                  <a:pt x="1696" y="18"/>
                </a:lnTo>
                <a:lnTo>
                  <a:pt x="1703" y="20"/>
                </a:lnTo>
                <a:lnTo>
                  <a:pt x="1710" y="22"/>
                </a:lnTo>
                <a:lnTo>
                  <a:pt x="1722" y="26"/>
                </a:lnTo>
                <a:lnTo>
                  <a:pt x="1734" y="32"/>
                </a:lnTo>
                <a:lnTo>
                  <a:pt x="1745" y="40"/>
                </a:lnTo>
                <a:lnTo>
                  <a:pt x="1755" y="50"/>
                </a:lnTo>
                <a:lnTo>
                  <a:pt x="1765" y="62"/>
                </a:lnTo>
                <a:lnTo>
                  <a:pt x="1769" y="68"/>
                </a:lnTo>
                <a:lnTo>
                  <a:pt x="1773" y="76"/>
                </a:lnTo>
                <a:lnTo>
                  <a:pt x="1781" y="92"/>
                </a:lnTo>
                <a:lnTo>
                  <a:pt x="1788" y="108"/>
                </a:lnTo>
                <a:lnTo>
                  <a:pt x="1791" y="118"/>
                </a:lnTo>
                <a:lnTo>
                  <a:pt x="1794" y="126"/>
                </a:lnTo>
                <a:lnTo>
                  <a:pt x="1799" y="146"/>
                </a:lnTo>
                <a:lnTo>
                  <a:pt x="1803" y="168"/>
                </a:lnTo>
                <a:lnTo>
                  <a:pt x="1805" y="178"/>
                </a:lnTo>
                <a:lnTo>
                  <a:pt x="1806" y="190"/>
                </a:lnTo>
                <a:lnTo>
                  <a:pt x="1807" y="200"/>
                </a:lnTo>
                <a:lnTo>
                  <a:pt x="1808" y="212"/>
                </a:lnTo>
                <a:lnTo>
                  <a:pt x="1808" y="224"/>
                </a:lnTo>
                <a:lnTo>
                  <a:pt x="1808" y="236"/>
                </a:lnTo>
                <a:lnTo>
                  <a:pt x="1808" y="263"/>
                </a:lnTo>
                <a:lnTo>
                  <a:pt x="1807" y="275"/>
                </a:lnTo>
                <a:lnTo>
                  <a:pt x="1806" y="287"/>
                </a:lnTo>
                <a:lnTo>
                  <a:pt x="1805" y="299"/>
                </a:lnTo>
                <a:lnTo>
                  <a:pt x="1804" y="309"/>
                </a:lnTo>
                <a:lnTo>
                  <a:pt x="1801" y="331"/>
                </a:lnTo>
                <a:lnTo>
                  <a:pt x="1797" y="349"/>
                </a:lnTo>
                <a:lnTo>
                  <a:pt x="1792" y="367"/>
                </a:lnTo>
                <a:lnTo>
                  <a:pt x="1786" y="381"/>
                </a:lnTo>
                <a:lnTo>
                  <a:pt x="1780" y="395"/>
                </a:lnTo>
                <a:close/>
                <a:moveTo>
                  <a:pt x="1678" y="122"/>
                </a:moveTo>
                <a:lnTo>
                  <a:pt x="1607" y="122"/>
                </a:lnTo>
                <a:lnTo>
                  <a:pt x="1607" y="365"/>
                </a:lnTo>
                <a:lnTo>
                  <a:pt x="1678" y="365"/>
                </a:lnTo>
                <a:lnTo>
                  <a:pt x="1686" y="363"/>
                </a:lnTo>
                <a:lnTo>
                  <a:pt x="1694" y="361"/>
                </a:lnTo>
                <a:lnTo>
                  <a:pt x="1700" y="359"/>
                </a:lnTo>
                <a:lnTo>
                  <a:pt x="1707" y="355"/>
                </a:lnTo>
                <a:lnTo>
                  <a:pt x="1712" y="351"/>
                </a:lnTo>
                <a:lnTo>
                  <a:pt x="1717" y="345"/>
                </a:lnTo>
                <a:lnTo>
                  <a:pt x="1722" y="339"/>
                </a:lnTo>
                <a:lnTo>
                  <a:pt x="1726" y="331"/>
                </a:lnTo>
                <a:lnTo>
                  <a:pt x="1730" y="323"/>
                </a:lnTo>
                <a:lnTo>
                  <a:pt x="1733" y="313"/>
                </a:lnTo>
                <a:lnTo>
                  <a:pt x="1736" y="303"/>
                </a:lnTo>
                <a:lnTo>
                  <a:pt x="1738" y="293"/>
                </a:lnTo>
                <a:lnTo>
                  <a:pt x="1740" y="281"/>
                </a:lnTo>
                <a:lnTo>
                  <a:pt x="1741" y="269"/>
                </a:lnTo>
                <a:lnTo>
                  <a:pt x="1742" y="257"/>
                </a:lnTo>
                <a:lnTo>
                  <a:pt x="1742" y="244"/>
                </a:lnTo>
                <a:lnTo>
                  <a:pt x="1742" y="230"/>
                </a:lnTo>
                <a:lnTo>
                  <a:pt x="1742" y="218"/>
                </a:lnTo>
                <a:lnTo>
                  <a:pt x="1740" y="206"/>
                </a:lnTo>
                <a:lnTo>
                  <a:pt x="1739" y="194"/>
                </a:lnTo>
                <a:lnTo>
                  <a:pt x="1737" y="184"/>
                </a:lnTo>
                <a:lnTo>
                  <a:pt x="1734" y="174"/>
                </a:lnTo>
                <a:lnTo>
                  <a:pt x="1731" y="164"/>
                </a:lnTo>
                <a:lnTo>
                  <a:pt x="1728" y="156"/>
                </a:lnTo>
                <a:lnTo>
                  <a:pt x="1723" y="148"/>
                </a:lnTo>
                <a:lnTo>
                  <a:pt x="1719" y="142"/>
                </a:lnTo>
                <a:lnTo>
                  <a:pt x="1713" y="136"/>
                </a:lnTo>
                <a:lnTo>
                  <a:pt x="1708" y="132"/>
                </a:lnTo>
                <a:lnTo>
                  <a:pt x="1701" y="128"/>
                </a:lnTo>
                <a:lnTo>
                  <a:pt x="1694" y="124"/>
                </a:lnTo>
                <a:lnTo>
                  <a:pt x="1686" y="122"/>
                </a:lnTo>
                <a:lnTo>
                  <a:pt x="1678" y="122"/>
                </a:lnTo>
                <a:close/>
                <a:moveTo>
                  <a:pt x="2090" y="788"/>
                </a:moveTo>
                <a:lnTo>
                  <a:pt x="2069" y="635"/>
                </a:lnTo>
                <a:lnTo>
                  <a:pt x="1942" y="635"/>
                </a:lnTo>
                <a:lnTo>
                  <a:pt x="1921" y="788"/>
                </a:lnTo>
                <a:lnTo>
                  <a:pt x="1854" y="788"/>
                </a:lnTo>
                <a:lnTo>
                  <a:pt x="1975" y="18"/>
                </a:lnTo>
                <a:lnTo>
                  <a:pt x="2037" y="18"/>
                </a:lnTo>
                <a:lnTo>
                  <a:pt x="2160" y="788"/>
                </a:lnTo>
                <a:lnTo>
                  <a:pt x="2090" y="788"/>
                </a:lnTo>
                <a:close/>
                <a:moveTo>
                  <a:pt x="2026" y="323"/>
                </a:moveTo>
                <a:lnTo>
                  <a:pt x="2015" y="250"/>
                </a:lnTo>
                <a:lnTo>
                  <a:pt x="2010" y="210"/>
                </a:lnTo>
                <a:lnTo>
                  <a:pt x="2006" y="170"/>
                </a:lnTo>
                <a:lnTo>
                  <a:pt x="2001" y="210"/>
                </a:lnTo>
                <a:lnTo>
                  <a:pt x="1996" y="250"/>
                </a:lnTo>
                <a:lnTo>
                  <a:pt x="1986" y="325"/>
                </a:lnTo>
                <a:lnTo>
                  <a:pt x="1957" y="529"/>
                </a:lnTo>
                <a:lnTo>
                  <a:pt x="2053" y="529"/>
                </a:lnTo>
                <a:lnTo>
                  <a:pt x="2026" y="323"/>
                </a:lnTo>
                <a:close/>
                <a:moveTo>
                  <a:pt x="2419" y="788"/>
                </a:moveTo>
                <a:lnTo>
                  <a:pt x="2323" y="431"/>
                </a:lnTo>
                <a:lnTo>
                  <a:pt x="2285" y="527"/>
                </a:lnTo>
                <a:lnTo>
                  <a:pt x="2285" y="788"/>
                </a:lnTo>
                <a:lnTo>
                  <a:pt x="2220" y="788"/>
                </a:lnTo>
                <a:lnTo>
                  <a:pt x="2220" y="18"/>
                </a:lnTo>
                <a:lnTo>
                  <a:pt x="2285" y="18"/>
                </a:lnTo>
                <a:lnTo>
                  <a:pt x="2285" y="347"/>
                </a:lnTo>
                <a:lnTo>
                  <a:pt x="2410" y="18"/>
                </a:lnTo>
                <a:lnTo>
                  <a:pt x="2492" y="18"/>
                </a:lnTo>
                <a:lnTo>
                  <a:pt x="2363" y="333"/>
                </a:lnTo>
                <a:lnTo>
                  <a:pt x="2498" y="788"/>
                </a:lnTo>
                <a:lnTo>
                  <a:pt x="2419" y="788"/>
                </a:lnTo>
                <a:close/>
                <a:moveTo>
                  <a:pt x="2558" y="788"/>
                </a:moveTo>
                <a:lnTo>
                  <a:pt x="2558" y="18"/>
                </a:lnTo>
                <a:lnTo>
                  <a:pt x="2786" y="18"/>
                </a:lnTo>
                <a:lnTo>
                  <a:pt x="2786" y="126"/>
                </a:lnTo>
                <a:lnTo>
                  <a:pt x="2623" y="126"/>
                </a:lnTo>
                <a:lnTo>
                  <a:pt x="2623" y="341"/>
                </a:lnTo>
                <a:lnTo>
                  <a:pt x="2756" y="341"/>
                </a:lnTo>
                <a:lnTo>
                  <a:pt x="2756" y="445"/>
                </a:lnTo>
                <a:lnTo>
                  <a:pt x="2623" y="445"/>
                </a:lnTo>
                <a:lnTo>
                  <a:pt x="2623" y="683"/>
                </a:lnTo>
                <a:lnTo>
                  <a:pt x="2786" y="683"/>
                </a:lnTo>
                <a:lnTo>
                  <a:pt x="2786" y="788"/>
                </a:lnTo>
                <a:lnTo>
                  <a:pt x="2558" y="788"/>
                </a:lnTo>
                <a:close/>
                <a:moveTo>
                  <a:pt x="2939" y="18"/>
                </a:moveTo>
                <a:lnTo>
                  <a:pt x="3030" y="439"/>
                </a:lnTo>
                <a:lnTo>
                  <a:pt x="3038" y="477"/>
                </a:lnTo>
                <a:lnTo>
                  <a:pt x="3042" y="495"/>
                </a:lnTo>
                <a:lnTo>
                  <a:pt x="3046" y="515"/>
                </a:lnTo>
                <a:lnTo>
                  <a:pt x="3053" y="553"/>
                </a:lnTo>
                <a:lnTo>
                  <a:pt x="3060" y="595"/>
                </a:lnTo>
                <a:lnTo>
                  <a:pt x="3060" y="509"/>
                </a:lnTo>
                <a:lnTo>
                  <a:pt x="3059" y="421"/>
                </a:lnTo>
                <a:lnTo>
                  <a:pt x="3059" y="18"/>
                </a:lnTo>
                <a:lnTo>
                  <a:pt x="3124" y="18"/>
                </a:lnTo>
                <a:lnTo>
                  <a:pt x="3124" y="788"/>
                </a:lnTo>
                <a:lnTo>
                  <a:pt x="3046" y="788"/>
                </a:lnTo>
                <a:lnTo>
                  <a:pt x="2954" y="369"/>
                </a:lnTo>
                <a:lnTo>
                  <a:pt x="2946" y="331"/>
                </a:lnTo>
                <a:lnTo>
                  <a:pt x="2938" y="293"/>
                </a:lnTo>
                <a:lnTo>
                  <a:pt x="2931" y="255"/>
                </a:lnTo>
                <a:lnTo>
                  <a:pt x="2923" y="214"/>
                </a:lnTo>
                <a:lnTo>
                  <a:pt x="2924" y="389"/>
                </a:lnTo>
                <a:lnTo>
                  <a:pt x="2924" y="790"/>
                </a:lnTo>
                <a:lnTo>
                  <a:pt x="2859" y="790"/>
                </a:lnTo>
                <a:lnTo>
                  <a:pt x="2859" y="18"/>
                </a:lnTo>
                <a:lnTo>
                  <a:pt x="2939" y="18"/>
                </a:lnTo>
                <a:close/>
                <a:moveTo>
                  <a:pt x="3306" y="18"/>
                </a:moveTo>
                <a:lnTo>
                  <a:pt x="3396" y="425"/>
                </a:lnTo>
                <a:lnTo>
                  <a:pt x="3404" y="463"/>
                </a:lnTo>
                <a:lnTo>
                  <a:pt x="3408" y="481"/>
                </a:lnTo>
                <a:lnTo>
                  <a:pt x="3412" y="501"/>
                </a:lnTo>
                <a:lnTo>
                  <a:pt x="3419" y="539"/>
                </a:lnTo>
                <a:lnTo>
                  <a:pt x="3426" y="581"/>
                </a:lnTo>
                <a:lnTo>
                  <a:pt x="3426" y="495"/>
                </a:lnTo>
                <a:lnTo>
                  <a:pt x="3426" y="407"/>
                </a:lnTo>
                <a:lnTo>
                  <a:pt x="3426" y="18"/>
                </a:lnTo>
                <a:lnTo>
                  <a:pt x="3491" y="18"/>
                </a:lnTo>
                <a:lnTo>
                  <a:pt x="3491" y="788"/>
                </a:lnTo>
                <a:lnTo>
                  <a:pt x="3412" y="788"/>
                </a:lnTo>
                <a:lnTo>
                  <a:pt x="3320" y="383"/>
                </a:lnTo>
                <a:lnTo>
                  <a:pt x="3312" y="345"/>
                </a:lnTo>
                <a:lnTo>
                  <a:pt x="3305" y="307"/>
                </a:lnTo>
                <a:lnTo>
                  <a:pt x="3297" y="269"/>
                </a:lnTo>
                <a:lnTo>
                  <a:pt x="3290" y="228"/>
                </a:lnTo>
                <a:lnTo>
                  <a:pt x="3290" y="403"/>
                </a:lnTo>
                <a:lnTo>
                  <a:pt x="3290" y="788"/>
                </a:lnTo>
                <a:lnTo>
                  <a:pt x="3226" y="788"/>
                </a:lnTo>
                <a:lnTo>
                  <a:pt x="3226" y="18"/>
                </a:lnTo>
                <a:lnTo>
                  <a:pt x="3306" y="18"/>
                </a:lnTo>
                <a:close/>
                <a:moveTo>
                  <a:pt x="3618" y="735"/>
                </a:moveTo>
                <a:lnTo>
                  <a:pt x="3611" y="719"/>
                </a:lnTo>
                <a:lnTo>
                  <a:pt x="3605" y="701"/>
                </a:lnTo>
                <a:lnTo>
                  <a:pt x="3599" y="681"/>
                </a:lnTo>
                <a:lnTo>
                  <a:pt x="3597" y="669"/>
                </a:lnTo>
                <a:lnTo>
                  <a:pt x="3595" y="659"/>
                </a:lnTo>
                <a:lnTo>
                  <a:pt x="3591" y="635"/>
                </a:lnTo>
                <a:lnTo>
                  <a:pt x="3589" y="609"/>
                </a:lnTo>
                <a:lnTo>
                  <a:pt x="3588" y="595"/>
                </a:lnTo>
                <a:lnTo>
                  <a:pt x="3587" y="581"/>
                </a:lnTo>
                <a:lnTo>
                  <a:pt x="3587" y="549"/>
                </a:lnTo>
                <a:lnTo>
                  <a:pt x="3587" y="18"/>
                </a:lnTo>
                <a:lnTo>
                  <a:pt x="3652" y="18"/>
                </a:lnTo>
                <a:lnTo>
                  <a:pt x="3652" y="543"/>
                </a:lnTo>
                <a:lnTo>
                  <a:pt x="3652" y="563"/>
                </a:lnTo>
                <a:lnTo>
                  <a:pt x="3652" y="581"/>
                </a:lnTo>
                <a:lnTo>
                  <a:pt x="3653" y="597"/>
                </a:lnTo>
                <a:lnTo>
                  <a:pt x="3655" y="611"/>
                </a:lnTo>
                <a:lnTo>
                  <a:pt x="3657" y="625"/>
                </a:lnTo>
                <a:lnTo>
                  <a:pt x="3659" y="637"/>
                </a:lnTo>
                <a:lnTo>
                  <a:pt x="3662" y="649"/>
                </a:lnTo>
                <a:lnTo>
                  <a:pt x="3665" y="659"/>
                </a:lnTo>
                <a:lnTo>
                  <a:pt x="3669" y="667"/>
                </a:lnTo>
                <a:lnTo>
                  <a:pt x="3674" y="675"/>
                </a:lnTo>
                <a:lnTo>
                  <a:pt x="3679" y="683"/>
                </a:lnTo>
                <a:lnTo>
                  <a:pt x="3685" y="689"/>
                </a:lnTo>
                <a:lnTo>
                  <a:pt x="3688" y="691"/>
                </a:lnTo>
                <a:lnTo>
                  <a:pt x="3692" y="693"/>
                </a:lnTo>
                <a:lnTo>
                  <a:pt x="3699" y="697"/>
                </a:lnTo>
                <a:lnTo>
                  <a:pt x="3706" y="699"/>
                </a:lnTo>
                <a:lnTo>
                  <a:pt x="3715" y="699"/>
                </a:lnTo>
                <a:lnTo>
                  <a:pt x="3723" y="699"/>
                </a:lnTo>
                <a:lnTo>
                  <a:pt x="3731" y="697"/>
                </a:lnTo>
                <a:lnTo>
                  <a:pt x="3738" y="693"/>
                </a:lnTo>
                <a:lnTo>
                  <a:pt x="3744" y="689"/>
                </a:lnTo>
                <a:lnTo>
                  <a:pt x="3750" y="683"/>
                </a:lnTo>
                <a:lnTo>
                  <a:pt x="3755" y="675"/>
                </a:lnTo>
                <a:lnTo>
                  <a:pt x="3760" y="667"/>
                </a:lnTo>
                <a:lnTo>
                  <a:pt x="3764" y="659"/>
                </a:lnTo>
                <a:lnTo>
                  <a:pt x="3768" y="649"/>
                </a:lnTo>
                <a:lnTo>
                  <a:pt x="3770" y="637"/>
                </a:lnTo>
                <a:lnTo>
                  <a:pt x="3773" y="625"/>
                </a:lnTo>
                <a:lnTo>
                  <a:pt x="3775" y="613"/>
                </a:lnTo>
                <a:lnTo>
                  <a:pt x="3776" y="597"/>
                </a:lnTo>
                <a:lnTo>
                  <a:pt x="3777" y="581"/>
                </a:lnTo>
                <a:lnTo>
                  <a:pt x="3778" y="563"/>
                </a:lnTo>
                <a:lnTo>
                  <a:pt x="3778" y="543"/>
                </a:lnTo>
                <a:lnTo>
                  <a:pt x="3778" y="18"/>
                </a:lnTo>
                <a:lnTo>
                  <a:pt x="3843" y="18"/>
                </a:lnTo>
                <a:lnTo>
                  <a:pt x="3843" y="549"/>
                </a:lnTo>
                <a:lnTo>
                  <a:pt x="3843" y="581"/>
                </a:lnTo>
                <a:lnTo>
                  <a:pt x="3842" y="595"/>
                </a:lnTo>
                <a:lnTo>
                  <a:pt x="3841" y="609"/>
                </a:lnTo>
                <a:lnTo>
                  <a:pt x="3838" y="635"/>
                </a:lnTo>
                <a:lnTo>
                  <a:pt x="3835" y="659"/>
                </a:lnTo>
                <a:lnTo>
                  <a:pt x="3833" y="669"/>
                </a:lnTo>
                <a:lnTo>
                  <a:pt x="3830" y="681"/>
                </a:lnTo>
                <a:lnTo>
                  <a:pt x="3825" y="701"/>
                </a:lnTo>
                <a:lnTo>
                  <a:pt x="3822" y="709"/>
                </a:lnTo>
                <a:lnTo>
                  <a:pt x="3819" y="719"/>
                </a:lnTo>
                <a:lnTo>
                  <a:pt x="3815" y="727"/>
                </a:lnTo>
                <a:lnTo>
                  <a:pt x="3812" y="735"/>
                </a:lnTo>
                <a:lnTo>
                  <a:pt x="3807" y="744"/>
                </a:lnTo>
                <a:lnTo>
                  <a:pt x="3802" y="752"/>
                </a:lnTo>
                <a:lnTo>
                  <a:pt x="3792" y="766"/>
                </a:lnTo>
                <a:lnTo>
                  <a:pt x="3781" y="778"/>
                </a:lnTo>
                <a:lnTo>
                  <a:pt x="3775" y="784"/>
                </a:lnTo>
                <a:lnTo>
                  <a:pt x="3769" y="788"/>
                </a:lnTo>
                <a:lnTo>
                  <a:pt x="3757" y="796"/>
                </a:lnTo>
                <a:lnTo>
                  <a:pt x="3750" y="800"/>
                </a:lnTo>
                <a:lnTo>
                  <a:pt x="3743" y="802"/>
                </a:lnTo>
                <a:lnTo>
                  <a:pt x="3729" y="806"/>
                </a:lnTo>
                <a:lnTo>
                  <a:pt x="3722" y="806"/>
                </a:lnTo>
                <a:lnTo>
                  <a:pt x="3715" y="806"/>
                </a:lnTo>
                <a:lnTo>
                  <a:pt x="3700" y="806"/>
                </a:lnTo>
                <a:lnTo>
                  <a:pt x="3686" y="802"/>
                </a:lnTo>
                <a:lnTo>
                  <a:pt x="3679" y="800"/>
                </a:lnTo>
                <a:lnTo>
                  <a:pt x="3673" y="796"/>
                </a:lnTo>
                <a:lnTo>
                  <a:pt x="3660" y="788"/>
                </a:lnTo>
                <a:lnTo>
                  <a:pt x="3648" y="778"/>
                </a:lnTo>
                <a:lnTo>
                  <a:pt x="3637" y="766"/>
                </a:lnTo>
                <a:lnTo>
                  <a:pt x="3627" y="750"/>
                </a:lnTo>
                <a:lnTo>
                  <a:pt x="3623" y="742"/>
                </a:lnTo>
                <a:lnTo>
                  <a:pt x="3618" y="735"/>
                </a:lnTo>
                <a:close/>
                <a:moveTo>
                  <a:pt x="4052" y="806"/>
                </a:moveTo>
                <a:lnTo>
                  <a:pt x="4036" y="806"/>
                </a:lnTo>
                <a:lnTo>
                  <a:pt x="4020" y="802"/>
                </a:lnTo>
                <a:lnTo>
                  <a:pt x="4006" y="796"/>
                </a:lnTo>
                <a:lnTo>
                  <a:pt x="4000" y="792"/>
                </a:lnTo>
                <a:lnTo>
                  <a:pt x="3993" y="788"/>
                </a:lnTo>
                <a:lnTo>
                  <a:pt x="3981" y="780"/>
                </a:lnTo>
                <a:lnTo>
                  <a:pt x="3975" y="774"/>
                </a:lnTo>
                <a:lnTo>
                  <a:pt x="3970" y="768"/>
                </a:lnTo>
                <a:lnTo>
                  <a:pt x="3960" y="756"/>
                </a:lnTo>
                <a:lnTo>
                  <a:pt x="3956" y="748"/>
                </a:lnTo>
                <a:lnTo>
                  <a:pt x="3951" y="740"/>
                </a:lnTo>
                <a:lnTo>
                  <a:pt x="3947" y="733"/>
                </a:lnTo>
                <a:lnTo>
                  <a:pt x="3943" y="725"/>
                </a:lnTo>
                <a:lnTo>
                  <a:pt x="3939" y="717"/>
                </a:lnTo>
                <a:lnTo>
                  <a:pt x="3936" y="707"/>
                </a:lnTo>
                <a:lnTo>
                  <a:pt x="3930" y="687"/>
                </a:lnTo>
                <a:lnTo>
                  <a:pt x="3926" y="667"/>
                </a:lnTo>
                <a:lnTo>
                  <a:pt x="3924" y="657"/>
                </a:lnTo>
                <a:lnTo>
                  <a:pt x="3922" y="645"/>
                </a:lnTo>
                <a:lnTo>
                  <a:pt x="3919" y="623"/>
                </a:lnTo>
                <a:lnTo>
                  <a:pt x="3918" y="599"/>
                </a:lnTo>
                <a:lnTo>
                  <a:pt x="3917" y="585"/>
                </a:lnTo>
                <a:lnTo>
                  <a:pt x="3917" y="573"/>
                </a:lnTo>
                <a:lnTo>
                  <a:pt x="3980" y="545"/>
                </a:lnTo>
                <a:lnTo>
                  <a:pt x="3981" y="567"/>
                </a:lnTo>
                <a:lnTo>
                  <a:pt x="3982" y="587"/>
                </a:lnTo>
                <a:lnTo>
                  <a:pt x="3984" y="603"/>
                </a:lnTo>
                <a:lnTo>
                  <a:pt x="3986" y="619"/>
                </a:lnTo>
                <a:lnTo>
                  <a:pt x="3988" y="627"/>
                </a:lnTo>
                <a:lnTo>
                  <a:pt x="3989" y="635"/>
                </a:lnTo>
                <a:lnTo>
                  <a:pt x="3993" y="647"/>
                </a:lnTo>
                <a:lnTo>
                  <a:pt x="3997" y="659"/>
                </a:lnTo>
                <a:lnTo>
                  <a:pt x="4001" y="667"/>
                </a:lnTo>
                <a:lnTo>
                  <a:pt x="4006" y="677"/>
                </a:lnTo>
                <a:lnTo>
                  <a:pt x="4012" y="683"/>
                </a:lnTo>
                <a:lnTo>
                  <a:pt x="4018" y="689"/>
                </a:lnTo>
                <a:lnTo>
                  <a:pt x="4025" y="693"/>
                </a:lnTo>
                <a:lnTo>
                  <a:pt x="4032" y="697"/>
                </a:lnTo>
                <a:lnTo>
                  <a:pt x="4039" y="699"/>
                </a:lnTo>
                <a:lnTo>
                  <a:pt x="4047" y="701"/>
                </a:lnTo>
                <a:lnTo>
                  <a:pt x="4056" y="701"/>
                </a:lnTo>
                <a:lnTo>
                  <a:pt x="4063" y="701"/>
                </a:lnTo>
                <a:lnTo>
                  <a:pt x="4070" y="699"/>
                </a:lnTo>
                <a:lnTo>
                  <a:pt x="4077" y="697"/>
                </a:lnTo>
                <a:lnTo>
                  <a:pt x="4083" y="695"/>
                </a:lnTo>
                <a:lnTo>
                  <a:pt x="4089" y="691"/>
                </a:lnTo>
                <a:lnTo>
                  <a:pt x="4095" y="685"/>
                </a:lnTo>
                <a:lnTo>
                  <a:pt x="4100" y="679"/>
                </a:lnTo>
                <a:lnTo>
                  <a:pt x="4105" y="673"/>
                </a:lnTo>
                <a:lnTo>
                  <a:pt x="4109" y="665"/>
                </a:lnTo>
                <a:lnTo>
                  <a:pt x="4113" y="657"/>
                </a:lnTo>
                <a:lnTo>
                  <a:pt x="4116" y="649"/>
                </a:lnTo>
                <a:lnTo>
                  <a:pt x="4119" y="639"/>
                </a:lnTo>
                <a:lnTo>
                  <a:pt x="4121" y="627"/>
                </a:lnTo>
                <a:lnTo>
                  <a:pt x="4122" y="623"/>
                </a:lnTo>
                <a:lnTo>
                  <a:pt x="4123" y="617"/>
                </a:lnTo>
                <a:lnTo>
                  <a:pt x="4124" y="605"/>
                </a:lnTo>
                <a:lnTo>
                  <a:pt x="4124" y="591"/>
                </a:lnTo>
                <a:lnTo>
                  <a:pt x="4124" y="581"/>
                </a:lnTo>
                <a:lnTo>
                  <a:pt x="4123" y="571"/>
                </a:lnTo>
                <a:lnTo>
                  <a:pt x="4122" y="563"/>
                </a:lnTo>
                <a:lnTo>
                  <a:pt x="4121" y="553"/>
                </a:lnTo>
                <a:lnTo>
                  <a:pt x="4119" y="545"/>
                </a:lnTo>
                <a:lnTo>
                  <a:pt x="4117" y="537"/>
                </a:lnTo>
                <a:lnTo>
                  <a:pt x="4115" y="529"/>
                </a:lnTo>
                <a:lnTo>
                  <a:pt x="4112" y="521"/>
                </a:lnTo>
                <a:lnTo>
                  <a:pt x="4104" y="505"/>
                </a:lnTo>
                <a:lnTo>
                  <a:pt x="4100" y="497"/>
                </a:lnTo>
                <a:lnTo>
                  <a:pt x="4095" y="491"/>
                </a:lnTo>
                <a:lnTo>
                  <a:pt x="4084" y="477"/>
                </a:lnTo>
                <a:lnTo>
                  <a:pt x="4071" y="465"/>
                </a:lnTo>
                <a:lnTo>
                  <a:pt x="4007" y="407"/>
                </a:lnTo>
                <a:lnTo>
                  <a:pt x="3998" y="399"/>
                </a:lnTo>
                <a:lnTo>
                  <a:pt x="3988" y="389"/>
                </a:lnTo>
                <a:lnTo>
                  <a:pt x="3972" y="369"/>
                </a:lnTo>
                <a:lnTo>
                  <a:pt x="3958" y="349"/>
                </a:lnTo>
                <a:lnTo>
                  <a:pt x="3953" y="337"/>
                </a:lnTo>
                <a:lnTo>
                  <a:pt x="3947" y="325"/>
                </a:lnTo>
                <a:lnTo>
                  <a:pt x="3942" y="313"/>
                </a:lnTo>
                <a:lnTo>
                  <a:pt x="3937" y="299"/>
                </a:lnTo>
                <a:lnTo>
                  <a:pt x="3934" y="285"/>
                </a:lnTo>
                <a:lnTo>
                  <a:pt x="3931" y="269"/>
                </a:lnTo>
                <a:lnTo>
                  <a:pt x="3929" y="253"/>
                </a:lnTo>
                <a:lnTo>
                  <a:pt x="3928" y="246"/>
                </a:lnTo>
                <a:lnTo>
                  <a:pt x="3927" y="238"/>
                </a:lnTo>
                <a:lnTo>
                  <a:pt x="3927" y="220"/>
                </a:lnTo>
                <a:lnTo>
                  <a:pt x="3926" y="200"/>
                </a:lnTo>
                <a:lnTo>
                  <a:pt x="3926" y="188"/>
                </a:lnTo>
                <a:lnTo>
                  <a:pt x="3927" y="176"/>
                </a:lnTo>
                <a:lnTo>
                  <a:pt x="3928" y="164"/>
                </a:lnTo>
                <a:lnTo>
                  <a:pt x="3929" y="152"/>
                </a:lnTo>
                <a:lnTo>
                  <a:pt x="3930" y="142"/>
                </a:lnTo>
                <a:lnTo>
                  <a:pt x="3932" y="132"/>
                </a:lnTo>
                <a:lnTo>
                  <a:pt x="3936" y="112"/>
                </a:lnTo>
                <a:lnTo>
                  <a:pt x="3939" y="102"/>
                </a:lnTo>
                <a:lnTo>
                  <a:pt x="3942" y="94"/>
                </a:lnTo>
                <a:lnTo>
                  <a:pt x="3949" y="78"/>
                </a:lnTo>
                <a:lnTo>
                  <a:pt x="3957" y="62"/>
                </a:lnTo>
                <a:lnTo>
                  <a:pt x="3961" y="56"/>
                </a:lnTo>
                <a:lnTo>
                  <a:pt x="3965" y="50"/>
                </a:lnTo>
                <a:lnTo>
                  <a:pt x="3974" y="38"/>
                </a:lnTo>
                <a:lnTo>
                  <a:pt x="3984" y="28"/>
                </a:lnTo>
                <a:lnTo>
                  <a:pt x="3994" y="20"/>
                </a:lnTo>
                <a:lnTo>
                  <a:pt x="4005" y="12"/>
                </a:lnTo>
                <a:lnTo>
                  <a:pt x="4017" y="6"/>
                </a:lnTo>
                <a:lnTo>
                  <a:pt x="4029" y="4"/>
                </a:lnTo>
                <a:lnTo>
                  <a:pt x="4042" y="0"/>
                </a:lnTo>
                <a:lnTo>
                  <a:pt x="4055" y="0"/>
                </a:lnTo>
                <a:lnTo>
                  <a:pt x="4070" y="2"/>
                </a:lnTo>
                <a:lnTo>
                  <a:pt x="4085" y="4"/>
                </a:lnTo>
                <a:lnTo>
                  <a:pt x="4098" y="10"/>
                </a:lnTo>
                <a:lnTo>
                  <a:pt x="4104" y="14"/>
                </a:lnTo>
                <a:lnTo>
                  <a:pt x="4110" y="18"/>
                </a:lnTo>
                <a:lnTo>
                  <a:pt x="4122" y="26"/>
                </a:lnTo>
                <a:lnTo>
                  <a:pt x="4132" y="38"/>
                </a:lnTo>
                <a:lnTo>
                  <a:pt x="4141" y="50"/>
                </a:lnTo>
                <a:lnTo>
                  <a:pt x="4149" y="64"/>
                </a:lnTo>
                <a:lnTo>
                  <a:pt x="4153" y="72"/>
                </a:lnTo>
                <a:lnTo>
                  <a:pt x="4156" y="78"/>
                </a:lnTo>
                <a:lnTo>
                  <a:pt x="4159" y="86"/>
                </a:lnTo>
                <a:lnTo>
                  <a:pt x="4162" y="94"/>
                </a:lnTo>
                <a:lnTo>
                  <a:pt x="4167" y="112"/>
                </a:lnTo>
                <a:lnTo>
                  <a:pt x="4172" y="128"/>
                </a:lnTo>
                <a:lnTo>
                  <a:pt x="4175" y="146"/>
                </a:lnTo>
                <a:lnTo>
                  <a:pt x="4177" y="166"/>
                </a:lnTo>
                <a:lnTo>
                  <a:pt x="4179" y="184"/>
                </a:lnTo>
                <a:lnTo>
                  <a:pt x="4179" y="202"/>
                </a:lnTo>
                <a:lnTo>
                  <a:pt x="4117" y="228"/>
                </a:lnTo>
                <a:lnTo>
                  <a:pt x="4117" y="212"/>
                </a:lnTo>
                <a:lnTo>
                  <a:pt x="4115" y="198"/>
                </a:lnTo>
                <a:lnTo>
                  <a:pt x="4114" y="186"/>
                </a:lnTo>
                <a:lnTo>
                  <a:pt x="4112" y="172"/>
                </a:lnTo>
                <a:lnTo>
                  <a:pt x="4109" y="162"/>
                </a:lnTo>
                <a:lnTo>
                  <a:pt x="4106" y="152"/>
                </a:lnTo>
                <a:lnTo>
                  <a:pt x="4103" y="142"/>
                </a:lnTo>
                <a:lnTo>
                  <a:pt x="4099" y="136"/>
                </a:lnTo>
                <a:lnTo>
                  <a:pt x="4095" y="128"/>
                </a:lnTo>
                <a:lnTo>
                  <a:pt x="4090" y="122"/>
                </a:lnTo>
                <a:lnTo>
                  <a:pt x="4085" y="118"/>
                </a:lnTo>
                <a:lnTo>
                  <a:pt x="4079" y="114"/>
                </a:lnTo>
                <a:lnTo>
                  <a:pt x="4073" y="110"/>
                </a:lnTo>
                <a:lnTo>
                  <a:pt x="4067" y="108"/>
                </a:lnTo>
                <a:lnTo>
                  <a:pt x="4060" y="108"/>
                </a:lnTo>
                <a:lnTo>
                  <a:pt x="4052" y="106"/>
                </a:lnTo>
                <a:lnTo>
                  <a:pt x="4040" y="108"/>
                </a:lnTo>
                <a:lnTo>
                  <a:pt x="4028" y="112"/>
                </a:lnTo>
                <a:lnTo>
                  <a:pt x="4023" y="116"/>
                </a:lnTo>
                <a:lnTo>
                  <a:pt x="4018" y="120"/>
                </a:lnTo>
                <a:lnTo>
                  <a:pt x="4013" y="124"/>
                </a:lnTo>
                <a:lnTo>
                  <a:pt x="4009" y="128"/>
                </a:lnTo>
                <a:lnTo>
                  <a:pt x="4005" y="134"/>
                </a:lnTo>
                <a:lnTo>
                  <a:pt x="4002" y="140"/>
                </a:lnTo>
                <a:lnTo>
                  <a:pt x="3999" y="148"/>
                </a:lnTo>
                <a:lnTo>
                  <a:pt x="3996" y="156"/>
                </a:lnTo>
                <a:lnTo>
                  <a:pt x="3994" y="164"/>
                </a:lnTo>
                <a:lnTo>
                  <a:pt x="3993" y="174"/>
                </a:lnTo>
                <a:lnTo>
                  <a:pt x="3992" y="184"/>
                </a:lnTo>
                <a:lnTo>
                  <a:pt x="3992" y="194"/>
                </a:lnTo>
                <a:lnTo>
                  <a:pt x="3992" y="204"/>
                </a:lnTo>
                <a:lnTo>
                  <a:pt x="3992" y="214"/>
                </a:lnTo>
                <a:lnTo>
                  <a:pt x="3993" y="224"/>
                </a:lnTo>
                <a:lnTo>
                  <a:pt x="3994" y="232"/>
                </a:lnTo>
                <a:lnTo>
                  <a:pt x="3996" y="240"/>
                </a:lnTo>
                <a:lnTo>
                  <a:pt x="3998" y="248"/>
                </a:lnTo>
                <a:lnTo>
                  <a:pt x="4001" y="255"/>
                </a:lnTo>
                <a:lnTo>
                  <a:pt x="4003" y="261"/>
                </a:lnTo>
                <a:lnTo>
                  <a:pt x="4007" y="267"/>
                </a:lnTo>
                <a:lnTo>
                  <a:pt x="4010" y="273"/>
                </a:lnTo>
                <a:lnTo>
                  <a:pt x="4019" y="285"/>
                </a:lnTo>
                <a:lnTo>
                  <a:pt x="4029" y="297"/>
                </a:lnTo>
                <a:lnTo>
                  <a:pt x="4041" y="309"/>
                </a:lnTo>
                <a:lnTo>
                  <a:pt x="4103" y="363"/>
                </a:lnTo>
                <a:lnTo>
                  <a:pt x="4113" y="373"/>
                </a:lnTo>
                <a:lnTo>
                  <a:pt x="4123" y="383"/>
                </a:lnTo>
                <a:lnTo>
                  <a:pt x="4133" y="393"/>
                </a:lnTo>
                <a:lnTo>
                  <a:pt x="4141" y="405"/>
                </a:lnTo>
                <a:lnTo>
                  <a:pt x="4149" y="417"/>
                </a:lnTo>
                <a:lnTo>
                  <a:pt x="4156" y="427"/>
                </a:lnTo>
                <a:lnTo>
                  <a:pt x="4162" y="441"/>
                </a:lnTo>
                <a:lnTo>
                  <a:pt x="4168" y="453"/>
                </a:lnTo>
                <a:lnTo>
                  <a:pt x="4173" y="467"/>
                </a:lnTo>
                <a:lnTo>
                  <a:pt x="4177" y="481"/>
                </a:lnTo>
                <a:lnTo>
                  <a:pt x="4181" y="495"/>
                </a:lnTo>
                <a:lnTo>
                  <a:pt x="4184" y="511"/>
                </a:lnTo>
                <a:lnTo>
                  <a:pt x="4186" y="527"/>
                </a:lnTo>
                <a:lnTo>
                  <a:pt x="4187" y="537"/>
                </a:lnTo>
                <a:lnTo>
                  <a:pt x="4187" y="545"/>
                </a:lnTo>
                <a:lnTo>
                  <a:pt x="4188" y="563"/>
                </a:lnTo>
                <a:lnTo>
                  <a:pt x="4189" y="583"/>
                </a:lnTo>
                <a:lnTo>
                  <a:pt x="4188" y="609"/>
                </a:lnTo>
                <a:lnTo>
                  <a:pt x="4186" y="633"/>
                </a:lnTo>
                <a:lnTo>
                  <a:pt x="4185" y="645"/>
                </a:lnTo>
                <a:lnTo>
                  <a:pt x="4183" y="655"/>
                </a:lnTo>
                <a:lnTo>
                  <a:pt x="4181" y="667"/>
                </a:lnTo>
                <a:lnTo>
                  <a:pt x="4179" y="677"/>
                </a:lnTo>
                <a:lnTo>
                  <a:pt x="4177" y="687"/>
                </a:lnTo>
                <a:lnTo>
                  <a:pt x="4174" y="697"/>
                </a:lnTo>
                <a:lnTo>
                  <a:pt x="4167" y="715"/>
                </a:lnTo>
                <a:lnTo>
                  <a:pt x="4164" y="723"/>
                </a:lnTo>
                <a:lnTo>
                  <a:pt x="4160" y="733"/>
                </a:lnTo>
                <a:lnTo>
                  <a:pt x="4152" y="746"/>
                </a:lnTo>
                <a:lnTo>
                  <a:pt x="4147" y="754"/>
                </a:lnTo>
                <a:lnTo>
                  <a:pt x="4142" y="760"/>
                </a:lnTo>
                <a:lnTo>
                  <a:pt x="4137" y="766"/>
                </a:lnTo>
                <a:lnTo>
                  <a:pt x="4132" y="772"/>
                </a:lnTo>
                <a:lnTo>
                  <a:pt x="4121" y="782"/>
                </a:lnTo>
                <a:lnTo>
                  <a:pt x="4109" y="790"/>
                </a:lnTo>
                <a:lnTo>
                  <a:pt x="4096" y="798"/>
                </a:lnTo>
                <a:lnTo>
                  <a:pt x="4082" y="802"/>
                </a:lnTo>
                <a:lnTo>
                  <a:pt x="4075" y="804"/>
                </a:lnTo>
                <a:lnTo>
                  <a:pt x="4068" y="804"/>
                </a:lnTo>
                <a:lnTo>
                  <a:pt x="4052" y="806"/>
                </a:lnTo>
                <a:close/>
                <a:moveTo>
                  <a:pt x="1669" y="1273"/>
                </a:moveTo>
                <a:lnTo>
                  <a:pt x="1669" y="1936"/>
                </a:lnTo>
                <a:lnTo>
                  <a:pt x="1604" y="1936"/>
                </a:lnTo>
                <a:lnTo>
                  <a:pt x="1604" y="1273"/>
                </a:lnTo>
                <a:lnTo>
                  <a:pt x="1506" y="1273"/>
                </a:lnTo>
                <a:lnTo>
                  <a:pt x="1506" y="1166"/>
                </a:lnTo>
                <a:lnTo>
                  <a:pt x="1767" y="1166"/>
                </a:lnTo>
                <a:lnTo>
                  <a:pt x="1767" y="1273"/>
                </a:lnTo>
                <a:lnTo>
                  <a:pt x="1669" y="1273"/>
                </a:lnTo>
                <a:close/>
                <a:moveTo>
                  <a:pt x="1832" y="1936"/>
                </a:moveTo>
                <a:lnTo>
                  <a:pt x="1832" y="1166"/>
                </a:lnTo>
                <a:lnTo>
                  <a:pt x="2060" y="1166"/>
                </a:lnTo>
                <a:lnTo>
                  <a:pt x="2060" y="1273"/>
                </a:lnTo>
                <a:lnTo>
                  <a:pt x="1897" y="1273"/>
                </a:lnTo>
                <a:lnTo>
                  <a:pt x="1897" y="1489"/>
                </a:lnTo>
                <a:lnTo>
                  <a:pt x="2030" y="1489"/>
                </a:lnTo>
                <a:lnTo>
                  <a:pt x="2030" y="1593"/>
                </a:lnTo>
                <a:lnTo>
                  <a:pt x="1897" y="1593"/>
                </a:lnTo>
                <a:lnTo>
                  <a:pt x="1897" y="1828"/>
                </a:lnTo>
                <a:lnTo>
                  <a:pt x="2060" y="1828"/>
                </a:lnTo>
                <a:lnTo>
                  <a:pt x="2060" y="1936"/>
                </a:lnTo>
                <a:lnTo>
                  <a:pt x="1832" y="1936"/>
                </a:lnTo>
                <a:close/>
                <a:moveTo>
                  <a:pt x="2260" y="1954"/>
                </a:moveTo>
                <a:lnTo>
                  <a:pt x="2251" y="1954"/>
                </a:lnTo>
                <a:lnTo>
                  <a:pt x="2242" y="1952"/>
                </a:lnTo>
                <a:lnTo>
                  <a:pt x="2234" y="1950"/>
                </a:lnTo>
                <a:lnTo>
                  <a:pt x="2226" y="1948"/>
                </a:lnTo>
                <a:lnTo>
                  <a:pt x="2218" y="1944"/>
                </a:lnTo>
                <a:lnTo>
                  <a:pt x="2211" y="1938"/>
                </a:lnTo>
                <a:lnTo>
                  <a:pt x="2204" y="1932"/>
                </a:lnTo>
                <a:lnTo>
                  <a:pt x="2197" y="1926"/>
                </a:lnTo>
                <a:lnTo>
                  <a:pt x="2190" y="1920"/>
                </a:lnTo>
                <a:lnTo>
                  <a:pt x="2184" y="1912"/>
                </a:lnTo>
                <a:lnTo>
                  <a:pt x="2178" y="1902"/>
                </a:lnTo>
                <a:lnTo>
                  <a:pt x="2172" y="1892"/>
                </a:lnTo>
                <a:lnTo>
                  <a:pt x="2166" y="1882"/>
                </a:lnTo>
                <a:lnTo>
                  <a:pt x="2161" y="1872"/>
                </a:lnTo>
                <a:lnTo>
                  <a:pt x="2156" y="1860"/>
                </a:lnTo>
                <a:lnTo>
                  <a:pt x="2151" y="1846"/>
                </a:lnTo>
                <a:lnTo>
                  <a:pt x="2147" y="1834"/>
                </a:lnTo>
                <a:lnTo>
                  <a:pt x="2143" y="1820"/>
                </a:lnTo>
                <a:lnTo>
                  <a:pt x="2139" y="1804"/>
                </a:lnTo>
                <a:lnTo>
                  <a:pt x="2135" y="1788"/>
                </a:lnTo>
                <a:lnTo>
                  <a:pt x="2132" y="1772"/>
                </a:lnTo>
                <a:lnTo>
                  <a:pt x="2129" y="1756"/>
                </a:lnTo>
                <a:lnTo>
                  <a:pt x="2126" y="1738"/>
                </a:lnTo>
                <a:lnTo>
                  <a:pt x="2124" y="1720"/>
                </a:lnTo>
                <a:lnTo>
                  <a:pt x="2121" y="1701"/>
                </a:lnTo>
                <a:lnTo>
                  <a:pt x="2120" y="1681"/>
                </a:lnTo>
                <a:lnTo>
                  <a:pt x="2118" y="1661"/>
                </a:lnTo>
                <a:lnTo>
                  <a:pt x="2117" y="1641"/>
                </a:lnTo>
                <a:lnTo>
                  <a:pt x="2115" y="1597"/>
                </a:lnTo>
                <a:lnTo>
                  <a:pt x="2114" y="1575"/>
                </a:lnTo>
                <a:lnTo>
                  <a:pt x="2114" y="1551"/>
                </a:lnTo>
                <a:lnTo>
                  <a:pt x="2115" y="1505"/>
                </a:lnTo>
                <a:lnTo>
                  <a:pt x="2117" y="1461"/>
                </a:lnTo>
                <a:lnTo>
                  <a:pt x="2118" y="1441"/>
                </a:lnTo>
                <a:lnTo>
                  <a:pt x="2120" y="1421"/>
                </a:lnTo>
                <a:lnTo>
                  <a:pt x="2124" y="1383"/>
                </a:lnTo>
                <a:lnTo>
                  <a:pt x="2126" y="1363"/>
                </a:lnTo>
                <a:lnTo>
                  <a:pt x="2129" y="1347"/>
                </a:lnTo>
                <a:lnTo>
                  <a:pt x="2135" y="1313"/>
                </a:lnTo>
                <a:lnTo>
                  <a:pt x="2139" y="1297"/>
                </a:lnTo>
                <a:lnTo>
                  <a:pt x="2143" y="1283"/>
                </a:lnTo>
                <a:lnTo>
                  <a:pt x="2147" y="1269"/>
                </a:lnTo>
                <a:lnTo>
                  <a:pt x="2151" y="1255"/>
                </a:lnTo>
                <a:lnTo>
                  <a:pt x="2156" y="1243"/>
                </a:lnTo>
                <a:lnTo>
                  <a:pt x="2161" y="1231"/>
                </a:lnTo>
                <a:lnTo>
                  <a:pt x="2166" y="1220"/>
                </a:lnTo>
                <a:lnTo>
                  <a:pt x="2172" y="1210"/>
                </a:lnTo>
                <a:lnTo>
                  <a:pt x="2178" y="1200"/>
                </a:lnTo>
                <a:lnTo>
                  <a:pt x="2184" y="1192"/>
                </a:lnTo>
                <a:lnTo>
                  <a:pt x="2197" y="1176"/>
                </a:lnTo>
                <a:lnTo>
                  <a:pt x="2204" y="1170"/>
                </a:lnTo>
                <a:lnTo>
                  <a:pt x="2211" y="1164"/>
                </a:lnTo>
                <a:lnTo>
                  <a:pt x="2218" y="1160"/>
                </a:lnTo>
                <a:lnTo>
                  <a:pt x="2226" y="1156"/>
                </a:lnTo>
                <a:lnTo>
                  <a:pt x="2234" y="1152"/>
                </a:lnTo>
                <a:lnTo>
                  <a:pt x="2242" y="1150"/>
                </a:lnTo>
                <a:lnTo>
                  <a:pt x="2251" y="1148"/>
                </a:lnTo>
                <a:lnTo>
                  <a:pt x="2260" y="1148"/>
                </a:lnTo>
                <a:lnTo>
                  <a:pt x="2268" y="1148"/>
                </a:lnTo>
                <a:lnTo>
                  <a:pt x="2277" y="1150"/>
                </a:lnTo>
                <a:lnTo>
                  <a:pt x="2285" y="1152"/>
                </a:lnTo>
                <a:lnTo>
                  <a:pt x="2293" y="1156"/>
                </a:lnTo>
                <a:lnTo>
                  <a:pt x="2301" y="1160"/>
                </a:lnTo>
                <a:lnTo>
                  <a:pt x="2308" y="1164"/>
                </a:lnTo>
                <a:lnTo>
                  <a:pt x="2316" y="1170"/>
                </a:lnTo>
                <a:lnTo>
                  <a:pt x="2323" y="1176"/>
                </a:lnTo>
                <a:lnTo>
                  <a:pt x="2329" y="1184"/>
                </a:lnTo>
                <a:lnTo>
                  <a:pt x="2336" y="1192"/>
                </a:lnTo>
                <a:lnTo>
                  <a:pt x="2342" y="1200"/>
                </a:lnTo>
                <a:lnTo>
                  <a:pt x="2348" y="1210"/>
                </a:lnTo>
                <a:lnTo>
                  <a:pt x="2353" y="1220"/>
                </a:lnTo>
                <a:lnTo>
                  <a:pt x="2359" y="1229"/>
                </a:lnTo>
                <a:lnTo>
                  <a:pt x="2364" y="1241"/>
                </a:lnTo>
                <a:lnTo>
                  <a:pt x="2368" y="1255"/>
                </a:lnTo>
                <a:lnTo>
                  <a:pt x="2377" y="1283"/>
                </a:lnTo>
                <a:lnTo>
                  <a:pt x="2381" y="1297"/>
                </a:lnTo>
                <a:lnTo>
                  <a:pt x="2385" y="1313"/>
                </a:lnTo>
                <a:lnTo>
                  <a:pt x="2391" y="1345"/>
                </a:lnTo>
                <a:lnTo>
                  <a:pt x="2394" y="1363"/>
                </a:lnTo>
                <a:lnTo>
                  <a:pt x="2396" y="1381"/>
                </a:lnTo>
                <a:lnTo>
                  <a:pt x="2398" y="1401"/>
                </a:lnTo>
                <a:lnTo>
                  <a:pt x="2400" y="1421"/>
                </a:lnTo>
                <a:lnTo>
                  <a:pt x="2402" y="1441"/>
                </a:lnTo>
                <a:lnTo>
                  <a:pt x="2403" y="1461"/>
                </a:lnTo>
                <a:lnTo>
                  <a:pt x="2404" y="1483"/>
                </a:lnTo>
                <a:lnTo>
                  <a:pt x="2405" y="1505"/>
                </a:lnTo>
                <a:lnTo>
                  <a:pt x="2405" y="1527"/>
                </a:lnTo>
                <a:lnTo>
                  <a:pt x="2406" y="1551"/>
                </a:lnTo>
                <a:lnTo>
                  <a:pt x="2405" y="1597"/>
                </a:lnTo>
                <a:lnTo>
                  <a:pt x="2403" y="1641"/>
                </a:lnTo>
                <a:lnTo>
                  <a:pt x="2402" y="1663"/>
                </a:lnTo>
                <a:lnTo>
                  <a:pt x="2400" y="1683"/>
                </a:lnTo>
                <a:lnTo>
                  <a:pt x="2396" y="1720"/>
                </a:lnTo>
                <a:lnTo>
                  <a:pt x="2394" y="1738"/>
                </a:lnTo>
                <a:lnTo>
                  <a:pt x="2391" y="1756"/>
                </a:lnTo>
                <a:lnTo>
                  <a:pt x="2388" y="1772"/>
                </a:lnTo>
                <a:lnTo>
                  <a:pt x="2385" y="1790"/>
                </a:lnTo>
                <a:lnTo>
                  <a:pt x="2381" y="1804"/>
                </a:lnTo>
                <a:lnTo>
                  <a:pt x="2377" y="1820"/>
                </a:lnTo>
                <a:lnTo>
                  <a:pt x="2373" y="1834"/>
                </a:lnTo>
                <a:lnTo>
                  <a:pt x="2368" y="1846"/>
                </a:lnTo>
                <a:lnTo>
                  <a:pt x="2364" y="1860"/>
                </a:lnTo>
                <a:lnTo>
                  <a:pt x="2359" y="1872"/>
                </a:lnTo>
                <a:lnTo>
                  <a:pt x="2353" y="1882"/>
                </a:lnTo>
                <a:lnTo>
                  <a:pt x="2348" y="1894"/>
                </a:lnTo>
                <a:lnTo>
                  <a:pt x="2342" y="1902"/>
                </a:lnTo>
                <a:lnTo>
                  <a:pt x="2336" y="1912"/>
                </a:lnTo>
                <a:lnTo>
                  <a:pt x="2329" y="1920"/>
                </a:lnTo>
                <a:lnTo>
                  <a:pt x="2323" y="1926"/>
                </a:lnTo>
                <a:lnTo>
                  <a:pt x="2316" y="1934"/>
                </a:lnTo>
                <a:lnTo>
                  <a:pt x="2308" y="1938"/>
                </a:lnTo>
                <a:lnTo>
                  <a:pt x="2301" y="1944"/>
                </a:lnTo>
                <a:lnTo>
                  <a:pt x="2293" y="1948"/>
                </a:lnTo>
                <a:lnTo>
                  <a:pt x="2285" y="1950"/>
                </a:lnTo>
                <a:lnTo>
                  <a:pt x="2277" y="1952"/>
                </a:lnTo>
                <a:lnTo>
                  <a:pt x="2268" y="1954"/>
                </a:lnTo>
                <a:lnTo>
                  <a:pt x="2260" y="1954"/>
                </a:lnTo>
                <a:close/>
                <a:moveTo>
                  <a:pt x="2260" y="1257"/>
                </a:moveTo>
                <a:lnTo>
                  <a:pt x="2251" y="1257"/>
                </a:lnTo>
                <a:lnTo>
                  <a:pt x="2246" y="1259"/>
                </a:lnTo>
                <a:lnTo>
                  <a:pt x="2242" y="1259"/>
                </a:lnTo>
                <a:lnTo>
                  <a:pt x="2234" y="1265"/>
                </a:lnTo>
                <a:lnTo>
                  <a:pt x="2227" y="1271"/>
                </a:lnTo>
                <a:lnTo>
                  <a:pt x="2223" y="1275"/>
                </a:lnTo>
                <a:lnTo>
                  <a:pt x="2220" y="1281"/>
                </a:lnTo>
                <a:lnTo>
                  <a:pt x="2216" y="1287"/>
                </a:lnTo>
                <a:lnTo>
                  <a:pt x="2213" y="1293"/>
                </a:lnTo>
                <a:lnTo>
                  <a:pt x="2210" y="1299"/>
                </a:lnTo>
                <a:lnTo>
                  <a:pt x="2207" y="1307"/>
                </a:lnTo>
                <a:lnTo>
                  <a:pt x="2201" y="1323"/>
                </a:lnTo>
                <a:lnTo>
                  <a:pt x="2199" y="1331"/>
                </a:lnTo>
                <a:lnTo>
                  <a:pt x="2196" y="1341"/>
                </a:lnTo>
                <a:lnTo>
                  <a:pt x="2192" y="1363"/>
                </a:lnTo>
                <a:lnTo>
                  <a:pt x="2188" y="1387"/>
                </a:lnTo>
                <a:lnTo>
                  <a:pt x="2187" y="1399"/>
                </a:lnTo>
                <a:lnTo>
                  <a:pt x="2185" y="1413"/>
                </a:lnTo>
                <a:lnTo>
                  <a:pt x="2183" y="1443"/>
                </a:lnTo>
                <a:lnTo>
                  <a:pt x="2181" y="1477"/>
                </a:lnTo>
                <a:lnTo>
                  <a:pt x="2180" y="1513"/>
                </a:lnTo>
                <a:lnTo>
                  <a:pt x="2180" y="1551"/>
                </a:lnTo>
                <a:lnTo>
                  <a:pt x="2180" y="1591"/>
                </a:lnTo>
                <a:lnTo>
                  <a:pt x="2181" y="1627"/>
                </a:lnTo>
                <a:lnTo>
                  <a:pt x="2183" y="1659"/>
                </a:lnTo>
                <a:lnTo>
                  <a:pt x="2185" y="1689"/>
                </a:lnTo>
                <a:lnTo>
                  <a:pt x="2188" y="1714"/>
                </a:lnTo>
                <a:lnTo>
                  <a:pt x="2192" y="1738"/>
                </a:lnTo>
                <a:lnTo>
                  <a:pt x="2196" y="1760"/>
                </a:lnTo>
                <a:lnTo>
                  <a:pt x="2201" y="1780"/>
                </a:lnTo>
                <a:lnTo>
                  <a:pt x="2207" y="1796"/>
                </a:lnTo>
                <a:lnTo>
                  <a:pt x="2213" y="1810"/>
                </a:lnTo>
                <a:lnTo>
                  <a:pt x="2220" y="1820"/>
                </a:lnTo>
                <a:lnTo>
                  <a:pt x="2227" y="1830"/>
                </a:lnTo>
                <a:lnTo>
                  <a:pt x="2234" y="1836"/>
                </a:lnTo>
                <a:lnTo>
                  <a:pt x="2242" y="1842"/>
                </a:lnTo>
                <a:lnTo>
                  <a:pt x="2251" y="1844"/>
                </a:lnTo>
                <a:lnTo>
                  <a:pt x="2260" y="1846"/>
                </a:lnTo>
                <a:lnTo>
                  <a:pt x="2269" y="1844"/>
                </a:lnTo>
                <a:lnTo>
                  <a:pt x="2273" y="1844"/>
                </a:lnTo>
                <a:lnTo>
                  <a:pt x="2277" y="1842"/>
                </a:lnTo>
                <a:lnTo>
                  <a:pt x="2285" y="1836"/>
                </a:lnTo>
                <a:lnTo>
                  <a:pt x="2293" y="1830"/>
                </a:lnTo>
                <a:lnTo>
                  <a:pt x="2296" y="1826"/>
                </a:lnTo>
                <a:lnTo>
                  <a:pt x="2300" y="1820"/>
                </a:lnTo>
                <a:lnTo>
                  <a:pt x="2306" y="1808"/>
                </a:lnTo>
                <a:lnTo>
                  <a:pt x="2309" y="1802"/>
                </a:lnTo>
                <a:lnTo>
                  <a:pt x="2312" y="1796"/>
                </a:lnTo>
                <a:lnTo>
                  <a:pt x="2318" y="1778"/>
                </a:lnTo>
                <a:lnTo>
                  <a:pt x="2320" y="1770"/>
                </a:lnTo>
                <a:lnTo>
                  <a:pt x="2323" y="1760"/>
                </a:lnTo>
                <a:lnTo>
                  <a:pt x="2327" y="1738"/>
                </a:lnTo>
                <a:lnTo>
                  <a:pt x="2331" y="1714"/>
                </a:lnTo>
                <a:lnTo>
                  <a:pt x="2332" y="1703"/>
                </a:lnTo>
                <a:lnTo>
                  <a:pt x="2334" y="1689"/>
                </a:lnTo>
                <a:lnTo>
                  <a:pt x="2336" y="1659"/>
                </a:lnTo>
                <a:lnTo>
                  <a:pt x="2338" y="1625"/>
                </a:lnTo>
                <a:lnTo>
                  <a:pt x="2339" y="1591"/>
                </a:lnTo>
                <a:lnTo>
                  <a:pt x="2340" y="1551"/>
                </a:lnTo>
                <a:lnTo>
                  <a:pt x="2339" y="1513"/>
                </a:lnTo>
                <a:lnTo>
                  <a:pt x="2338" y="1477"/>
                </a:lnTo>
                <a:lnTo>
                  <a:pt x="2336" y="1443"/>
                </a:lnTo>
                <a:lnTo>
                  <a:pt x="2334" y="1415"/>
                </a:lnTo>
                <a:lnTo>
                  <a:pt x="2331" y="1387"/>
                </a:lnTo>
                <a:lnTo>
                  <a:pt x="2327" y="1363"/>
                </a:lnTo>
                <a:lnTo>
                  <a:pt x="2323" y="1341"/>
                </a:lnTo>
                <a:lnTo>
                  <a:pt x="2318" y="1323"/>
                </a:lnTo>
                <a:lnTo>
                  <a:pt x="2312" y="1307"/>
                </a:lnTo>
                <a:lnTo>
                  <a:pt x="2306" y="1293"/>
                </a:lnTo>
                <a:lnTo>
                  <a:pt x="2300" y="1281"/>
                </a:lnTo>
                <a:lnTo>
                  <a:pt x="2293" y="1271"/>
                </a:lnTo>
                <a:lnTo>
                  <a:pt x="2285" y="1265"/>
                </a:lnTo>
                <a:lnTo>
                  <a:pt x="2277" y="1259"/>
                </a:lnTo>
                <a:lnTo>
                  <a:pt x="2273" y="1259"/>
                </a:lnTo>
                <a:lnTo>
                  <a:pt x="2269" y="1257"/>
                </a:lnTo>
                <a:lnTo>
                  <a:pt x="2260" y="1257"/>
                </a:lnTo>
                <a:close/>
                <a:moveTo>
                  <a:pt x="2485" y="1936"/>
                </a:moveTo>
                <a:lnTo>
                  <a:pt x="2485" y="1166"/>
                </a:lnTo>
                <a:lnTo>
                  <a:pt x="2549" y="1166"/>
                </a:lnTo>
                <a:lnTo>
                  <a:pt x="2549" y="1828"/>
                </a:lnTo>
                <a:lnTo>
                  <a:pt x="2709" y="1828"/>
                </a:lnTo>
                <a:lnTo>
                  <a:pt x="2709" y="1936"/>
                </a:lnTo>
                <a:lnTo>
                  <a:pt x="2485" y="1936"/>
                </a:lnTo>
                <a:close/>
                <a:moveTo>
                  <a:pt x="2769" y="1936"/>
                </a:moveTo>
                <a:lnTo>
                  <a:pt x="2769" y="1166"/>
                </a:lnTo>
                <a:lnTo>
                  <a:pt x="2835" y="1166"/>
                </a:lnTo>
                <a:lnTo>
                  <a:pt x="2835" y="1828"/>
                </a:lnTo>
                <a:lnTo>
                  <a:pt x="2994" y="1828"/>
                </a:lnTo>
                <a:lnTo>
                  <a:pt x="2994" y="1936"/>
                </a:lnTo>
                <a:lnTo>
                  <a:pt x="2769" y="1936"/>
                </a:lnTo>
                <a:close/>
                <a:moveTo>
                  <a:pt x="3055" y="1166"/>
                </a:moveTo>
                <a:lnTo>
                  <a:pt x="3120" y="1166"/>
                </a:lnTo>
                <a:lnTo>
                  <a:pt x="3120" y="1936"/>
                </a:lnTo>
                <a:lnTo>
                  <a:pt x="3055" y="1936"/>
                </a:lnTo>
                <a:lnTo>
                  <a:pt x="3055" y="1166"/>
                </a:lnTo>
                <a:close/>
                <a:moveTo>
                  <a:pt x="3337" y="1954"/>
                </a:moveTo>
                <a:lnTo>
                  <a:pt x="3321" y="1954"/>
                </a:lnTo>
                <a:lnTo>
                  <a:pt x="3305" y="1950"/>
                </a:lnTo>
                <a:lnTo>
                  <a:pt x="3291" y="1944"/>
                </a:lnTo>
                <a:lnTo>
                  <a:pt x="3284" y="1940"/>
                </a:lnTo>
                <a:lnTo>
                  <a:pt x="3278" y="1936"/>
                </a:lnTo>
                <a:lnTo>
                  <a:pt x="3266" y="1928"/>
                </a:lnTo>
                <a:lnTo>
                  <a:pt x="3260" y="1922"/>
                </a:lnTo>
                <a:lnTo>
                  <a:pt x="3255" y="1916"/>
                </a:lnTo>
                <a:lnTo>
                  <a:pt x="3245" y="1902"/>
                </a:lnTo>
                <a:lnTo>
                  <a:pt x="3241" y="1896"/>
                </a:lnTo>
                <a:lnTo>
                  <a:pt x="3236" y="1888"/>
                </a:lnTo>
                <a:lnTo>
                  <a:pt x="3232" y="1880"/>
                </a:lnTo>
                <a:lnTo>
                  <a:pt x="3229" y="1872"/>
                </a:lnTo>
                <a:lnTo>
                  <a:pt x="3225" y="1864"/>
                </a:lnTo>
                <a:lnTo>
                  <a:pt x="3222" y="1854"/>
                </a:lnTo>
                <a:lnTo>
                  <a:pt x="3216" y="1834"/>
                </a:lnTo>
                <a:lnTo>
                  <a:pt x="3211" y="1814"/>
                </a:lnTo>
                <a:lnTo>
                  <a:pt x="3210" y="1804"/>
                </a:lnTo>
                <a:lnTo>
                  <a:pt x="3208" y="1792"/>
                </a:lnTo>
                <a:lnTo>
                  <a:pt x="3205" y="1770"/>
                </a:lnTo>
                <a:lnTo>
                  <a:pt x="3203" y="1746"/>
                </a:lnTo>
                <a:lnTo>
                  <a:pt x="3203" y="1732"/>
                </a:lnTo>
                <a:lnTo>
                  <a:pt x="3203" y="1720"/>
                </a:lnTo>
                <a:lnTo>
                  <a:pt x="3265" y="1693"/>
                </a:lnTo>
                <a:lnTo>
                  <a:pt x="3266" y="1714"/>
                </a:lnTo>
                <a:lnTo>
                  <a:pt x="3267" y="1734"/>
                </a:lnTo>
                <a:lnTo>
                  <a:pt x="3269" y="1750"/>
                </a:lnTo>
                <a:lnTo>
                  <a:pt x="3271" y="1766"/>
                </a:lnTo>
                <a:lnTo>
                  <a:pt x="3273" y="1774"/>
                </a:lnTo>
                <a:lnTo>
                  <a:pt x="3274" y="1782"/>
                </a:lnTo>
                <a:lnTo>
                  <a:pt x="3278" y="1794"/>
                </a:lnTo>
                <a:lnTo>
                  <a:pt x="3282" y="1804"/>
                </a:lnTo>
                <a:lnTo>
                  <a:pt x="3286" y="1814"/>
                </a:lnTo>
                <a:lnTo>
                  <a:pt x="3291" y="1824"/>
                </a:lnTo>
                <a:lnTo>
                  <a:pt x="3297" y="1830"/>
                </a:lnTo>
                <a:lnTo>
                  <a:pt x="3303" y="1836"/>
                </a:lnTo>
                <a:lnTo>
                  <a:pt x="3310" y="1840"/>
                </a:lnTo>
                <a:lnTo>
                  <a:pt x="3317" y="1844"/>
                </a:lnTo>
                <a:lnTo>
                  <a:pt x="3324" y="1846"/>
                </a:lnTo>
                <a:lnTo>
                  <a:pt x="3332" y="1848"/>
                </a:lnTo>
                <a:lnTo>
                  <a:pt x="3341" y="1848"/>
                </a:lnTo>
                <a:lnTo>
                  <a:pt x="3348" y="1848"/>
                </a:lnTo>
                <a:lnTo>
                  <a:pt x="3355" y="1846"/>
                </a:lnTo>
                <a:lnTo>
                  <a:pt x="3362" y="1844"/>
                </a:lnTo>
                <a:lnTo>
                  <a:pt x="3368" y="1842"/>
                </a:lnTo>
                <a:lnTo>
                  <a:pt x="3374" y="1838"/>
                </a:lnTo>
                <a:lnTo>
                  <a:pt x="3380" y="1832"/>
                </a:lnTo>
                <a:lnTo>
                  <a:pt x="3385" y="1826"/>
                </a:lnTo>
                <a:lnTo>
                  <a:pt x="3390" y="1820"/>
                </a:lnTo>
                <a:lnTo>
                  <a:pt x="3394" y="1812"/>
                </a:lnTo>
                <a:lnTo>
                  <a:pt x="3398" y="1804"/>
                </a:lnTo>
                <a:lnTo>
                  <a:pt x="3401" y="1796"/>
                </a:lnTo>
                <a:lnTo>
                  <a:pt x="3404" y="1786"/>
                </a:lnTo>
                <a:lnTo>
                  <a:pt x="3406" y="1774"/>
                </a:lnTo>
                <a:lnTo>
                  <a:pt x="3407" y="1770"/>
                </a:lnTo>
                <a:lnTo>
                  <a:pt x="3408" y="1764"/>
                </a:lnTo>
                <a:lnTo>
                  <a:pt x="3409" y="1752"/>
                </a:lnTo>
                <a:lnTo>
                  <a:pt x="3409" y="1738"/>
                </a:lnTo>
                <a:lnTo>
                  <a:pt x="3409" y="1728"/>
                </a:lnTo>
                <a:lnTo>
                  <a:pt x="3408" y="1718"/>
                </a:lnTo>
                <a:lnTo>
                  <a:pt x="3407" y="1711"/>
                </a:lnTo>
                <a:lnTo>
                  <a:pt x="3406" y="1701"/>
                </a:lnTo>
                <a:lnTo>
                  <a:pt x="3404" y="1693"/>
                </a:lnTo>
                <a:lnTo>
                  <a:pt x="3402" y="1685"/>
                </a:lnTo>
                <a:lnTo>
                  <a:pt x="3400" y="1677"/>
                </a:lnTo>
                <a:lnTo>
                  <a:pt x="3396" y="1669"/>
                </a:lnTo>
                <a:lnTo>
                  <a:pt x="3389" y="1653"/>
                </a:lnTo>
                <a:lnTo>
                  <a:pt x="3385" y="1645"/>
                </a:lnTo>
                <a:lnTo>
                  <a:pt x="3380" y="1639"/>
                </a:lnTo>
                <a:lnTo>
                  <a:pt x="3369" y="1625"/>
                </a:lnTo>
                <a:lnTo>
                  <a:pt x="3356" y="1613"/>
                </a:lnTo>
                <a:lnTo>
                  <a:pt x="3292" y="1555"/>
                </a:lnTo>
                <a:lnTo>
                  <a:pt x="3282" y="1547"/>
                </a:lnTo>
                <a:lnTo>
                  <a:pt x="3273" y="1537"/>
                </a:lnTo>
                <a:lnTo>
                  <a:pt x="3257" y="1517"/>
                </a:lnTo>
                <a:lnTo>
                  <a:pt x="3243" y="1497"/>
                </a:lnTo>
                <a:lnTo>
                  <a:pt x="3237" y="1485"/>
                </a:lnTo>
                <a:lnTo>
                  <a:pt x="3232" y="1473"/>
                </a:lnTo>
                <a:lnTo>
                  <a:pt x="3227" y="1461"/>
                </a:lnTo>
                <a:lnTo>
                  <a:pt x="3223" y="1447"/>
                </a:lnTo>
                <a:lnTo>
                  <a:pt x="3220" y="1433"/>
                </a:lnTo>
                <a:lnTo>
                  <a:pt x="3217" y="1417"/>
                </a:lnTo>
                <a:lnTo>
                  <a:pt x="3215" y="1401"/>
                </a:lnTo>
                <a:lnTo>
                  <a:pt x="3214" y="1393"/>
                </a:lnTo>
                <a:lnTo>
                  <a:pt x="3213" y="1385"/>
                </a:lnTo>
                <a:lnTo>
                  <a:pt x="3212" y="1367"/>
                </a:lnTo>
                <a:lnTo>
                  <a:pt x="3212" y="1347"/>
                </a:lnTo>
                <a:lnTo>
                  <a:pt x="3212" y="1335"/>
                </a:lnTo>
                <a:lnTo>
                  <a:pt x="3213" y="1323"/>
                </a:lnTo>
                <a:lnTo>
                  <a:pt x="3214" y="1311"/>
                </a:lnTo>
                <a:lnTo>
                  <a:pt x="3215" y="1299"/>
                </a:lnTo>
                <a:lnTo>
                  <a:pt x="3216" y="1289"/>
                </a:lnTo>
                <a:lnTo>
                  <a:pt x="3218" y="1279"/>
                </a:lnTo>
                <a:lnTo>
                  <a:pt x="3222" y="1259"/>
                </a:lnTo>
                <a:lnTo>
                  <a:pt x="3225" y="1249"/>
                </a:lnTo>
                <a:lnTo>
                  <a:pt x="3228" y="1241"/>
                </a:lnTo>
                <a:lnTo>
                  <a:pt x="3234" y="1225"/>
                </a:lnTo>
                <a:lnTo>
                  <a:pt x="3241" y="1210"/>
                </a:lnTo>
                <a:lnTo>
                  <a:pt x="3245" y="1204"/>
                </a:lnTo>
                <a:lnTo>
                  <a:pt x="3250" y="1198"/>
                </a:lnTo>
                <a:lnTo>
                  <a:pt x="3259" y="1186"/>
                </a:lnTo>
                <a:lnTo>
                  <a:pt x="3269" y="1176"/>
                </a:lnTo>
                <a:lnTo>
                  <a:pt x="3279" y="1166"/>
                </a:lnTo>
                <a:lnTo>
                  <a:pt x="3290" y="1160"/>
                </a:lnTo>
                <a:lnTo>
                  <a:pt x="3302" y="1154"/>
                </a:lnTo>
                <a:lnTo>
                  <a:pt x="3314" y="1150"/>
                </a:lnTo>
                <a:lnTo>
                  <a:pt x="3327" y="1148"/>
                </a:lnTo>
                <a:lnTo>
                  <a:pt x="3340" y="1148"/>
                </a:lnTo>
                <a:lnTo>
                  <a:pt x="3355" y="1150"/>
                </a:lnTo>
                <a:lnTo>
                  <a:pt x="3370" y="1152"/>
                </a:lnTo>
                <a:lnTo>
                  <a:pt x="3383" y="1158"/>
                </a:lnTo>
                <a:lnTo>
                  <a:pt x="3389" y="1162"/>
                </a:lnTo>
                <a:lnTo>
                  <a:pt x="3395" y="1166"/>
                </a:lnTo>
                <a:lnTo>
                  <a:pt x="3407" y="1174"/>
                </a:lnTo>
                <a:lnTo>
                  <a:pt x="3417" y="1186"/>
                </a:lnTo>
                <a:lnTo>
                  <a:pt x="3426" y="1198"/>
                </a:lnTo>
                <a:lnTo>
                  <a:pt x="3434" y="1212"/>
                </a:lnTo>
                <a:lnTo>
                  <a:pt x="3438" y="1218"/>
                </a:lnTo>
                <a:lnTo>
                  <a:pt x="3441" y="1225"/>
                </a:lnTo>
                <a:lnTo>
                  <a:pt x="3444" y="1233"/>
                </a:lnTo>
                <a:lnTo>
                  <a:pt x="3447" y="1241"/>
                </a:lnTo>
                <a:lnTo>
                  <a:pt x="3452" y="1259"/>
                </a:lnTo>
                <a:lnTo>
                  <a:pt x="3457" y="1275"/>
                </a:lnTo>
                <a:lnTo>
                  <a:pt x="3460" y="1293"/>
                </a:lnTo>
                <a:lnTo>
                  <a:pt x="3462" y="1313"/>
                </a:lnTo>
                <a:lnTo>
                  <a:pt x="3464" y="1331"/>
                </a:lnTo>
                <a:lnTo>
                  <a:pt x="3464" y="1349"/>
                </a:lnTo>
                <a:lnTo>
                  <a:pt x="3402" y="1375"/>
                </a:lnTo>
                <a:lnTo>
                  <a:pt x="3402" y="1359"/>
                </a:lnTo>
                <a:lnTo>
                  <a:pt x="3400" y="1345"/>
                </a:lnTo>
                <a:lnTo>
                  <a:pt x="3399" y="1331"/>
                </a:lnTo>
                <a:lnTo>
                  <a:pt x="3397" y="1319"/>
                </a:lnTo>
                <a:lnTo>
                  <a:pt x="3394" y="1309"/>
                </a:lnTo>
                <a:lnTo>
                  <a:pt x="3391" y="1299"/>
                </a:lnTo>
                <a:lnTo>
                  <a:pt x="3388" y="1289"/>
                </a:lnTo>
                <a:lnTo>
                  <a:pt x="3384" y="1281"/>
                </a:lnTo>
                <a:lnTo>
                  <a:pt x="3380" y="1275"/>
                </a:lnTo>
                <a:lnTo>
                  <a:pt x="3375" y="1269"/>
                </a:lnTo>
                <a:lnTo>
                  <a:pt x="3370" y="1265"/>
                </a:lnTo>
                <a:lnTo>
                  <a:pt x="3364" y="1261"/>
                </a:lnTo>
                <a:lnTo>
                  <a:pt x="3358" y="1257"/>
                </a:lnTo>
                <a:lnTo>
                  <a:pt x="3352" y="1255"/>
                </a:lnTo>
                <a:lnTo>
                  <a:pt x="3345" y="1255"/>
                </a:lnTo>
                <a:lnTo>
                  <a:pt x="3337" y="1253"/>
                </a:lnTo>
                <a:lnTo>
                  <a:pt x="3325" y="1255"/>
                </a:lnTo>
                <a:lnTo>
                  <a:pt x="3313" y="1259"/>
                </a:lnTo>
                <a:lnTo>
                  <a:pt x="3308" y="1263"/>
                </a:lnTo>
                <a:lnTo>
                  <a:pt x="3303" y="1267"/>
                </a:lnTo>
                <a:lnTo>
                  <a:pt x="3298" y="1271"/>
                </a:lnTo>
                <a:lnTo>
                  <a:pt x="3294" y="1275"/>
                </a:lnTo>
                <a:lnTo>
                  <a:pt x="3290" y="1281"/>
                </a:lnTo>
                <a:lnTo>
                  <a:pt x="3287" y="1287"/>
                </a:lnTo>
                <a:lnTo>
                  <a:pt x="3284" y="1295"/>
                </a:lnTo>
                <a:lnTo>
                  <a:pt x="3281" y="1303"/>
                </a:lnTo>
                <a:lnTo>
                  <a:pt x="3279" y="1311"/>
                </a:lnTo>
                <a:lnTo>
                  <a:pt x="3278" y="1321"/>
                </a:lnTo>
                <a:lnTo>
                  <a:pt x="3277" y="1331"/>
                </a:lnTo>
                <a:lnTo>
                  <a:pt x="3276" y="1341"/>
                </a:lnTo>
                <a:lnTo>
                  <a:pt x="3277" y="1351"/>
                </a:lnTo>
                <a:lnTo>
                  <a:pt x="3277" y="1361"/>
                </a:lnTo>
                <a:lnTo>
                  <a:pt x="3278" y="1371"/>
                </a:lnTo>
                <a:lnTo>
                  <a:pt x="3279" y="1379"/>
                </a:lnTo>
                <a:lnTo>
                  <a:pt x="3281" y="1387"/>
                </a:lnTo>
                <a:lnTo>
                  <a:pt x="3283" y="1395"/>
                </a:lnTo>
                <a:lnTo>
                  <a:pt x="3286" y="1403"/>
                </a:lnTo>
                <a:lnTo>
                  <a:pt x="3288" y="1409"/>
                </a:lnTo>
                <a:lnTo>
                  <a:pt x="3292" y="1415"/>
                </a:lnTo>
                <a:lnTo>
                  <a:pt x="3295" y="1421"/>
                </a:lnTo>
                <a:lnTo>
                  <a:pt x="3304" y="1433"/>
                </a:lnTo>
                <a:lnTo>
                  <a:pt x="3314" y="1445"/>
                </a:lnTo>
                <a:lnTo>
                  <a:pt x="3326" y="1457"/>
                </a:lnTo>
                <a:lnTo>
                  <a:pt x="3388" y="1511"/>
                </a:lnTo>
                <a:lnTo>
                  <a:pt x="3398" y="1521"/>
                </a:lnTo>
                <a:lnTo>
                  <a:pt x="3408" y="1531"/>
                </a:lnTo>
                <a:lnTo>
                  <a:pt x="3418" y="1541"/>
                </a:lnTo>
                <a:lnTo>
                  <a:pt x="3426" y="1553"/>
                </a:lnTo>
                <a:lnTo>
                  <a:pt x="3434" y="1565"/>
                </a:lnTo>
                <a:lnTo>
                  <a:pt x="3441" y="1575"/>
                </a:lnTo>
                <a:lnTo>
                  <a:pt x="3447" y="1589"/>
                </a:lnTo>
                <a:lnTo>
                  <a:pt x="3453" y="1601"/>
                </a:lnTo>
                <a:lnTo>
                  <a:pt x="3458" y="1615"/>
                </a:lnTo>
                <a:lnTo>
                  <a:pt x="3462" y="1629"/>
                </a:lnTo>
                <a:lnTo>
                  <a:pt x="3466" y="1643"/>
                </a:lnTo>
                <a:lnTo>
                  <a:pt x="3469" y="1659"/>
                </a:lnTo>
                <a:lnTo>
                  <a:pt x="3471" y="1675"/>
                </a:lnTo>
                <a:lnTo>
                  <a:pt x="3472" y="1685"/>
                </a:lnTo>
                <a:lnTo>
                  <a:pt x="3472" y="1693"/>
                </a:lnTo>
                <a:lnTo>
                  <a:pt x="3473" y="1711"/>
                </a:lnTo>
                <a:lnTo>
                  <a:pt x="3474" y="1730"/>
                </a:lnTo>
                <a:lnTo>
                  <a:pt x="3473" y="1756"/>
                </a:lnTo>
                <a:lnTo>
                  <a:pt x="3471" y="1780"/>
                </a:lnTo>
                <a:lnTo>
                  <a:pt x="3470" y="1792"/>
                </a:lnTo>
                <a:lnTo>
                  <a:pt x="3468" y="1802"/>
                </a:lnTo>
                <a:lnTo>
                  <a:pt x="3466" y="1814"/>
                </a:lnTo>
                <a:lnTo>
                  <a:pt x="3464" y="1824"/>
                </a:lnTo>
                <a:lnTo>
                  <a:pt x="3461" y="1834"/>
                </a:lnTo>
                <a:lnTo>
                  <a:pt x="3459" y="1844"/>
                </a:lnTo>
                <a:lnTo>
                  <a:pt x="3452" y="1862"/>
                </a:lnTo>
                <a:lnTo>
                  <a:pt x="3449" y="1870"/>
                </a:lnTo>
                <a:lnTo>
                  <a:pt x="3445" y="1880"/>
                </a:lnTo>
                <a:lnTo>
                  <a:pt x="3437" y="1894"/>
                </a:lnTo>
                <a:lnTo>
                  <a:pt x="3432" y="1902"/>
                </a:lnTo>
                <a:lnTo>
                  <a:pt x="3427" y="1908"/>
                </a:lnTo>
                <a:lnTo>
                  <a:pt x="3422" y="1914"/>
                </a:lnTo>
                <a:lnTo>
                  <a:pt x="3417" y="1920"/>
                </a:lnTo>
                <a:lnTo>
                  <a:pt x="3406" y="1930"/>
                </a:lnTo>
                <a:lnTo>
                  <a:pt x="3394" y="1938"/>
                </a:lnTo>
                <a:lnTo>
                  <a:pt x="3381" y="1946"/>
                </a:lnTo>
                <a:lnTo>
                  <a:pt x="3367" y="1950"/>
                </a:lnTo>
                <a:lnTo>
                  <a:pt x="3360" y="1952"/>
                </a:lnTo>
                <a:lnTo>
                  <a:pt x="3353" y="1952"/>
                </a:lnTo>
                <a:lnTo>
                  <a:pt x="3337" y="1954"/>
                </a:lnTo>
                <a:close/>
                <a:moveTo>
                  <a:pt x="3582" y="1882"/>
                </a:moveTo>
                <a:lnTo>
                  <a:pt x="3574" y="1866"/>
                </a:lnTo>
                <a:lnTo>
                  <a:pt x="3567" y="1848"/>
                </a:lnTo>
                <a:lnTo>
                  <a:pt x="3562" y="1828"/>
                </a:lnTo>
                <a:lnTo>
                  <a:pt x="3559" y="1816"/>
                </a:lnTo>
                <a:lnTo>
                  <a:pt x="3557" y="1806"/>
                </a:lnTo>
                <a:lnTo>
                  <a:pt x="3554" y="1782"/>
                </a:lnTo>
                <a:lnTo>
                  <a:pt x="3551" y="1756"/>
                </a:lnTo>
                <a:lnTo>
                  <a:pt x="3550" y="1742"/>
                </a:lnTo>
                <a:lnTo>
                  <a:pt x="3550" y="1726"/>
                </a:lnTo>
                <a:lnTo>
                  <a:pt x="3549" y="1697"/>
                </a:lnTo>
                <a:lnTo>
                  <a:pt x="3549" y="1166"/>
                </a:lnTo>
                <a:lnTo>
                  <a:pt x="3615" y="1166"/>
                </a:lnTo>
                <a:lnTo>
                  <a:pt x="3615" y="1691"/>
                </a:lnTo>
                <a:lnTo>
                  <a:pt x="3615" y="1711"/>
                </a:lnTo>
                <a:lnTo>
                  <a:pt x="3616" y="1728"/>
                </a:lnTo>
                <a:lnTo>
                  <a:pt x="3617" y="1744"/>
                </a:lnTo>
                <a:lnTo>
                  <a:pt x="3618" y="1758"/>
                </a:lnTo>
                <a:lnTo>
                  <a:pt x="3620" y="1772"/>
                </a:lnTo>
                <a:lnTo>
                  <a:pt x="3623" y="1784"/>
                </a:lnTo>
                <a:lnTo>
                  <a:pt x="3625" y="1796"/>
                </a:lnTo>
                <a:lnTo>
                  <a:pt x="3629" y="1804"/>
                </a:lnTo>
                <a:lnTo>
                  <a:pt x="3633" y="1814"/>
                </a:lnTo>
                <a:lnTo>
                  <a:pt x="3637" y="1822"/>
                </a:lnTo>
                <a:lnTo>
                  <a:pt x="3643" y="1830"/>
                </a:lnTo>
                <a:lnTo>
                  <a:pt x="3649" y="1836"/>
                </a:lnTo>
                <a:lnTo>
                  <a:pt x="3652" y="1838"/>
                </a:lnTo>
                <a:lnTo>
                  <a:pt x="3655" y="1840"/>
                </a:lnTo>
                <a:lnTo>
                  <a:pt x="3662" y="1844"/>
                </a:lnTo>
                <a:lnTo>
                  <a:pt x="3670" y="1846"/>
                </a:lnTo>
                <a:lnTo>
                  <a:pt x="3678" y="1846"/>
                </a:lnTo>
                <a:lnTo>
                  <a:pt x="3686" y="1846"/>
                </a:lnTo>
                <a:lnTo>
                  <a:pt x="3694" y="1844"/>
                </a:lnTo>
                <a:lnTo>
                  <a:pt x="3701" y="1840"/>
                </a:lnTo>
                <a:lnTo>
                  <a:pt x="3708" y="1836"/>
                </a:lnTo>
                <a:lnTo>
                  <a:pt x="3713" y="1830"/>
                </a:lnTo>
                <a:lnTo>
                  <a:pt x="3719" y="1822"/>
                </a:lnTo>
                <a:lnTo>
                  <a:pt x="3723" y="1814"/>
                </a:lnTo>
                <a:lnTo>
                  <a:pt x="3728" y="1804"/>
                </a:lnTo>
                <a:lnTo>
                  <a:pt x="3731" y="1796"/>
                </a:lnTo>
                <a:lnTo>
                  <a:pt x="3734" y="1784"/>
                </a:lnTo>
                <a:lnTo>
                  <a:pt x="3736" y="1772"/>
                </a:lnTo>
                <a:lnTo>
                  <a:pt x="3738" y="1758"/>
                </a:lnTo>
                <a:lnTo>
                  <a:pt x="3740" y="1744"/>
                </a:lnTo>
                <a:lnTo>
                  <a:pt x="3741" y="1728"/>
                </a:lnTo>
                <a:lnTo>
                  <a:pt x="3741" y="1711"/>
                </a:lnTo>
                <a:lnTo>
                  <a:pt x="3741" y="1691"/>
                </a:lnTo>
                <a:lnTo>
                  <a:pt x="3741" y="1166"/>
                </a:lnTo>
                <a:lnTo>
                  <a:pt x="3807" y="1166"/>
                </a:lnTo>
                <a:lnTo>
                  <a:pt x="3807" y="1697"/>
                </a:lnTo>
                <a:lnTo>
                  <a:pt x="3806" y="1726"/>
                </a:lnTo>
                <a:lnTo>
                  <a:pt x="3805" y="1742"/>
                </a:lnTo>
                <a:lnTo>
                  <a:pt x="3805" y="1756"/>
                </a:lnTo>
                <a:lnTo>
                  <a:pt x="3802" y="1782"/>
                </a:lnTo>
                <a:lnTo>
                  <a:pt x="3798" y="1806"/>
                </a:lnTo>
                <a:lnTo>
                  <a:pt x="3796" y="1816"/>
                </a:lnTo>
                <a:lnTo>
                  <a:pt x="3794" y="1828"/>
                </a:lnTo>
                <a:lnTo>
                  <a:pt x="3788" y="1848"/>
                </a:lnTo>
                <a:lnTo>
                  <a:pt x="3785" y="1856"/>
                </a:lnTo>
                <a:lnTo>
                  <a:pt x="3782" y="1866"/>
                </a:lnTo>
                <a:lnTo>
                  <a:pt x="3779" y="1874"/>
                </a:lnTo>
                <a:lnTo>
                  <a:pt x="3775" y="1882"/>
                </a:lnTo>
                <a:lnTo>
                  <a:pt x="3771" y="1890"/>
                </a:lnTo>
                <a:lnTo>
                  <a:pt x="3766" y="1898"/>
                </a:lnTo>
                <a:lnTo>
                  <a:pt x="3756" y="1914"/>
                </a:lnTo>
                <a:lnTo>
                  <a:pt x="3745" y="1926"/>
                </a:lnTo>
                <a:lnTo>
                  <a:pt x="3739" y="1930"/>
                </a:lnTo>
                <a:lnTo>
                  <a:pt x="3733" y="1936"/>
                </a:lnTo>
                <a:lnTo>
                  <a:pt x="3720" y="1944"/>
                </a:lnTo>
                <a:lnTo>
                  <a:pt x="3714" y="1946"/>
                </a:lnTo>
                <a:lnTo>
                  <a:pt x="3707" y="1950"/>
                </a:lnTo>
                <a:lnTo>
                  <a:pt x="3693" y="1952"/>
                </a:lnTo>
                <a:lnTo>
                  <a:pt x="3685" y="1954"/>
                </a:lnTo>
                <a:lnTo>
                  <a:pt x="3678" y="1954"/>
                </a:lnTo>
                <a:lnTo>
                  <a:pt x="3663" y="1952"/>
                </a:lnTo>
                <a:lnTo>
                  <a:pt x="3649" y="1950"/>
                </a:lnTo>
                <a:lnTo>
                  <a:pt x="3643" y="1946"/>
                </a:lnTo>
                <a:lnTo>
                  <a:pt x="3636" y="1944"/>
                </a:lnTo>
                <a:lnTo>
                  <a:pt x="3624" y="1936"/>
                </a:lnTo>
                <a:lnTo>
                  <a:pt x="3612" y="1926"/>
                </a:lnTo>
                <a:lnTo>
                  <a:pt x="3601" y="1914"/>
                </a:lnTo>
                <a:lnTo>
                  <a:pt x="3591" y="1898"/>
                </a:lnTo>
                <a:lnTo>
                  <a:pt x="3586" y="1890"/>
                </a:lnTo>
                <a:lnTo>
                  <a:pt x="3582" y="1882"/>
                </a:lnTo>
                <a:close/>
                <a:moveTo>
                  <a:pt x="3934" y="1882"/>
                </a:moveTo>
                <a:lnTo>
                  <a:pt x="3927" y="1866"/>
                </a:lnTo>
                <a:lnTo>
                  <a:pt x="3920" y="1848"/>
                </a:lnTo>
                <a:lnTo>
                  <a:pt x="3915" y="1828"/>
                </a:lnTo>
                <a:lnTo>
                  <a:pt x="3912" y="1816"/>
                </a:lnTo>
                <a:lnTo>
                  <a:pt x="3910" y="1806"/>
                </a:lnTo>
                <a:lnTo>
                  <a:pt x="3907" y="1782"/>
                </a:lnTo>
                <a:lnTo>
                  <a:pt x="3904" y="1756"/>
                </a:lnTo>
                <a:lnTo>
                  <a:pt x="3903" y="1742"/>
                </a:lnTo>
                <a:lnTo>
                  <a:pt x="3903" y="1726"/>
                </a:lnTo>
                <a:lnTo>
                  <a:pt x="3902" y="1697"/>
                </a:lnTo>
                <a:lnTo>
                  <a:pt x="3902" y="1166"/>
                </a:lnTo>
                <a:lnTo>
                  <a:pt x="3968" y="1166"/>
                </a:lnTo>
                <a:lnTo>
                  <a:pt x="3968" y="1691"/>
                </a:lnTo>
                <a:lnTo>
                  <a:pt x="3968" y="1711"/>
                </a:lnTo>
                <a:lnTo>
                  <a:pt x="3969" y="1728"/>
                </a:lnTo>
                <a:lnTo>
                  <a:pt x="3970" y="1744"/>
                </a:lnTo>
                <a:lnTo>
                  <a:pt x="3972" y="1758"/>
                </a:lnTo>
                <a:lnTo>
                  <a:pt x="3973" y="1772"/>
                </a:lnTo>
                <a:lnTo>
                  <a:pt x="3976" y="1784"/>
                </a:lnTo>
                <a:lnTo>
                  <a:pt x="3979" y="1796"/>
                </a:lnTo>
                <a:lnTo>
                  <a:pt x="3982" y="1804"/>
                </a:lnTo>
                <a:lnTo>
                  <a:pt x="3986" y="1814"/>
                </a:lnTo>
                <a:lnTo>
                  <a:pt x="3991" y="1822"/>
                </a:lnTo>
                <a:lnTo>
                  <a:pt x="3996" y="1830"/>
                </a:lnTo>
                <a:lnTo>
                  <a:pt x="4002" y="1836"/>
                </a:lnTo>
                <a:lnTo>
                  <a:pt x="4005" y="1838"/>
                </a:lnTo>
                <a:lnTo>
                  <a:pt x="4008" y="1840"/>
                </a:lnTo>
                <a:lnTo>
                  <a:pt x="4015" y="1844"/>
                </a:lnTo>
                <a:lnTo>
                  <a:pt x="4023" y="1846"/>
                </a:lnTo>
                <a:lnTo>
                  <a:pt x="4031" y="1846"/>
                </a:lnTo>
                <a:lnTo>
                  <a:pt x="4040" y="1846"/>
                </a:lnTo>
                <a:lnTo>
                  <a:pt x="4047" y="1844"/>
                </a:lnTo>
                <a:lnTo>
                  <a:pt x="4054" y="1840"/>
                </a:lnTo>
                <a:lnTo>
                  <a:pt x="4061" y="1836"/>
                </a:lnTo>
                <a:lnTo>
                  <a:pt x="4067" y="1830"/>
                </a:lnTo>
                <a:lnTo>
                  <a:pt x="4072" y="1822"/>
                </a:lnTo>
                <a:lnTo>
                  <a:pt x="4077" y="1814"/>
                </a:lnTo>
                <a:lnTo>
                  <a:pt x="4081" y="1804"/>
                </a:lnTo>
                <a:lnTo>
                  <a:pt x="4084" y="1796"/>
                </a:lnTo>
                <a:lnTo>
                  <a:pt x="4087" y="1784"/>
                </a:lnTo>
                <a:lnTo>
                  <a:pt x="4090" y="1772"/>
                </a:lnTo>
                <a:lnTo>
                  <a:pt x="4091" y="1758"/>
                </a:lnTo>
                <a:lnTo>
                  <a:pt x="4093" y="1744"/>
                </a:lnTo>
                <a:lnTo>
                  <a:pt x="4094" y="1728"/>
                </a:lnTo>
                <a:lnTo>
                  <a:pt x="4094" y="1711"/>
                </a:lnTo>
                <a:lnTo>
                  <a:pt x="4094" y="1691"/>
                </a:lnTo>
                <a:lnTo>
                  <a:pt x="4094" y="1166"/>
                </a:lnTo>
                <a:lnTo>
                  <a:pt x="4160" y="1166"/>
                </a:lnTo>
                <a:lnTo>
                  <a:pt x="4160" y="1697"/>
                </a:lnTo>
                <a:lnTo>
                  <a:pt x="4159" y="1726"/>
                </a:lnTo>
                <a:lnTo>
                  <a:pt x="4159" y="1742"/>
                </a:lnTo>
                <a:lnTo>
                  <a:pt x="4158" y="1756"/>
                </a:lnTo>
                <a:lnTo>
                  <a:pt x="4155" y="1782"/>
                </a:lnTo>
                <a:lnTo>
                  <a:pt x="4152" y="1806"/>
                </a:lnTo>
                <a:lnTo>
                  <a:pt x="4149" y="1816"/>
                </a:lnTo>
                <a:lnTo>
                  <a:pt x="4147" y="1828"/>
                </a:lnTo>
                <a:lnTo>
                  <a:pt x="4142" y="1848"/>
                </a:lnTo>
                <a:lnTo>
                  <a:pt x="4139" y="1856"/>
                </a:lnTo>
                <a:lnTo>
                  <a:pt x="4135" y="1866"/>
                </a:lnTo>
                <a:lnTo>
                  <a:pt x="4132" y="1874"/>
                </a:lnTo>
                <a:lnTo>
                  <a:pt x="4128" y="1882"/>
                </a:lnTo>
                <a:lnTo>
                  <a:pt x="4124" y="1890"/>
                </a:lnTo>
                <a:lnTo>
                  <a:pt x="4119" y="1898"/>
                </a:lnTo>
                <a:lnTo>
                  <a:pt x="4109" y="1914"/>
                </a:lnTo>
                <a:lnTo>
                  <a:pt x="4098" y="1926"/>
                </a:lnTo>
                <a:lnTo>
                  <a:pt x="4092" y="1930"/>
                </a:lnTo>
                <a:lnTo>
                  <a:pt x="4086" y="1936"/>
                </a:lnTo>
                <a:lnTo>
                  <a:pt x="4073" y="1944"/>
                </a:lnTo>
                <a:lnTo>
                  <a:pt x="4067" y="1946"/>
                </a:lnTo>
                <a:lnTo>
                  <a:pt x="4060" y="1950"/>
                </a:lnTo>
                <a:lnTo>
                  <a:pt x="4046" y="1952"/>
                </a:lnTo>
                <a:lnTo>
                  <a:pt x="4039" y="1954"/>
                </a:lnTo>
                <a:lnTo>
                  <a:pt x="4031" y="1954"/>
                </a:lnTo>
                <a:lnTo>
                  <a:pt x="4017" y="1952"/>
                </a:lnTo>
                <a:lnTo>
                  <a:pt x="4003" y="1950"/>
                </a:lnTo>
                <a:lnTo>
                  <a:pt x="3996" y="1946"/>
                </a:lnTo>
                <a:lnTo>
                  <a:pt x="3989" y="1944"/>
                </a:lnTo>
                <a:lnTo>
                  <a:pt x="3977" y="1936"/>
                </a:lnTo>
                <a:lnTo>
                  <a:pt x="3965" y="1926"/>
                </a:lnTo>
                <a:lnTo>
                  <a:pt x="3954" y="1914"/>
                </a:lnTo>
                <a:lnTo>
                  <a:pt x="3943" y="1898"/>
                </a:lnTo>
                <a:lnTo>
                  <a:pt x="3938" y="1890"/>
                </a:lnTo>
                <a:lnTo>
                  <a:pt x="3934" y="1882"/>
                </a:lnTo>
                <a:close/>
                <a:moveTo>
                  <a:pt x="4370" y="1954"/>
                </a:moveTo>
                <a:lnTo>
                  <a:pt x="4354" y="1954"/>
                </a:lnTo>
                <a:lnTo>
                  <a:pt x="4339" y="1950"/>
                </a:lnTo>
                <a:lnTo>
                  <a:pt x="4324" y="1944"/>
                </a:lnTo>
                <a:lnTo>
                  <a:pt x="4317" y="1940"/>
                </a:lnTo>
                <a:lnTo>
                  <a:pt x="4310" y="1936"/>
                </a:lnTo>
                <a:lnTo>
                  <a:pt x="4298" y="1928"/>
                </a:lnTo>
                <a:lnTo>
                  <a:pt x="4292" y="1922"/>
                </a:lnTo>
                <a:lnTo>
                  <a:pt x="4287" y="1916"/>
                </a:lnTo>
                <a:lnTo>
                  <a:pt x="4277" y="1902"/>
                </a:lnTo>
                <a:lnTo>
                  <a:pt x="4273" y="1896"/>
                </a:lnTo>
                <a:lnTo>
                  <a:pt x="4268" y="1888"/>
                </a:lnTo>
                <a:lnTo>
                  <a:pt x="4264" y="1880"/>
                </a:lnTo>
                <a:lnTo>
                  <a:pt x="4261" y="1872"/>
                </a:lnTo>
                <a:lnTo>
                  <a:pt x="4257" y="1864"/>
                </a:lnTo>
                <a:lnTo>
                  <a:pt x="4254" y="1854"/>
                </a:lnTo>
                <a:lnTo>
                  <a:pt x="4248" y="1834"/>
                </a:lnTo>
                <a:lnTo>
                  <a:pt x="4244" y="1814"/>
                </a:lnTo>
                <a:lnTo>
                  <a:pt x="4242" y="1804"/>
                </a:lnTo>
                <a:lnTo>
                  <a:pt x="4240" y="1792"/>
                </a:lnTo>
                <a:lnTo>
                  <a:pt x="4237" y="1770"/>
                </a:lnTo>
                <a:lnTo>
                  <a:pt x="4236" y="1746"/>
                </a:lnTo>
                <a:lnTo>
                  <a:pt x="4235" y="1732"/>
                </a:lnTo>
                <a:lnTo>
                  <a:pt x="4235" y="1720"/>
                </a:lnTo>
                <a:lnTo>
                  <a:pt x="4298" y="1693"/>
                </a:lnTo>
                <a:lnTo>
                  <a:pt x="4298" y="1714"/>
                </a:lnTo>
                <a:lnTo>
                  <a:pt x="4299" y="1734"/>
                </a:lnTo>
                <a:lnTo>
                  <a:pt x="4301" y="1750"/>
                </a:lnTo>
                <a:lnTo>
                  <a:pt x="4303" y="1766"/>
                </a:lnTo>
                <a:lnTo>
                  <a:pt x="4305" y="1774"/>
                </a:lnTo>
                <a:lnTo>
                  <a:pt x="4306" y="1782"/>
                </a:lnTo>
                <a:lnTo>
                  <a:pt x="4310" y="1794"/>
                </a:lnTo>
                <a:lnTo>
                  <a:pt x="4314" y="1804"/>
                </a:lnTo>
                <a:lnTo>
                  <a:pt x="4318" y="1814"/>
                </a:lnTo>
                <a:lnTo>
                  <a:pt x="4324" y="1824"/>
                </a:lnTo>
                <a:lnTo>
                  <a:pt x="4330" y="1830"/>
                </a:lnTo>
                <a:lnTo>
                  <a:pt x="4336" y="1836"/>
                </a:lnTo>
                <a:lnTo>
                  <a:pt x="4343" y="1840"/>
                </a:lnTo>
                <a:lnTo>
                  <a:pt x="4350" y="1844"/>
                </a:lnTo>
                <a:lnTo>
                  <a:pt x="4357" y="1846"/>
                </a:lnTo>
                <a:lnTo>
                  <a:pt x="4365" y="1848"/>
                </a:lnTo>
                <a:lnTo>
                  <a:pt x="4374" y="1848"/>
                </a:lnTo>
                <a:lnTo>
                  <a:pt x="4381" y="1848"/>
                </a:lnTo>
                <a:lnTo>
                  <a:pt x="4388" y="1846"/>
                </a:lnTo>
                <a:lnTo>
                  <a:pt x="4395" y="1844"/>
                </a:lnTo>
                <a:lnTo>
                  <a:pt x="4401" y="1842"/>
                </a:lnTo>
                <a:lnTo>
                  <a:pt x="4407" y="1838"/>
                </a:lnTo>
                <a:lnTo>
                  <a:pt x="4413" y="1832"/>
                </a:lnTo>
                <a:lnTo>
                  <a:pt x="4418" y="1826"/>
                </a:lnTo>
                <a:lnTo>
                  <a:pt x="4423" y="1820"/>
                </a:lnTo>
                <a:lnTo>
                  <a:pt x="4427" y="1812"/>
                </a:lnTo>
                <a:lnTo>
                  <a:pt x="4431" y="1804"/>
                </a:lnTo>
                <a:lnTo>
                  <a:pt x="4434" y="1796"/>
                </a:lnTo>
                <a:lnTo>
                  <a:pt x="4437" y="1786"/>
                </a:lnTo>
                <a:lnTo>
                  <a:pt x="4439" y="1774"/>
                </a:lnTo>
                <a:lnTo>
                  <a:pt x="4440" y="1770"/>
                </a:lnTo>
                <a:lnTo>
                  <a:pt x="4441" y="1764"/>
                </a:lnTo>
                <a:lnTo>
                  <a:pt x="4442" y="1752"/>
                </a:lnTo>
                <a:lnTo>
                  <a:pt x="4442" y="1738"/>
                </a:lnTo>
                <a:lnTo>
                  <a:pt x="4442" y="1728"/>
                </a:lnTo>
                <a:lnTo>
                  <a:pt x="4442" y="1718"/>
                </a:lnTo>
                <a:lnTo>
                  <a:pt x="4441" y="1711"/>
                </a:lnTo>
                <a:lnTo>
                  <a:pt x="4439" y="1701"/>
                </a:lnTo>
                <a:lnTo>
                  <a:pt x="4437" y="1693"/>
                </a:lnTo>
                <a:lnTo>
                  <a:pt x="4435" y="1685"/>
                </a:lnTo>
                <a:lnTo>
                  <a:pt x="4433" y="1677"/>
                </a:lnTo>
                <a:lnTo>
                  <a:pt x="4430" y="1669"/>
                </a:lnTo>
                <a:lnTo>
                  <a:pt x="4422" y="1653"/>
                </a:lnTo>
                <a:lnTo>
                  <a:pt x="4418" y="1645"/>
                </a:lnTo>
                <a:lnTo>
                  <a:pt x="4413" y="1639"/>
                </a:lnTo>
                <a:lnTo>
                  <a:pt x="4402" y="1625"/>
                </a:lnTo>
                <a:lnTo>
                  <a:pt x="4389" y="1613"/>
                </a:lnTo>
                <a:lnTo>
                  <a:pt x="4325" y="1555"/>
                </a:lnTo>
                <a:lnTo>
                  <a:pt x="4315" y="1547"/>
                </a:lnTo>
                <a:lnTo>
                  <a:pt x="4305" y="1537"/>
                </a:lnTo>
                <a:lnTo>
                  <a:pt x="4289" y="1517"/>
                </a:lnTo>
                <a:lnTo>
                  <a:pt x="4275" y="1497"/>
                </a:lnTo>
                <a:lnTo>
                  <a:pt x="4270" y="1485"/>
                </a:lnTo>
                <a:lnTo>
                  <a:pt x="4264" y="1473"/>
                </a:lnTo>
                <a:lnTo>
                  <a:pt x="4260" y="1461"/>
                </a:lnTo>
                <a:lnTo>
                  <a:pt x="4255" y="1447"/>
                </a:lnTo>
                <a:lnTo>
                  <a:pt x="4252" y="1433"/>
                </a:lnTo>
                <a:lnTo>
                  <a:pt x="4249" y="1417"/>
                </a:lnTo>
                <a:lnTo>
                  <a:pt x="4247" y="1401"/>
                </a:lnTo>
                <a:lnTo>
                  <a:pt x="4246" y="1393"/>
                </a:lnTo>
                <a:lnTo>
                  <a:pt x="4245" y="1385"/>
                </a:lnTo>
                <a:lnTo>
                  <a:pt x="4244" y="1367"/>
                </a:lnTo>
                <a:lnTo>
                  <a:pt x="4244" y="1347"/>
                </a:lnTo>
                <a:lnTo>
                  <a:pt x="4244" y="1335"/>
                </a:lnTo>
                <a:lnTo>
                  <a:pt x="4245" y="1323"/>
                </a:lnTo>
                <a:lnTo>
                  <a:pt x="4246" y="1311"/>
                </a:lnTo>
                <a:lnTo>
                  <a:pt x="4247" y="1299"/>
                </a:lnTo>
                <a:lnTo>
                  <a:pt x="4248" y="1289"/>
                </a:lnTo>
                <a:lnTo>
                  <a:pt x="4250" y="1279"/>
                </a:lnTo>
                <a:lnTo>
                  <a:pt x="4254" y="1259"/>
                </a:lnTo>
                <a:lnTo>
                  <a:pt x="4257" y="1249"/>
                </a:lnTo>
                <a:lnTo>
                  <a:pt x="4260" y="1241"/>
                </a:lnTo>
                <a:lnTo>
                  <a:pt x="4266" y="1225"/>
                </a:lnTo>
                <a:lnTo>
                  <a:pt x="4273" y="1210"/>
                </a:lnTo>
                <a:lnTo>
                  <a:pt x="4277" y="1204"/>
                </a:lnTo>
                <a:lnTo>
                  <a:pt x="4282" y="1198"/>
                </a:lnTo>
                <a:lnTo>
                  <a:pt x="4291" y="1186"/>
                </a:lnTo>
                <a:lnTo>
                  <a:pt x="4301" y="1176"/>
                </a:lnTo>
                <a:lnTo>
                  <a:pt x="4311" y="1166"/>
                </a:lnTo>
                <a:lnTo>
                  <a:pt x="4323" y="1160"/>
                </a:lnTo>
                <a:lnTo>
                  <a:pt x="4335" y="1154"/>
                </a:lnTo>
                <a:lnTo>
                  <a:pt x="4347" y="1150"/>
                </a:lnTo>
                <a:lnTo>
                  <a:pt x="4360" y="1148"/>
                </a:lnTo>
                <a:lnTo>
                  <a:pt x="4373" y="1148"/>
                </a:lnTo>
                <a:lnTo>
                  <a:pt x="4388" y="1150"/>
                </a:lnTo>
                <a:lnTo>
                  <a:pt x="4403" y="1152"/>
                </a:lnTo>
                <a:lnTo>
                  <a:pt x="4416" y="1158"/>
                </a:lnTo>
                <a:lnTo>
                  <a:pt x="4422" y="1162"/>
                </a:lnTo>
                <a:lnTo>
                  <a:pt x="4428" y="1166"/>
                </a:lnTo>
                <a:lnTo>
                  <a:pt x="4440" y="1174"/>
                </a:lnTo>
                <a:lnTo>
                  <a:pt x="4450" y="1186"/>
                </a:lnTo>
                <a:lnTo>
                  <a:pt x="4459" y="1198"/>
                </a:lnTo>
                <a:lnTo>
                  <a:pt x="4467" y="1212"/>
                </a:lnTo>
                <a:lnTo>
                  <a:pt x="4471" y="1218"/>
                </a:lnTo>
                <a:lnTo>
                  <a:pt x="4474" y="1225"/>
                </a:lnTo>
                <a:lnTo>
                  <a:pt x="4477" y="1233"/>
                </a:lnTo>
                <a:lnTo>
                  <a:pt x="4480" y="1241"/>
                </a:lnTo>
                <a:lnTo>
                  <a:pt x="4485" y="1259"/>
                </a:lnTo>
                <a:lnTo>
                  <a:pt x="4490" y="1275"/>
                </a:lnTo>
                <a:lnTo>
                  <a:pt x="4493" y="1293"/>
                </a:lnTo>
                <a:lnTo>
                  <a:pt x="4495" y="1313"/>
                </a:lnTo>
                <a:lnTo>
                  <a:pt x="4497" y="1331"/>
                </a:lnTo>
                <a:lnTo>
                  <a:pt x="4497" y="1349"/>
                </a:lnTo>
                <a:lnTo>
                  <a:pt x="4435" y="1375"/>
                </a:lnTo>
                <a:lnTo>
                  <a:pt x="4435" y="1359"/>
                </a:lnTo>
                <a:lnTo>
                  <a:pt x="4433" y="1345"/>
                </a:lnTo>
                <a:lnTo>
                  <a:pt x="4432" y="1331"/>
                </a:lnTo>
                <a:lnTo>
                  <a:pt x="4430" y="1319"/>
                </a:lnTo>
                <a:lnTo>
                  <a:pt x="4427" y="1309"/>
                </a:lnTo>
                <a:lnTo>
                  <a:pt x="4426" y="1303"/>
                </a:lnTo>
                <a:lnTo>
                  <a:pt x="4424" y="1299"/>
                </a:lnTo>
                <a:lnTo>
                  <a:pt x="4421" y="1289"/>
                </a:lnTo>
                <a:lnTo>
                  <a:pt x="4417" y="1281"/>
                </a:lnTo>
                <a:lnTo>
                  <a:pt x="4413" y="1275"/>
                </a:lnTo>
                <a:lnTo>
                  <a:pt x="4408" y="1269"/>
                </a:lnTo>
                <a:lnTo>
                  <a:pt x="4403" y="1265"/>
                </a:lnTo>
                <a:lnTo>
                  <a:pt x="4397" y="1261"/>
                </a:lnTo>
                <a:lnTo>
                  <a:pt x="4391" y="1257"/>
                </a:lnTo>
                <a:lnTo>
                  <a:pt x="4385" y="1255"/>
                </a:lnTo>
                <a:lnTo>
                  <a:pt x="4378" y="1255"/>
                </a:lnTo>
                <a:lnTo>
                  <a:pt x="4370" y="1253"/>
                </a:lnTo>
                <a:lnTo>
                  <a:pt x="4358" y="1255"/>
                </a:lnTo>
                <a:lnTo>
                  <a:pt x="4346" y="1259"/>
                </a:lnTo>
                <a:lnTo>
                  <a:pt x="4341" y="1263"/>
                </a:lnTo>
                <a:lnTo>
                  <a:pt x="4336" y="1267"/>
                </a:lnTo>
                <a:lnTo>
                  <a:pt x="4331" y="1271"/>
                </a:lnTo>
                <a:lnTo>
                  <a:pt x="4327" y="1275"/>
                </a:lnTo>
                <a:lnTo>
                  <a:pt x="4323" y="1281"/>
                </a:lnTo>
                <a:lnTo>
                  <a:pt x="4319" y="1287"/>
                </a:lnTo>
                <a:lnTo>
                  <a:pt x="4316" y="1295"/>
                </a:lnTo>
                <a:lnTo>
                  <a:pt x="4313" y="1303"/>
                </a:lnTo>
                <a:lnTo>
                  <a:pt x="4311" y="1311"/>
                </a:lnTo>
                <a:lnTo>
                  <a:pt x="4310" y="1321"/>
                </a:lnTo>
                <a:lnTo>
                  <a:pt x="4309" y="1331"/>
                </a:lnTo>
                <a:lnTo>
                  <a:pt x="4308" y="1341"/>
                </a:lnTo>
                <a:lnTo>
                  <a:pt x="4309" y="1351"/>
                </a:lnTo>
                <a:lnTo>
                  <a:pt x="4309" y="1361"/>
                </a:lnTo>
                <a:lnTo>
                  <a:pt x="4310" y="1371"/>
                </a:lnTo>
                <a:lnTo>
                  <a:pt x="4311" y="1379"/>
                </a:lnTo>
                <a:lnTo>
                  <a:pt x="4313" y="1387"/>
                </a:lnTo>
                <a:lnTo>
                  <a:pt x="4315" y="1395"/>
                </a:lnTo>
                <a:lnTo>
                  <a:pt x="4318" y="1403"/>
                </a:lnTo>
                <a:lnTo>
                  <a:pt x="4321" y="1409"/>
                </a:lnTo>
                <a:lnTo>
                  <a:pt x="4325" y="1415"/>
                </a:lnTo>
                <a:lnTo>
                  <a:pt x="4328" y="1421"/>
                </a:lnTo>
                <a:lnTo>
                  <a:pt x="4337" y="1433"/>
                </a:lnTo>
                <a:lnTo>
                  <a:pt x="4347" y="1445"/>
                </a:lnTo>
                <a:lnTo>
                  <a:pt x="4359" y="1457"/>
                </a:lnTo>
                <a:lnTo>
                  <a:pt x="4421" y="1511"/>
                </a:lnTo>
                <a:lnTo>
                  <a:pt x="4431" y="1521"/>
                </a:lnTo>
                <a:lnTo>
                  <a:pt x="4442" y="1531"/>
                </a:lnTo>
                <a:lnTo>
                  <a:pt x="4451" y="1541"/>
                </a:lnTo>
                <a:lnTo>
                  <a:pt x="4459" y="1553"/>
                </a:lnTo>
                <a:lnTo>
                  <a:pt x="4467" y="1565"/>
                </a:lnTo>
                <a:lnTo>
                  <a:pt x="4474" y="1575"/>
                </a:lnTo>
                <a:lnTo>
                  <a:pt x="4480" y="1589"/>
                </a:lnTo>
                <a:lnTo>
                  <a:pt x="4486" y="1601"/>
                </a:lnTo>
                <a:lnTo>
                  <a:pt x="4491" y="1615"/>
                </a:lnTo>
                <a:lnTo>
                  <a:pt x="4495" y="1629"/>
                </a:lnTo>
                <a:lnTo>
                  <a:pt x="4499" y="1643"/>
                </a:lnTo>
                <a:lnTo>
                  <a:pt x="4502" y="1659"/>
                </a:lnTo>
                <a:lnTo>
                  <a:pt x="4504" y="1675"/>
                </a:lnTo>
                <a:lnTo>
                  <a:pt x="4505" y="1685"/>
                </a:lnTo>
                <a:lnTo>
                  <a:pt x="4505" y="1693"/>
                </a:lnTo>
                <a:lnTo>
                  <a:pt x="4506" y="1711"/>
                </a:lnTo>
                <a:lnTo>
                  <a:pt x="4507" y="1730"/>
                </a:lnTo>
                <a:lnTo>
                  <a:pt x="4506" y="1756"/>
                </a:lnTo>
                <a:lnTo>
                  <a:pt x="4504" y="1780"/>
                </a:lnTo>
                <a:lnTo>
                  <a:pt x="4503" y="1792"/>
                </a:lnTo>
                <a:lnTo>
                  <a:pt x="4501" y="1802"/>
                </a:lnTo>
                <a:lnTo>
                  <a:pt x="4499" y="1814"/>
                </a:lnTo>
                <a:lnTo>
                  <a:pt x="4497" y="1824"/>
                </a:lnTo>
                <a:lnTo>
                  <a:pt x="4494" y="1834"/>
                </a:lnTo>
                <a:lnTo>
                  <a:pt x="4492" y="1844"/>
                </a:lnTo>
                <a:lnTo>
                  <a:pt x="4485" y="1862"/>
                </a:lnTo>
                <a:lnTo>
                  <a:pt x="4482" y="1870"/>
                </a:lnTo>
                <a:lnTo>
                  <a:pt x="4478" y="1880"/>
                </a:lnTo>
                <a:lnTo>
                  <a:pt x="4470" y="1894"/>
                </a:lnTo>
                <a:lnTo>
                  <a:pt x="4465" y="1902"/>
                </a:lnTo>
                <a:lnTo>
                  <a:pt x="4460" y="1908"/>
                </a:lnTo>
                <a:lnTo>
                  <a:pt x="4455" y="1914"/>
                </a:lnTo>
                <a:lnTo>
                  <a:pt x="4450" y="1920"/>
                </a:lnTo>
                <a:lnTo>
                  <a:pt x="4439" y="1930"/>
                </a:lnTo>
                <a:lnTo>
                  <a:pt x="4427" y="1938"/>
                </a:lnTo>
                <a:lnTo>
                  <a:pt x="4414" y="1946"/>
                </a:lnTo>
                <a:lnTo>
                  <a:pt x="4400" y="1950"/>
                </a:lnTo>
                <a:lnTo>
                  <a:pt x="4393" y="1952"/>
                </a:lnTo>
                <a:lnTo>
                  <a:pt x="4386" y="1952"/>
                </a:lnTo>
                <a:lnTo>
                  <a:pt x="4370" y="19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F5A17A4-EA2D-AFFF-38DF-9699B925DC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98587" y="4797152"/>
            <a:ext cx="9793263" cy="1296144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Yhteystiedot</a:t>
            </a:r>
          </a:p>
        </p:txBody>
      </p:sp>
    </p:spTree>
    <p:extLst>
      <p:ext uri="{BB962C8B-B14F-4D97-AF65-F5344CB8AC3E}">
        <p14:creationId xmlns:p14="http://schemas.microsoft.com/office/powerpoint/2010/main" val="39372502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6924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iitos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C89437-0A9F-6907-E834-ECE3DB6251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200150" y="2060575"/>
            <a:ext cx="9791700" cy="2592561"/>
          </a:xfrm>
        </p:spPr>
        <p:txBody>
          <a:bodyPr anchor="b" anchorCtr="0"/>
          <a:lstStyle>
            <a:lvl1pPr algn="l">
              <a:defRPr sz="8000">
                <a:solidFill>
                  <a:schemeClr val="bg1"/>
                </a:solidFill>
              </a:defRPr>
            </a:lvl1pPr>
          </a:lstStyle>
          <a:p>
            <a:r>
              <a:rPr lang="fi-FI" noProof="0"/>
              <a:t>Lisää kiitos viesti.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898F4D-E89B-8263-EB37-8F8B305D43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4D20F875-E744-4176-8B52-CA7529168C3C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AB5C31-D7B7-0A4A-9FF1-A8910751F7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B9B765-A518-625F-2D82-59131FF13D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7" name="Freeform 5">
            <a:extLst>
              <a:ext uri="{FF2B5EF4-FFF2-40B4-BE49-F238E27FC236}">
                <a16:creationId xmlns:a16="http://schemas.microsoft.com/office/drawing/2014/main" id="{5CD5646D-347F-0693-85B7-82EEFAEE1F7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07368" y="333375"/>
            <a:ext cx="2325003" cy="504000"/>
          </a:xfrm>
          <a:custGeom>
            <a:avLst/>
            <a:gdLst>
              <a:gd name="T0" fmla="*/ 11 w 4507"/>
              <a:gd name="T1" fmla="*/ 18 h 1954"/>
              <a:gd name="T2" fmla="*/ 659 w 4507"/>
              <a:gd name="T3" fmla="*/ 297 h 1954"/>
              <a:gd name="T4" fmla="*/ 666 w 4507"/>
              <a:gd name="T5" fmla="*/ 916 h 1954"/>
              <a:gd name="T6" fmla="*/ 347 w 4507"/>
              <a:gd name="T7" fmla="*/ 880 h 1954"/>
              <a:gd name="T8" fmla="*/ 471 w 4507"/>
              <a:gd name="T9" fmla="*/ 675 h 1954"/>
              <a:gd name="T10" fmla="*/ 375 w 4507"/>
              <a:gd name="T11" fmla="*/ 401 h 1954"/>
              <a:gd name="T12" fmla="*/ 1722 w 4507"/>
              <a:gd name="T13" fmla="*/ 26 h 1954"/>
              <a:gd name="T14" fmla="*/ 1804 w 4507"/>
              <a:gd name="T15" fmla="*/ 309 h 1954"/>
              <a:gd name="T16" fmla="*/ 1741 w 4507"/>
              <a:gd name="T17" fmla="*/ 269 h 1954"/>
              <a:gd name="T18" fmla="*/ 1854 w 4507"/>
              <a:gd name="T19" fmla="*/ 788 h 1954"/>
              <a:gd name="T20" fmla="*/ 2410 w 4507"/>
              <a:gd name="T21" fmla="*/ 18 h 1954"/>
              <a:gd name="T22" fmla="*/ 3053 w 4507"/>
              <a:gd name="T23" fmla="*/ 553 h 1954"/>
              <a:gd name="T24" fmla="*/ 3419 w 4507"/>
              <a:gd name="T25" fmla="*/ 539 h 1954"/>
              <a:gd name="T26" fmla="*/ 3595 w 4507"/>
              <a:gd name="T27" fmla="*/ 659 h 1954"/>
              <a:gd name="T28" fmla="*/ 3699 w 4507"/>
              <a:gd name="T29" fmla="*/ 697 h 1954"/>
              <a:gd name="T30" fmla="*/ 3842 w 4507"/>
              <a:gd name="T31" fmla="*/ 595 h 1954"/>
              <a:gd name="T32" fmla="*/ 3700 w 4507"/>
              <a:gd name="T33" fmla="*/ 806 h 1954"/>
              <a:gd name="T34" fmla="*/ 3943 w 4507"/>
              <a:gd name="T35" fmla="*/ 725 h 1954"/>
              <a:gd name="T36" fmla="*/ 4018 w 4507"/>
              <a:gd name="T37" fmla="*/ 689 h 1954"/>
              <a:gd name="T38" fmla="*/ 4124 w 4507"/>
              <a:gd name="T39" fmla="*/ 581 h 1954"/>
              <a:gd name="T40" fmla="*/ 3931 w 4507"/>
              <a:gd name="T41" fmla="*/ 269 h 1954"/>
              <a:gd name="T42" fmla="*/ 4017 w 4507"/>
              <a:gd name="T43" fmla="*/ 6 h 1954"/>
              <a:gd name="T44" fmla="*/ 4117 w 4507"/>
              <a:gd name="T45" fmla="*/ 228 h 1954"/>
              <a:gd name="T46" fmla="*/ 4005 w 4507"/>
              <a:gd name="T47" fmla="*/ 134 h 1954"/>
              <a:gd name="T48" fmla="*/ 4123 w 4507"/>
              <a:gd name="T49" fmla="*/ 383 h 1954"/>
              <a:gd name="T50" fmla="*/ 4174 w 4507"/>
              <a:gd name="T51" fmla="*/ 697 h 1954"/>
              <a:gd name="T52" fmla="*/ 1767 w 4507"/>
              <a:gd name="T53" fmla="*/ 1273 h 1954"/>
              <a:gd name="T54" fmla="*/ 2197 w 4507"/>
              <a:gd name="T55" fmla="*/ 1926 h 1954"/>
              <a:gd name="T56" fmla="*/ 2114 w 4507"/>
              <a:gd name="T57" fmla="*/ 1551 h 1954"/>
              <a:gd name="T58" fmla="*/ 2226 w 4507"/>
              <a:gd name="T59" fmla="*/ 1156 h 1954"/>
              <a:gd name="T60" fmla="*/ 2385 w 4507"/>
              <a:gd name="T61" fmla="*/ 1313 h 1954"/>
              <a:gd name="T62" fmla="*/ 2373 w 4507"/>
              <a:gd name="T63" fmla="*/ 1834 h 1954"/>
              <a:gd name="T64" fmla="*/ 2227 w 4507"/>
              <a:gd name="T65" fmla="*/ 1271 h 1954"/>
              <a:gd name="T66" fmla="*/ 2192 w 4507"/>
              <a:gd name="T67" fmla="*/ 1738 h 1954"/>
              <a:gd name="T68" fmla="*/ 2323 w 4507"/>
              <a:gd name="T69" fmla="*/ 1760 h 1954"/>
              <a:gd name="T70" fmla="*/ 2273 w 4507"/>
              <a:gd name="T71" fmla="*/ 1259 h 1954"/>
              <a:gd name="T72" fmla="*/ 3321 w 4507"/>
              <a:gd name="T73" fmla="*/ 1954 h 1954"/>
              <a:gd name="T74" fmla="*/ 3265 w 4507"/>
              <a:gd name="T75" fmla="*/ 1693 h 1954"/>
              <a:gd name="T76" fmla="*/ 3380 w 4507"/>
              <a:gd name="T77" fmla="*/ 1832 h 1954"/>
              <a:gd name="T78" fmla="*/ 3369 w 4507"/>
              <a:gd name="T79" fmla="*/ 1625 h 1954"/>
              <a:gd name="T80" fmla="*/ 3218 w 4507"/>
              <a:gd name="T81" fmla="*/ 1279 h 1954"/>
              <a:gd name="T82" fmla="*/ 3426 w 4507"/>
              <a:gd name="T83" fmla="*/ 1198 h 1954"/>
              <a:gd name="T84" fmla="*/ 3370 w 4507"/>
              <a:gd name="T85" fmla="*/ 1265 h 1954"/>
              <a:gd name="T86" fmla="*/ 3279 w 4507"/>
              <a:gd name="T87" fmla="*/ 1379 h 1954"/>
              <a:gd name="T88" fmla="*/ 3471 w 4507"/>
              <a:gd name="T89" fmla="*/ 1675 h 1954"/>
              <a:gd name="T90" fmla="*/ 3381 w 4507"/>
              <a:gd name="T91" fmla="*/ 1946 h 1954"/>
              <a:gd name="T92" fmla="*/ 3620 w 4507"/>
              <a:gd name="T93" fmla="*/ 1772 h 1954"/>
              <a:gd name="T94" fmla="*/ 3736 w 4507"/>
              <a:gd name="T95" fmla="*/ 1772 h 1954"/>
              <a:gd name="T96" fmla="*/ 3756 w 4507"/>
              <a:gd name="T97" fmla="*/ 1914 h 1954"/>
              <a:gd name="T98" fmla="*/ 3915 w 4507"/>
              <a:gd name="T99" fmla="*/ 1828 h 1954"/>
              <a:gd name="T100" fmla="*/ 4005 w 4507"/>
              <a:gd name="T101" fmla="*/ 1838 h 1954"/>
              <a:gd name="T102" fmla="*/ 4160 w 4507"/>
              <a:gd name="T103" fmla="*/ 1697 h 1954"/>
              <a:gd name="T104" fmla="*/ 4039 w 4507"/>
              <a:gd name="T105" fmla="*/ 1954 h 1954"/>
              <a:gd name="T106" fmla="*/ 4268 w 4507"/>
              <a:gd name="T107" fmla="*/ 1888 h 1954"/>
              <a:gd name="T108" fmla="*/ 4324 w 4507"/>
              <a:gd name="T109" fmla="*/ 1824 h 1954"/>
              <a:gd name="T110" fmla="*/ 4442 w 4507"/>
              <a:gd name="T111" fmla="*/ 1752 h 1954"/>
              <a:gd name="T112" fmla="*/ 4255 w 4507"/>
              <a:gd name="T113" fmla="*/ 1447 h 1954"/>
              <a:gd name="T114" fmla="*/ 4311 w 4507"/>
              <a:gd name="T115" fmla="*/ 1166 h 1954"/>
              <a:gd name="T116" fmla="*/ 4497 w 4507"/>
              <a:gd name="T117" fmla="*/ 1331 h 1954"/>
              <a:gd name="T118" fmla="*/ 4336 w 4507"/>
              <a:gd name="T119" fmla="*/ 1267 h 1954"/>
              <a:gd name="T120" fmla="*/ 4359 w 4507"/>
              <a:gd name="T121" fmla="*/ 1457 h 1954"/>
              <a:gd name="T122" fmla="*/ 4499 w 4507"/>
              <a:gd name="T123" fmla="*/ 1814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507" h="1954">
                <a:moveTo>
                  <a:pt x="4307" y="327"/>
                </a:moveTo>
                <a:lnTo>
                  <a:pt x="4377" y="327"/>
                </a:lnTo>
                <a:lnTo>
                  <a:pt x="4377" y="463"/>
                </a:lnTo>
                <a:lnTo>
                  <a:pt x="4307" y="463"/>
                </a:lnTo>
                <a:lnTo>
                  <a:pt x="4307" y="327"/>
                </a:lnTo>
                <a:close/>
                <a:moveTo>
                  <a:pt x="1248" y="18"/>
                </a:moveTo>
                <a:lnTo>
                  <a:pt x="1248" y="473"/>
                </a:lnTo>
                <a:lnTo>
                  <a:pt x="1051" y="473"/>
                </a:lnTo>
                <a:lnTo>
                  <a:pt x="1051" y="1936"/>
                </a:lnTo>
                <a:lnTo>
                  <a:pt x="821" y="1936"/>
                </a:lnTo>
                <a:lnTo>
                  <a:pt x="821" y="473"/>
                </a:lnTo>
                <a:lnTo>
                  <a:pt x="655" y="18"/>
                </a:lnTo>
                <a:lnTo>
                  <a:pt x="1248" y="18"/>
                </a:lnTo>
                <a:close/>
                <a:moveTo>
                  <a:pt x="0" y="1481"/>
                </a:moveTo>
                <a:lnTo>
                  <a:pt x="230" y="1481"/>
                </a:lnTo>
                <a:lnTo>
                  <a:pt x="230" y="1936"/>
                </a:lnTo>
                <a:lnTo>
                  <a:pt x="0" y="1936"/>
                </a:lnTo>
                <a:lnTo>
                  <a:pt x="0" y="1481"/>
                </a:lnTo>
                <a:close/>
                <a:moveTo>
                  <a:pt x="487" y="1186"/>
                </a:moveTo>
                <a:lnTo>
                  <a:pt x="752" y="1936"/>
                </a:lnTo>
                <a:lnTo>
                  <a:pt x="495" y="1936"/>
                </a:lnTo>
                <a:lnTo>
                  <a:pt x="11" y="559"/>
                </a:lnTo>
                <a:lnTo>
                  <a:pt x="11" y="18"/>
                </a:lnTo>
                <a:lnTo>
                  <a:pt x="309" y="18"/>
                </a:lnTo>
                <a:lnTo>
                  <a:pt x="335" y="18"/>
                </a:lnTo>
                <a:lnTo>
                  <a:pt x="359" y="20"/>
                </a:lnTo>
                <a:lnTo>
                  <a:pt x="382" y="24"/>
                </a:lnTo>
                <a:lnTo>
                  <a:pt x="404" y="30"/>
                </a:lnTo>
                <a:lnTo>
                  <a:pt x="426" y="36"/>
                </a:lnTo>
                <a:lnTo>
                  <a:pt x="447" y="44"/>
                </a:lnTo>
                <a:lnTo>
                  <a:pt x="467" y="52"/>
                </a:lnTo>
                <a:lnTo>
                  <a:pt x="476" y="58"/>
                </a:lnTo>
                <a:lnTo>
                  <a:pt x="486" y="62"/>
                </a:lnTo>
                <a:lnTo>
                  <a:pt x="504" y="74"/>
                </a:lnTo>
                <a:lnTo>
                  <a:pt x="521" y="88"/>
                </a:lnTo>
                <a:lnTo>
                  <a:pt x="538" y="102"/>
                </a:lnTo>
                <a:lnTo>
                  <a:pt x="553" y="116"/>
                </a:lnTo>
                <a:lnTo>
                  <a:pt x="569" y="132"/>
                </a:lnTo>
                <a:lnTo>
                  <a:pt x="583" y="150"/>
                </a:lnTo>
                <a:lnTo>
                  <a:pt x="596" y="168"/>
                </a:lnTo>
                <a:lnTo>
                  <a:pt x="609" y="188"/>
                </a:lnTo>
                <a:lnTo>
                  <a:pt x="620" y="208"/>
                </a:lnTo>
                <a:lnTo>
                  <a:pt x="631" y="230"/>
                </a:lnTo>
                <a:lnTo>
                  <a:pt x="641" y="251"/>
                </a:lnTo>
                <a:lnTo>
                  <a:pt x="650" y="273"/>
                </a:lnTo>
                <a:lnTo>
                  <a:pt x="659" y="297"/>
                </a:lnTo>
                <a:lnTo>
                  <a:pt x="666" y="323"/>
                </a:lnTo>
                <a:lnTo>
                  <a:pt x="673" y="349"/>
                </a:lnTo>
                <a:lnTo>
                  <a:pt x="680" y="375"/>
                </a:lnTo>
                <a:lnTo>
                  <a:pt x="685" y="401"/>
                </a:lnTo>
                <a:lnTo>
                  <a:pt x="690" y="429"/>
                </a:lnTo>
                <a:lnTo>
                  <a:pt x="694" y="459"/>
                </a:lnTo>
                <a:lnTo>
                  <a:pt x="697" y="487"/>
                </a:lnTo>
                <a:lnTo>
                  <a:pt x="699" y="517"/>
                </a:lnTo>
                <a:lnTo>
                  <a:pt x="701" y="547"/>
                </a:lnTo>
                <a:lnTo>
                  <a:pt x="702" y="579"/>
                </a:lnTo>
                <a:lnTo>
                  <a:pt x="703" y="611"/>
                </a:lnTo>
                <a:lnTo>
                  <a:pt x="702" y="661"/>
                </a:lnTo>
                <a:lnTo>
                  <a:pt x="701" y="687"/>
                </a:lnTo>
                <a:lnTo>
                  <a:pt x="699" y="711"/>
                </a:lnTo>
                <a:lnTo>
                  <a:pt x="697" y="735"/>
                </a:lnTo>
                <a:lnTo>
                  <a:pt x="695" y="758"/>
                </a:lnTo>
                <a:lnTo>
                  <a:pt x="692" y="782"/>
                </a:lnTo>
                <a:lnTo>
                  <a:pt x="689" y="806"/>
                </a:lnTo>
                <a:lnTo>
                  <a:pt x="685" y="830"/>
                </a:lnTo>
                <a:lnTo>
                  <a:pt x="681" y="852"/>
                </a:lnTo>
                <a:lnTo>
                  <a:pt x="677" y="874"/>
                </a:lnTo>
                <a:lnTo>
                  <a:pt x="672" y="896"/>
                </a:lnTo>
                <a:lnTo>
                  <a:pt x="666" y="916"/>
                </a:lnTo>
                <a:lnTo>
                  <a:pt x="661" y="938"/>
                </a:lnTo>
                <a:lnTo>
                  <a:pt x="655" y="958"/>
                </a:lnTo>
                <a:lnTo>
                  <a:pt x="648" y="976"/>
                </a:lnTo>
                <a:lnTo>
                  <a:pt x="641" y="996"/>
                </a:lnTo>
                <a:lnTo>
                  <a:pt x="634" y="1014"/>
                </a:lnTo>
                <a:lnTo>
                  <a:pt x="626" y="1030"/>
                </a:lnTo>
                <a:lnTo>
                  <a:pt x="618" y="1048"/>
                </a:lnTo>
                <a:lnTo>
                  <a:pt x="609" y="1064"/>
                </a:lnTo>
                <a:lnTo>
                  <a:pt x="600" y="1080"/>
                </a:lnTo>
                <a:lnTo>
                  <a:pt x="591" y="1094"/>
                </a:lnTo>
                <a:lnTo>
                  <a:pt x="581" y="1108"/>
                </a:lnTo>
                <a:lnTo>
                  <a:pt x="571" y="1120"/>
                </a:lnTo>
                <a:lnTo>
                  <a:pt x="559" y="1132"/>
                </a:lnTo>
                <a:lnTo>
                  <a:pt x="548" y="1144"/>
                </a:lnTo>
                <a:lnTo>
                  <a:pt x="537" y="1154"/>
                </a:lnTo>
                <a:lnTo>
                  <a:pt x="525" y="1164"/>
                </a:lnTo>
                <a:lnTo>
                  <a:pt x="513" y="1172"/>
                </a:lnTo>
                <a:lnTo>
                  <a:pt x="500" y="1180"/>
                </a:lnTo>
                <a:lnTo>
                  <a:pt x="487" y="1186"/>
                </a:lnTo>
                <a:close/>
                <a:moveTo>
                  <a:pt x="239" y="391"/>
                </a:moveTo>
                <a:lnTo>
                  <a:pt x="239" y="880"/>
                </a:lnTo>
                <a:lnTo>
                  <a:pt x="337" y="880"/>
                </a:lnTo>
                <a:lnTo>
                  <a:pt x="347" y="880"/>
                </a:lnTo>
                <a:lnTo>
                  <a:pt x="357" y="880"/>
                </a:lnTo>
                <a:lnTo>
                  <a:pt x="367" y="878"/>
                </a:lnTo>
                <a:lnTo>
                  <a:pt x="376" y="874"/>
                </a:lnTo>
                <a:lnTo>
                  <a:pt x="384" y="872"/>
                </a:lnTo>
                <a:lnTo>
                  <a:pt x="392" y="868"/>
                </a:lnTo>
                <a:lnTo>
                  <a:pt x="400" y="862"/>
                </a:lnTo>
                <a:lnTo>
                  <a:pt x="407" y="858"/>
                </a:lnTo>
                <a:lnTo>
                  <a:pt x="413" y="852"/>
                </a:lnTo>
                <a:lnTo>
                  <a:pt x="419" y="844"/>
                </a:lnTo>
                <a:lnTo>
                  <a:pt x="425" y="838"/>
                </a:lnTo>
                <a:lnTo>
                  <a:pt x="430" y="830"/>
                </a:lnTo>
                <a:lnTo>
                  <a:pt x="435" y="822"/>
                </a:lnTo>
                <a:lnTo>
                  <a:pt x="440" y="814"/>
                </a:lnTo>
                <a:lnTo>
                  <a:pt x="444" y="806"/>
                </a:lnTo>
                <a:lnTo>
                  <a:pt x="448" y="796"/>
                </a:lnTo>
                <a:lnTo>
                  <a:pt x="451" y="788"/>
                </a:lnTo>
                <a:lnTo>
                  <a:pt x="454" y="778"/>
                </a:lnTo>
                <a:lnTo>
                  <a:pt x="457" y="768"/>
                </a:lnTo>
                <a:lnTo>
                  <a:pt x="460" y="758"/>
                </a:lnTo>
                <a:lnTo>
                  <a:pt x="464" y="738"/>
                </a:lnTo>
                <a:lnTo>
                  <a:pt x="467" y="717"/>
                </a:lnTo>
                <a:lnTo>
                  <a:pt x="470" y="697"/>
                </a:lnTo>
                <a:lnTo>
                  <a:pt x="471" y="675"/>
                </a:lnTo>
                <a:lnTo>
                  <a:pt x="472" y="655"/>
                </a:lnTo>
                <a:lnTo>
                  <a:pt x="472" y="635"/>
                </a:lnTo>
                <a:lnTo>
                  <a:pt x="472" y="615"/>
                </a:lnTo>
                <a:lnTo>
                  <a:pt x="470" y="593"/>
                </a:lnTo>
                <a:lnTo>
                  <a:pt x="468" y="573"/>
                </a:lnTo>
                <a:lnTo>
                  <a:pt x="464" y="551"/>
                </a:lnTo>
                <a:lnTo>
                  <a:pt x="462" y="541"/>
                </a:lnTo>
                <a:lnTo>
                  <a:pt x="459" y="531"/>
                </a:lnTo>
                <a:lnTo>
                  <a:pt x="457" y="521"/>
                </a:lnTo>
                <a:lnTo>
                  <a:pt x="454" y="511"/>
                </a:lnTo>
                <a:lnTo>
                  <a:pt x="447" y="491"/>
                </a:lnTo>
                <a:lnTo>
                  <a:pt x="443" y="483"/>
                </a:lnTo>
                <a:lnTo>
                  <a:pt x="439" y="473"/>
                </a:lnTo>
                <a:lnTo>
                  <a:pt x="435" y="465"/>
                </a:lnTo>
                <a:lnTo>
                  <a:pt x="430" y="457"/>
                </a:lnTo>
                <a:lnTo>
                  <a:pt x="420" y="441"/>
                </a:lnTo>
                <a:lnTo>
                  <a:pt x="414" y="433"/>
                </a:lnTo>
                <a:lnTo>
                  <a:pt x="408" y="427"/>
                </a:lnTo>
                <a:lnTo>
                  <a:pt x="402" y="421"/>
                </a:lnTo>
                <a:lnTo>
                  <a:pt x="396" y="415"/>
                </a:lnTo>
                <a:lnTo>
                  <a:pt x="389" y="409"/>
                </a:lnTo>
                <a:lnTo>
                  <a:pt x="382" y="405"/>
                </a:lnTo>
                <a:lnTo>
                  <a:pt x="375" y="401"/>
                </a:lnTo>
                <a:lnTo>
                  <a:pt x="367" y="397"/>
                </a:lnTo>
                <a:lnTo>
                  <a:pt x="359" y="395"/>
                </a:lnTo>
                <a:lnTo>
                  <a:pt x="351" y="393"/>
                </a:lnTo>
                <a:lnTo>
                  <a:pt x="333" y="391"/>
                </a:lnTo>
                <a:lnTo>
                  <a:pt x="239" y="391"/>
                </a:lnTo>
                <a:close/>
                <a:moveTo>
                  <a:pt x="1780" y="395"/>
                </a:moveTo>
                <a:lnTo>
                  <a:pt x="1776" y="403"/>
                </a:lnTo>
                <a:lnTo>
                  <a:pt x="1772" y="411"/>
                </a:lnTo>
                <a:lnTo>
                  <a:pt x="1763" y="423"/>
                </a:lnTo>
                <a:lnTo>
                  <a:pt x="1754" y="433"/>
                </a:lnTo>
                <a:lnTo>
                  <a:pt x="1743" y="443"/>
                </a:lnTo>
                <a:lnTo>
                  <a:pt x="1814" y="788"/>
                </a:lnTo>
                <a:lnTo>
                  <a:pt x="1742" y="788"/>
                </a:lnTo>
                <a:lnTo>
                  <a:pt x="1683" y="465"/>
                </a:lnTo>
                <a:lnTo>
                  <a:pt x="1607" y="465"/>
                </a:lnTo>
                <a:lnTo>
                  <a:pt x="1607" y="788"/>
                </a:lnTo>
                <a:lnTo>
                  <a:pt x="1543" y="788"/>
                </a:lnTo>
                <a:lnTo>
                  <a:pt x="1543" y="18"/>
                </a:lnTo>
                <a:lnTo>
                  <a:pt x="1681" y="18"/>
                </a:lnTo>
                <a:lnTo>
                  <a:pt x="1696" y="18"/>
                </a:lnTo>
                <a:lnTo>
                  <a:pt x="1703" y="20"/>
                </a:lnTo>
                <a:lnTo>
                  <a:pt x="1710" y="22"/>
                </a:lnTo>
                <a:lnTo>
                  <a:pt x="1722" y="26"/>
                </a:lnTo>
                <a:lnTo>
                  <a:pt x="1734" y="32"/>
                </a:lnTo>
                <a:lnTo>
                  <a:pt x="1745" y="40"/>
                </a:lnTo>
                <a:lnTo>
                  <a:pt x="1755" y="50"/>
                </a:lnTo>
                <a:lnTo>
                  <a:pt x="1765" y="62"/>
                </a:lnTo>
                <a:lnTo>
                  <a:pt x="1769" y="68"/>
                </a:lnTo>
                <a:lnTo>
                  <a:pt x="1773" y="76"/>
                </a:lnTo>
                <a:lnTo>
                  <a:pt x="1781" y="92"/>
                </a:lnTo>
                <a:lnTo>
                  <a:pt x="1788" y="108"/>
                </a:lnTo>
                <a:lnTo>
                  <a:pt x="1791" y="118"/>
                </a:lnTo>
                <a:lnTo>
                  <a:pt x="1794" y="126"/>
                </a:lnTo>
                <a:lnTo>
                  <a:pt x="1799" y="146"/>
                </a:lnTo>
                <a:lnTo>
                  <a:pt x="1803" y="168"/>
                </a:lnTo>
                <a:lnTo>
                  <a:pt x="1805" y="178"/>
                </a:lnTo>
                <a:lnTo>
                  <a:pt x="1806" y="190"/>
                </a:lnTo>
                <a:lnTo>
                  <a:pt x="1807" y="200"/>
                </a:lnTo>
                <a:lnTo>
                  <a:pt x="1808" y="212"/>
                </a:lnTo>
                <a:lnTo>
                  <a:pt x="1808" y="224"/>
                </a:lnTo>
                <a:lnTo>
                  <a:pt x="1808" y="236"/>
                </a:lnTo>
                <a:lnTo>
                  <a:pt x="1808" y="263"/>
                </a:lnTo>
                <a:lnTo>
                  <a:pt x="1807" y="275"/>
                </a:lnTo>
                <a:lnTo>
                  <a:pt x="1806" y="287"/>
                </a:lnTo>
                <a:lnTo>
                  <a:pt x="1805" y="299"/>
                </a:lnTo>
                <a:lnTo>
                  <a:pt x="1804" y="309"/>
                </a:lnTo>
                <a:lnTo>
                  <a:pt x="1801" y="331"/>
                </a:lnTo>
                <a:lnTo>
                  <a:pt x="1797" y="349"/>
                </a:lnTo>
                <a:lnTo>
                  <a:pt x="1792" y="367"/>
                </a:lnTo>
                <a:lnTo>
                  <a:pt x="1786" y="381"/>
                </a:lnTo>
                <a:lnTo>
                  <a:pt x="1780" y="395"/>
                </a:lnTo>
                <a:close/>
                <a:moveTo>
                  <a:pt x="1678" y="122"/>
                </a:moveTo>
                <a:lnTo>
                  <a:pt x="1607" y="122"/>
                </a:lnTo>
                <a:lnTo>
                  <a:pt x="1607" y="365"/>
                </a:lnTo>
                <a:lnTo>
                  <a:pt x="1678" y="365"/>
                </a:lnTo>
                <a:lnTo>
                  <a:pt x="1686" y="363"/>
                </a:lnTo>
                <a:lnTo>
                  <a:pt x="1694" y="361"/>
                </a:lnTo>
                <a:lnTo>
                  <a:pt x="1700" y="359"/>
                </a:lnTo>
                <a:lnTo>
                  <a:pt x="1707" y="355"/>
                </a:lnTo>
                <a:lnTo>
                  <a:pt x="1712" y="351"/>
                </a:lnTo>
                <a:lnTo>
                  <a:pt x="1717" y="345"/>
                </a:lnTo>
                <a:lnTo>
                  <a:pt x="1722" y="339"/>
                </a:lnTo>
                <a:lnTo>
                  <a:pt x="1726" y="331"/>
                </a:lnTo>
                <a:lnTo>
                  <a:pt x="1730" y="323"/>
                </a:lnTo>
                <a:lnTo>
                  <a:pt x="1733" y="313"/>
                </a:lnTo>
                <a:lnTo>
                  <a:pt x="1736" y="303"/>
                </a:lnTo>
                <a:lnTo>
                  <a:pt x="1738" y="293"/>
                </a:lnTo>
                <a:lnTo>
                  <a:pt x="1740" y="281"/>
                </a:lnTo>
                <a:lnTo>
                  <a:pt x="1741" y="269"/>
                </a:lnTo>
                <a:lnTo>
                  <a:pt x="1742" y="257"/>
                </a:lnTo>
                <a:lnTo>
                  <a:pt x="1742" y="244"/>
                </a:lnTo>
                <a:lnTo>
                  <a:pt x="1742" y="230"/>
                </a:lnTo>
                <a:lnTo>
                  <a:pt x="1742" y="218"/>
                </a:lnTo>
                <a:lnTo>
                  <a:pt x="1740" y="206"/>
                </a:lnTo>
                <a:lnTo>
                  <a:pt x="1739" y="194"/>
                </a:lnTo>
                <a:lnTo>
                  <a:pt x="1737" y="184"/>
                </a:lnTo>
                <a:lnTo>
                  <a:pt x="1734" y="174"/>
                </a:lnTo>
                <a:lnTo>
                  <a:pt x="1731" y="164"/>
                </a:lnTo>
                <a:lnTo>
                  <a:pt x="1728" y="156"/>
                </a:lnTo>
                <a:lnTo>
                  <a:pt x="1723" y="148"/>
                </a:lnTo>
                <a:lnTo>
                  <a:pt x="1719" y="142"/>
                </a:lnTo>
                <a:lnTo>
                  <a:pt x="1713" y="136"/>
                </a:lnTo>
                <a:lnTo>
                  <a:pt x="1708" y="132"/>
                </a:lnTo>
                <a:lnTo>
                  <a:pt x="1701" y="128"/>
                </a:lnTo>
                <a:lnTo>
                  <a:pt x="1694" y="124"/>
                </a:lnTo>
                <a:lnTo>
                  <a:pt x="1686" y="122"/>
                </a:lnTo>
                <a:lnTo>
                  <a:pt x="1678" y="122"/>
                </a:lnTo>
                <a:close/>
                <a:moveTo>
                  <a:pt x="2090" y="788"/>
                </a:moveTo>
                <a:lnTo>
                  <a:pt x="2069" y="635"/>
                </a:lnTo>
                <a:lnTo>
                  <a:pt x="1942" y="635"/>
                </a:lnTo>
                <a:lnTo>
                  <a:pt x="1921" y="788"/>
                </a:lnTo>
                <a:lnTo>
                  <a:pt x="1854" y="788"/>
                </a:lnTo>
                <a:lnTo>
                  <a:pt x="1975" y="18"/>
                </a:lnTo>
                <a:lnTo>
                  <a:pt x="2037" y="18"/>
                </a:lnTo>
                <a:lnTo>
                  <a:pt x="2160" y="788"/>
                </a:lnTo>
                <a:lnTo>
                  <a:pt x="2090" y="788"/>
                </a:lnTo>
                <a:close/>
                <a:moveTo>
                  <a:pt x="2026" y="323"/>
                </a:moveTo>
                <a:lnTo>
                  <a:pt x="2015" y="250"/>
                </a:lnTo>
                <a:lnTo>
                  <a:pt x="2010" y="210"/>
                </a:lnTo>
                <a:lnTo>
                  <a:pt x="2006" y="170"/>
                </a:lnTo>
                <a:lnTo>
                  <a:pt x="2001" y="210"/>
                </a:lnTo>
                <a:lnTo>
                  <a:pt x="1996" y="250"/>
                </a:lnTo>
                <a:lnTo>
                  <a:pt x="1986" y="325"/>
                </a:lnTo>
                <a:lnTo>
                  <a:pt x="1957" y="529"/>
                </a:lnTo>
                <a:lnTo>
                  <a:pt x="2053" y="529"/>
                </a:lnTo>
                <a:lnTo>
                  <a:pt x="2026" y="323"/>
                </a:lnTo>
                <a:close/>
                <a:moveTo>
                  <a:pt x="2419" y="788"/>
                </a:moveTo>
                <a:lnTo>
                  <a:pt x="2323" y="431"/>
                </a:lnTo>
                <a:lnTo>
                  <a:pt x="2285" y="527"/>
                </a:lnTo>
                <a:lnTo>
                  <a:pt x="2285" y="788"/>
                </a:lnTo>
                <a:lnTo>
                  <a:pt x="2220" y="788"/>
                </a:lnTo>
                <a:lnTo>
                  <a:pt x="2220" y="18"/>
                </a:lnTo>
                <a:lnTo>
                  <a:pt x="2285" y="18"/>
                </a:lnTo>
                <a:lnTo>
                  <a:pt x="2285" y="347"/>
                </a:lnTo>
                <a:lnTo>
                  <a:pt x="2410" y="18"/>
                </a:lnTo>
                <a:lnTo>
                  <a:pt x="2492" y="18"/>
                </a:lnTo>
                <a:lnTo>
                  <a:pt x="2363" y="333"/>
                </a:lnTo>
                <a:lnTo>
                  <a:pt x="2498" y="788"/>
                </a:lnTo>
                <a:lnTo>
                  <a:pt x="2419" y="788"/>
                </a:lnTo>
                <a:close/>
                <a:moveTo>
                  <a:pt x="2558" y="788"/>
                </a:moveTo>
                <a:lnTo>
                  <a:pt x="2558" y="18"/>
                </a:lnTo>
                <a:lnTo>
                  <a:pt x="2786" y="18"/>
                </a:lnTo>
                <a:lnTo>
                  <a:pt x="2786" y="126"/>
                </a:lnTo>
                <a:lnTo>
                  <a:pt x="2623" y="126"/>
                </a:lnTo>
                <a:lnTo>
                  <a:pt x="2623" y="341"/>
                </a:lnTo>
                <a:lnTo>
                  <a:pt x="2756" y="341"/>
                </a:lnTo>
                <a:lnTo>
                  <a:pt x="2756" y="445"/>
                </a:lnTo>
                <a:lnTo>
                  <a:pt x="2623" y="445"/>
                </a:lnTo>
                <a:lnTo>
                  <a:pt x="2623" y="683"/>
                </a:lnTo>
                <a:lnTo>
                  <a:pt x="2786" y="683"/>
                </a:lnTo>
                <a:lnTo>
                  <a:pt x="2786" y="788"/>
                </a:lnTo>
                <a:lnTo>
                  <a:pt x="2558" y="788"/>
                </a:lnTo>
                <a:close/>
                <a:moveTo>
                  <a:pt x="2939" y="18"/>
                </a:moveTo>
                <a:lnTo>
                  <a:pt x="3030" y="439"/>
                </a:lnTo>
                <a:lnTo>
                  <a:pt x="3038" y="477"/>
                </a:lnTo>
                <a:lnTo>
                  <a:pt x="3042" y="495"/>
                </a:lnTo>
                <a:lnTo>
                  <a:pt x="3046" y="515"/>
                </a:lnTo>
                <a:lnTo>
                  <a:pt x="3053" y="553"/>
                </a:lnTo>
                <a:lnTo>
                  <a:pt x="3060" y="595"/>
                </a:lnTo>
                <a:lnTo>
                  <a:pt x="3060" y="509"/>
                </a:lnTo>
                <a:lnTo>
                  <a:pt x="3059" y="421"/>
                </a:lnTo>
                <a:lnTo>
                  <a:pt x="3059" y="18"/>
                </a:lnTo>
                <a:lnTo>
                  <a:pt x="3124" y="18"/>
                </a:lnTo>
                <a:lnTo>
                  <a:pt x="3124" y="788"/>
                </a:lnTo>
                <a:lnTo>
                  <a:pt x="3046" y="788"/>
                </a:lnTo>
                <a:lnTo>
                  <a:pt x="2954" y="369"/>
                </a:lnTo>
                <a:lnTo>
                  <a:pt x="2946" y="331"/>
                </a:lnTo>
                <a:lnTo>
                  <a:pt x="2938" y="293"/>
                </a:lnTo>
                <a:lnTo>
                  <a:pt x="2931" y="255"/>
                </a:lnTo>
                <a:lnTo>
                  <a:pt x="2923" y="214"/>
                </a:lnTo>
                <a:lnTo>
                  <a:pt x="2924" y="389"/>
                </a:lnTo>
                <a:lnTo>
                  <a:pt x="2924" y="790"/>
                </a:lnTo>
                <a:lnTo>
                  <a:pt x="2859" y="790"/>
                </a:lnTo>
                <a:lnTo>
                  <a:pt x="2859" y="18"/>
                </a:lnTo>
                <a:lnTo>
                  <a:pt x="2939" y="18"/>
                </a:lnTo>
                <a:close/>
                <a:moveTo>
                  <a:pt x="3306" y="18"/>
                </a:moveTo>
                <a:lnTo>
                  <a:pt x="3396" y="425"/>
                </a:lnTo>
                <a:lnTo>
                  <a:pt x="3404" y="463"/>
                </a:lnTo>
                <a:lnTo>
                  <a:pt x="3408" y="481"/>
                </a:lnTo>
                <a:lnTo>
                  <a:pt x="3412" y="501"/>
                </a:lnTo>
                <a:lnTo>
                  <a:pt x="3419" y="539"/>
                </a:lnTo>
                <a:lnTo>
                  <a:pt x="3426" y="581"/>
                </a:lnTo>
                <a:lnTo>
                  <a:pt x="3426" y="495"/>
                </a:lnTo>
                <a:lnTo>
                  <a:pt x="3426" y="407"/>
                </a:lnTo>
                <a:lnTo>
                  <a:pt x="3426" y="18"/>
                </a:lnTo>
                <a:lnTo>
                  <a:pt x="3491" y="18"/>
                </a:lnTo>
                <a:lnTo>
                  <a:pt x="3491" y="788"/>
                </a:lnTo>
                <a:lnTo>
                  <a:pt x="3412" y="788"/>
                </a:lnTo>
                <a:lnTo>
                  <a:pt x="3320" y="383"/>
                </a:lnTo>
                <a:lnTo>
                  <a:pt x="3312" y="345"/>
                </a:lnTo>
                <a:lnTo>
                  <a:pt x="3305" y="307"/>
                </a:lnTo>
                <a:lnTo>
                  <a:pt x="3297" y="269"/>
                </a:lnTo>
                <a:lnTo>
                  <a:pt x="3290" y="228"/>
                </a:lnTo>
                <a:lnTo>
                  <a:pt x="3290" y="403"/>
                </a:lnTo>
                <a:lnTo>
                  <a:pt x="3290" y="788"/>
                </a:lnTo>
                <a:lnTo>
                  <a:pt x="3226" y="788"/>
                </a:lnTo>
                <a:lnTo>
                  <a:pt x="3226" y="18"/>
                </a:lnTo>
                <a:lnTo>
                  <a:pt x="3306" y="18"/>
                </a:lnTo>
                <a:close/>
                <a:moveTo>
                  <a:pt x="3618" y="735"/>
                </a:moveTo>
                <a:lnTo>
                  <a:pt x="3611" y="719"/>
                </a:lnTo>
                <a:lnTo>
                  <a:pt x="3605" y="701"/>
                </a:lnTo>
                <a:lnTo>
                  <a:pt x="3599" y="681"/>
                </a:lnTo>
                <a:lnTo>
                  <a:pt x="3597" y="669"/>
                </a:lnTo>
                <a:lnTo>
                  <a:pt x="3595" y="659"/>
                </a:lnTo>
                <a:lnTo>
                  <a:pt x="3591" y="635"/>
                </a:lnTo>
                <a:lnTo>
                  <a:pt x="3589" y="609"/>
                </a:lnTo>
                <a:lnTo>
                  <a:pt x="3588" y="595"/>
                </a:lnTo>
                <a:lnTo>
                  <a:pt x="3587" y="581"/>
                </a:lnTo>
                <a:lnTo>
                  <a:pt x="3587" y="549"/>
                </a:lnTo>
                <a:lnTo>
                  <a:pt x="3587" y="18"/>
                </a:lnTo>
                <a:lnTo>
                  <a:pt x="3652" y="18"/>
                </a:lnTo>
                <a:lnTo>
                  <a:pt x="3652" y="543"/>
                </a:lnTo>
                <a:lnTo>
                  <a:pt x="3652" y="563"/>
                </a:lnTo>
                <a:lnTo>
                  <a:pt x="3652" y="581"/>
                </a:lnTo>
                <a:lnTo>
                  <a:pt x="3653" y="597"/>
                </a:lnTo>
                <a:lnTo>
                  <a:pt x="3655" y="611"/>
                </a:lnTo>
                <a:lnTo>
                  <a:pt x="3657" y="625"/>
                </a:lnTo>
                <a:lnTo>
                  <a:pt x="3659" y="637"/>
                </a:lnTo>
                <a:lnTo>
                  <a:pt x="3662" y="649"/>
                </a:lnTo>
                <a:lnTo>
                  <a:pt x="3665" y="659"/>
                </a:lnTo>
                <a:lnTo>
                  <a:pt x="3669" y="667"/>
                </a:lnTo>
                <a:lnTo>
                  <a:pt x="3674" y="675"/>
                </a:lnTo>
                <a:lnTo>
                  <a:pt x="3679" y="683"/>
                </a:lnTo>
                <a:lnTo>
                  <a:pt x="3685" y="689"/>
                </a:lnTo>
                <a:lnTo>
                  <a:pt x="3688" y="691"/>
                </a:lnTo>
                <a:lnTo>
                  <a:pt x="3692" y="693"/>
                </a:lnTo>
                <a:lnTo>
                  <a:pt x="3699" y="697"/>
                </a:lnTo>
                <a:lnTo>
                  <a:pt x="3706" y="699"/>
                </a:lnTo>
                <a:lnTo>
                  <a:pt x="3715" y="699"/>
                </a:lnTo>
                <a:lnTo>
                  <a:pt x="3723" y="699"/>
                </a:lnTo>
                <a:lnTo>
                  <a:pt x="3731" y="697"/>
                </a:lnTo>
                <a:lnTo>
                  <a:pt x="3738" y="693"/>
                </a:lnTo>
                <a:lnTo>
                  <a:pt x="3744" y="689"/>
                </a:lnTo>
                <a:lnTo>
                  <a:pt x="3750" y="683"/>
                </a:lnTo>
                <a:lnTo>
                  <a:pt x="3755" y="675"/>
                </a:lnTo>
                <a:lnTo>
                  <a:pt x="3760" y="667"/>
                </a:lnTo>
                <a:lnTo>
                  <a:pt x="3764" y="659"/>
                </a:lnTo>
                <a:lnTo>
                  <a:pt x="3768" y="649"/>
                </a:lnTo>
                <a:lnTo>
                  <a:pt x="3770" y="637"/>
                </a:lnTo>
                <a:lnTo>
                  <a:pt x="3773" y="625"/>
                </a:lnTo>
                <a:lnTo>
                  <a:pt x="3775" y="613"/>
                </a:lnTo>
                <a:lnTo>
                  <a:pt x="3776" y="597"/>
                </a:lnTo>
                <a:lnTo>
                  <a:pt x="3777" y="581"/>
                </a:lnTo>
                <a:lnTo>
                  <a:pt x="3778" y="563"/>
                </a:lnTo>
                <a:lnTo>
                  <a:pt x="3778" y="543"/>
                </a:lnTo>
                <a:lnTo>
                  <a:pt x="3778" y="18"/>
                </a:lnTo>
                <a:lnTo>
                  <a:pt x="3843" y="18"/>
                </a:lnTo>
                <a:lnTo>
                  <a:pt x="3843" y="549"/>
                </a:lnTo>
                <a:lnTo>
                  <a:pt x="3843" y="581"/>
                </a:lnTo>
                <a:lnTo>
                  <a:pt x="3842" y="595"/>
                </a:lnTo>
                <a:lnTo>
                  <a:pt x="3841" y="609"/>
                </a:lnTo>
                <a:lnTo>
                  <a:pt x="3838" y="635"/>
                </a:lnTo>
                <a:lnTo>
                  <a:pt x="3835" y="659"/>
                </a:lnTo>
                <a:lnTo>
                  <a:pt x="3833" y="669"/>
                </a:lnTo>
                <a:lnTo>
                  <a:pt x="3830" y="681"/>
                </a:lnTo>
                <a:lnTo>
                  <a:pt x="3825" y="701"/>
                </a:lnTo>
                <a:lnTo>
                  <a:pt x="3822" y="709"/>
                </a:lnTo>
                <a:lnTo>
                  <a:pt x="3819" y="719"/>
                </a:lnTo>
                <a:lnTo>
                  <a:pt x="3815" y="727"/>
                </a:lnTo>
                <a:lnTo>
                  <a:pt x="3812" y="735"/>
                </a:lnTo>
                <a:lnTo>
                  <a:pt x="3807" y="744"/>
                </a:lnTo>
                <a:lnTo>
                  <a:pt x="3802" y="752"/>
                </a:lnTo>
                <a:lnTo>
                  <a:pt x="3792" y="766"/>
                </a:lnTo>
                <a:lnTo>
                  <a:pt x="3781" y="778"/>
                </a:lnTo>
                <a:lnTo>
                  <a:pt x="3775" y="784"/>
                </a:lnTo>
                <a:lnTo>
                  <a:pt x="3769" y="788"/>
                </a:lnTo>
                <a:lnTo>
                  <a:pt x="3757" y="796"/>
                </a:lnTo>
                <a:lnTo>
                  <a:pt x="3750" y="800"/>
                </a:lnTo>
                <a:lnTo>
                  <a:pt x="3743" y="802"/>
                </a:lnTo>
                <a:lnTo>
                  <a:pt x="3729" y="806"/>
                </a:lnTo>
                <a:lnTo>
                  <a:pt x="3722" y="806"/>
                </a:lnTo>
                <a:lnTo>
                  <a:pt x="3715" y="806"/>
                </a:lnTo>
                <a:lnTo>
                  <a:pt x="3700" y="806"/>
                </a:lnTo>
                <a:lnTo>
                  <a:pt x="3686" y="802"/>
                </a:lnTo>
                <a:lnTo>
                  <a:pt x="3679" y="800"/>
                </a:lnTo>
                <a:lnTo>
                  <a:pt x="3673" y="796"/>
                </a:lnTo>
                <a:lnTo>
                  <a:pt x="3660" y="788"/>
                </a:lnTo>
                <a:lnTo>
                  <a:pt x="3648" y="778"/>
                </a:lnTo>
                <a:lnTo>
                  <a:pt x="3637" y="766"/>
                </a:lnTo>
                <a:lnTo>
                  <a:pt x="3627" y="750"/>
                </a:lnTo>
                <a:lnTo>
                  <a:pt x="3623" y="742"/>
                </a:lnTo>
                <a:lnTo>
                  <a:pt x="3618" y="735"/>
                </a:lnTo>
                <a:close/>
                <a:moveTo>
                  <a:pt x="4052" y="806"/>
                </a:moveTo>
                <a:lnTo>
                  <a:pt x="4036" y="806"/>
                </a:lnTo>
                <a:lnTo>
                  <a:pt x="4020" y="802"/>
                </a:lnTo>
                <a:lnTo>
                  <a:pt x="4006" y="796"/>
                </a:lnTo>
                <a:lnTo>
                  <a:pt x="4000" y="792"/>
                </a:lnTo>
                <a:lnTo>
                  <a:pt x="3993" y="788"/>
                </a:lnTo>
                <a:lnTo>
                  <a:pt x="3981" y="780"/>
                </a:lnTo>
                <a:lnTo>
                  <a:pt x="3975" y="774"/>
                </a:lnTo>
                <a:lnTo>
                  <a:pt x="3970" y="768"/>
                </a:lnTo>
                <a:lnTo>
                  <a:pt x="3960" y="756"/>
                </a:lnTo>
                <a:lnTo>
                  <a:pt x="3956" y="748"/>
                </a:lnTo>
                <a:lnTo>
                  <a:pt x="3951" y="740"/>
                </a:lnTo>
                <a:lnTo>
                  <a:pt x="3947" y="733"/>
                </a:lnTo>
                <a:lnTo>
                  <a:pt x="3943" y="725"/>
                </a:lnTo>
                <a:lnTo>
                  <a:pt x="3939" y="717"/>
                </a:lnTo>
                <a:lnTo>
                  <a:pt x="3936" y="707"/>
                </a:lnTo>
                <a:lnTo>
                  <a:pt x="3930" y="687"/>
                </a:lnTo>
                <a:lnTo>
                  <a:pt x="3926" y="667"/>
                </a:lnTo>
                <a:lnTo>
                  <a:pt x="3924" y="657"/>
                </a:lnTo>
                <a:lnTo>
                  <a:pt x="3922" y="645"/>
                </a:lnTo>
                <a:lnTo>
                  <a:pt x="3919" y="623"/>
                </a:lnTo>
                <a:lnTo>
                  <a:pt x="3918" y="599"/>
                </a:lnTo>
                <a:lnTo>
                  <a:pt x="3917" y="585"/>
                </a:lnTo>
                <a:lnTo>
                  <a:pt x="3917" y="573"/>
                </a:lnTo>
                <a:lnTo>
                  <a:pt x="3980" y="545"/>
                </a:lnTo>
                <a:lnTo>
                  <a:pt x="3981" y="567"/>
                </a:lnTo>
                <a:lnTo>
                  <a:pt x="3982" y="587"/>
                </a:lnTo>
                <a:lnTo>
                  <a:pt x="3984" y="603"/>
                </a:lnTo>
                <a:lnTo>
                  <a:pt x="3986" y="619"/>
                </a:lnTo>
                <a:lnTo>
                  <a:pt x="3988" y="627"/>
                </a:lnTo>
                <a:lnTo>
                  <a:pt x="3989" y="635"/>
                </a:lnTo>
                <a:lnTo>
                  <a:pt x="3993" y="647"/>
                </a:lnTo>
                <a:lnTo>
                  <a:pt x="3997" y="659"/>
                </a:lnTo>
                <a:lnTo>
                  <a:pt x="4001" y="667"/>
                </a:lnTo>
                <a:lnTo>
                  <a:pt x="4006" y="677"/>
                </a:lnTo>
                <a:lnTo>
                  <a:pt x="4012" y="683"/>
                </a:lnTo>
                <a:lnTo>
                  <a:pt x="4018" y="689"/>
                </a:lnTo>
                <a:lnTo>
                  <a:pt x="4025" y="693"/>
                </a:lnTo>
                <a:lnTo>
                  <a:pt x="4032" y="697"/>
                </a:lnTo>
                <a:lnTo>
                  <a:pt x="4039" y="699"/>
                </a:lnTo>
                <a:lnTo>
                  <a:pt x="4047" y="701"/>
                </a:lnTo>
                <a:lnTo>
                  <a:pt x="4056" y="701"/>
                </a:lnTo>
                <a:lnTo>
                  <a:pt x="4063" y="701"/>
                </a:lnTo>
                <a:lnTo>
                  <a:pt x="4070" y="699"/>
                </a:lnTo>
                <a:lnTo>
                  <a:pt x="4077" y="697"/>
                </a:lnTo>
                <a:lnTo>
                  <a:pt x="4083" y="695"/>
                </a:lnTo>
                <a:lnTo>
                  <a:pt x="4089" y="691"/>
                </a:lnTo>
                <a:lnTo>
                  <a:pt x="4095" y="685"/>
                </a:lnTo>
                <a:lnTo>
                  <a:pt x="4100" y="679"/>
                </a:lnTo>
                <a:lnTo>
                  <a:pt x="4105" y="673"/>
                </a:lnTo>
                <a:lnTo>
                  <a:pt x="4109" y="665"/>
                </a:lnTo>
                <a:lnTo>
                  <a:pt x="4113" y="657"/>
                </a:lnTo>
                <a:lnTo>
                  <a:pt x="4116" y="649"/>
                </a:lnTo>
                <a:lnTo>
                  <a:pt x="4119" y="639"/>
                </a:lnTo>
                <a:lnTo>
                  <a:pt x="4121" y="627"/>
                </a:lnTo>
                <a:lnTo>
                  <a:pt x="4122" y="623"/>
                </a:lnTo>
                <a:lnTo>
                  <a:pt x="4123" y="617"/>
                </a:lnTo>
                <a:lnTo>
                  <a:pt x="4124" y="605"/>
                </a:lnTo>
                <a:lnTo>
                  <a:pt x="4124" y="591"/>
                </a:lnTo>
                <a:lnTo>
                  <a:pt x="4124" y="581"/>
                </a:lnTo>
                <a:lnTo>
                  <a:pt x="4123" y="571"/>
                </a:lnTo>
                <a:lnTo>
                  <a:pt x="4122" y="563"/>
                </a:lnTo>
                <a:lnTo>
                  <a:pt x="4121" y="553"/>
                </a:lnTo>
                <a:lnTo>
                  <a:pt x="4119" y="545"/>
                </a:lnTo>
                <a:lnTo>
                  <a:pt x="4117" y="537"/>
                </a:lnTo>
                <a:lnTo>
                  <a:pt x="4115" y="529"/>
                </a:lnTo>
                <a:lnTo>
                  <a:pt x="4112" y="521"/>
                </a:lnTo>
                <a:lnTo>
                  <a:pt x="4104" y="505"/>
                </a:lnTo>
                <a:lnTo>
                  <a:pt x="4100" y="497"/>
                </a:lnTo>
                <a:lnTo>
                  <a:pt x="4095" y="491"/>
                </a:lnTo>
                <a:lnTo>
                  <a:pt x="4084" y="477"/>
                </a:lnTo>
                <a:lnTo>
                  <a:pt x="4071" y="465"/>
                </a:lnTo>
                <a:lnTo>
                  <a:pt x="4007" y="407"/>
                </a:lnTo>
                <a:lnTo>
                  <a:pt x="3998" y="399"/>
                </a:lnTo>
                <a:lnTo>
                  <a:pt x="3988" y="389"/>
                </a:lnTo>
                <a:lnTo>
                  <a:pt x="3972" y="369"/>
                </a:lnTo>
                <a:lnTo>
                  <a:pt x="3958" y="349"/>
                </a:lnTo>
                <a:lnTo>
                  <a:pt x="3953" y="337"/>
                </a:lnTo>
                <a:lnTo>
                  <a:pt x="3947" y="325"/>
                </a:lnTo>
                <a:lnTo>
                  <a:pt x="3942" y="313"/>
                </a:lnTo>
                <a:lnTo>
                  <a:pt x="3937" y="299"/>
                </a:lnTo>
                <a:lnTo>
                  <a:pt x="3934" y="285"/>
                </a:lnTo>
                <a:lnTo>
                  <a:pt x="3931" y="269"/>
                </a:lnTo>
                <a:lnTo>
                  <a:pt x="3929" y="253"/>
                </a:lnTo>
                <a:lnTo>
                  <a:pt x="3928" y="246"/>
                </a:lnTo>
                <a:lnTo>
                  <a:pt x="3927" y="238"/>
                </a:lnTo>
                <a:lnTo>
                  <a:pt x="3927" y="220"/>
                </a:lnTo>
                <a:lnTo>
                  <a:pt x="3926" y="200"/>
                </a:lnTo>
                <a:lnTo>
                  <a:pt x="3926" y="188"/>
                </a:lnTo>
                <a:lnTo>
                  <a:pt x="3927" y="176"/>
                </a:lnTo>
                <a:lnTo>
                  <a:pt x="3928" y="164"/>
                </a:lnTo>
                <a:lnTo>
                  <a:pt x="3929" y="152"/>
                </a:lnTo>
                <a:lnTo>
                  <a:pt x="3930" y="142"/>
                </a:lnTo>
                <a:lnTo>
                  <a:pt x="3932" y="132"/>
                </a:lnTo>
                <a:lnTo>
                  <a:pt x="3936" y="112"/>
                </a:lnTo>
                <a:lnTo>
                  <a:pt x="3939" y="102"/>
                </a:lnTo>
                <a:lnTo>
                  <a:pt x="3942" y="94"/>
                </a:lnTo>
                <a:lnTo>
                  <a:pt x="3949" y="78"/>
                </a:lnTo>
                <a:lnTo>
                  <a:pt x="3957" y="62"/>
                </a:lnTo>
                <a:lnTo>
                  <a:pt x="3961" y="56"/>
                </a:lnTo>
                <a:lnTo>
                  <a:pt x="3965" y="50"/>
                </a:lnTo>
                <a:lnTo>
                  <a:pt x="3974" y="38"/>
                </a:lnTo>
                <a:lnTo>
                  <a:pt x="3984" y="28"/>
                </a:lnTo>
                <a:lnTo>
                  <a:pt x="3994" y="20"/>
                </a:lnTo>
                <a:lnTo>
                  <a:pt x="4005" y="12"/>
                </a:lnTo>
                <a:lnTo>
                  <a:pt x="4017" y="6"/>
                </a:lnTo>
                <a:lnTo>
                  <a:pt x="4029" y="4"/>
                </a:lnTo>
                <a:lnTo>
                  <a:pt x="4042" y="0"/>
                </a:lnTo>
                <a:lnTo>
                  <a:pt x="4055" y="0"/>
                </a:lnTo>
                <a:lnTo>
                  <a:pt x="4070" y="2"/>
                </a:lnTo>
                <a:lnTo>
                  <a:pt x="4085" y="4"/>
                </a:lnTo>
                <a:lnTo>
                  <a:pt x="4098" y="10"/>
                </a:lnTo>
                <a:lnTo>
                  <a:pt x="4104" y="14"/>
                </a:lnTo>
                <a:lnTo>
                  <a:pt x="4110" y="18"/>
                </a:lnTo>
                <a:lnTo>
                  <a:pt x="4122" y="26"/>
                </a:lnTo>
                <a:lnTo>
                  <a:pt x="4132" y="38"/>
                </a:lnTo>
                <a:lnTo>
                  <a:pt x="4141" y="50"/>
                </a:lnTo>
                <a:lnTo>
                  <a:pt x="4149" y="64"/>
                </a:lnTo>
                <a:lnTo>
                  <a:pt x="4153" y="72"/>
                </a:lnTo>
                <a:lnTo>
                  <a:pt x="4156" y="78"/>
                </a:lnTo>
                <a:lnTo>
                  <a:pt x="4159" y="86"/>
                </a:lnTo>
                <a:lnTo>
                  <a:pt x="4162" y="94"/>
                </a:lnTo>
                <a:lnTo>
                  <a:pt x="4167" y="112"/>
                </a:lnTo>
                <a:lnTo>
                  <a:pt x="4172" y="128"/>
                </a:lnTo>
                <a:lnTo>
                  <a:pt x="4175" y="146"/>
                </a:lnTo>
                <a:lnTo>
                  <a:pt x="4177" y="166"/>
                </a:lnTo>
                <a:lnTo>
                  <a:pt x="4179" y="184"/>
                </a:lnTo>
                <a:lnTo>
                  <a:pt x="4179" y="202"/>
                </a:lnTo>
                <a:lnTo>
                  <a:pt x="4117" y="228"/>
                </a:lnTo>
                <a:lnTo>
                  <a:pt x="4117" y="212"/>
                </a:lnTo>
                <a:lnTo>
                  <a:pt x="4115" y="198"/>
                </a:lnTo>
                <a:lnTo>
                  <a:pt x="4114" y="186"/>
                </a:lnTo>
                <a:lnTo>
                  <a:pt x="4112" y="172"/>
                </a:lnTo>
                <a:lnTo>
                  <a:pt x="4109" y="162"/>
                </a:lnTo>
                <a:lnTo>
                  <a:pt x="4106" y="152"/>
                </a:lnTo>
                <a:lnTo>
                  <a:pt x="4103" y="142"/>
                </a:lnTo>
                <a:lnTo>
                  <a:pt x="4099" y="136"/>
                </a:lnTo>
                <a:lnTo>
                  <a:pt x="4095" y="128"/>
                </a:lnTo>
                <a:lnTo>
                  <a:pt x="4090" y="122"/>
                </a:lnTo>
                <a:lnTo>
                  <a:pt x="4085" y="118"/>
                </a:lnTo>
                <a:lnTo>
                  <a:pt x="4079" y="114"/>
                </a:lnTo>
                <a:lnTo>
                  <a:pt x="4073" y="110"/>
                </a:lnTo>
                <a:lnTo>
                  <a:pt x="4067" y="108"/>
                </a:lnTo>
                <a:lnTo>
                  <a:pt x="4060" y="108"/>
                </a:lnTo>
                <a:lnTo>
                  <a:pt x="4052" y="106"/>
                </a:lnTo>
                <a:lnTo>
                  <a:pt x="4040" y="108"/>
                </a:lnTo>
                <a:lnTo>
                  <a:pt x="4028" y="112"/>
                </a:lnTo>
                <a:lnTo>
                  <a:pt x="4023" y="116"/>
                </a:lnTo>
                <a:lnTo>
                  <a:pt x="4018" y="120"/>
                </a:lnTo>
                <a:lnTo>
                  <a:pt x="4013" y="124"/>
                </a:lnTo>
                <a:lnTo>
                  <a:pt x="4009" y="128"/>
                </a:lnTo>
                <a:lnTo>
                  <a:pt x="4005" y="134"/>
                </a:lnTo>
                <a:lnTo>
                  <a:pt x="4002" y="140"/>
                </a:lnTo>
                <a:lnTo>
                  <a:pt x="3999" y="148"/>
                </a:lnTo>
                <a:lnTo>
                  <a:pt x="3996" y="156"/>
                </a:lnTo>
                <a:lnTo>
                  <a:pt x="3994" y="164"/>
                </a:lnTo>
                <a:lnTo>
                  <a:pt x="3993" y="174"/>
                </a:lnTo>
                <a:lnTo>
                  <a:pt x="3992" y="184"/>
                </a:lnTo>
                <a:lnTo>
                  <a:pt x="3992" y="194"/>
                </a:lnTo>
                <a:lnTo>
                  <a:pt x="3992" y="204"/>
                </a:lnTo>
                <a:lnTo>
                  <a:pt x="3992" y="214"/>
                </a:lnTo>
                <a:lnTo>
                  <a:pt x="3993" y="224"/>
                </a:lnTo>
                <a:lnTo>
                  <a:pt x="3994" y="232"/>
                </a:lnTo>
                <a:lnTo>
                  <a:pt x="3996" y="240"/>
                </a:lnTo>
                <a:lnTo>
                  <a:pt x="3998" y="248"/>
                </a:lnTo>
                <a:lnTo>
                  <a:pt x="4001" y="255"/>
                </a:lnTo>
                <a:lnTo>
                  <a:pt x="4003" y="261"/>
                </a:lnTo>
                <a:lnTo>
                  <a:pt x="4007" y="267"/>
                </a:lnTo>
                <a:lnTo>
                  <a:pt x="4010" y="273"/>
                </a:lnTo>
                <a:lnTo>
                  <a:pt x="4019" y="285"/>
                </a:lnTo>
                <a:lnTo>
                  <a:pt x="4029" y="297"/>
                </a:lnTo>
                <a:lnTo>
                  <a:pt x="4041" y="309"/>
                </a:lnTo>
                <a:lnTo>
                  <a:pt x="4103" y="363"/>
                </a:lnTo>
                <a:lnTo>
                  <a:pt x="4113" y="373"/>
                </a:lnTo>
                <a:lnTo>
                  <a:pt x="4123" y="383"/>
                </a:lnTo>
                <a:lnTo>
                  <a:pt x="4133" y="393"/>
                </a:lnTo>
                <a:lnTo>
                  <a:pt x="4141" y="405"/>
                </a:lnTo>
                <a:lnTo>
                  <a:pt x="4149" y="417"/>
                </a:lnTo>
                <a:lnTo>
                  <a:pt x="4156" y="427"/>
                </a:lnTo>
                <a:lnTo>
                  <a:pt x="4162" y="441"/>
                </a:lnTo>
                <a:lnTo>
                  <a:pt x="4168" y="453"/>
                </a:lnTo>
                <a:lnTo>
                  <a:pt x="4173" y="467"/>
                </a:lnTo>
                <a:lnTo>
                  <a:pt x="4177" y="481"/>
                </a:lnTo>
                <a:lnTo>
                  <a:pt x="4181" y="495"/>
                </a:lnTo>
                <a:lnTo>
                  <a:pt x="4184" y="511"/>
                </a:lnTo>
                <a:lnTo>
                  <a:pt x="4186" y="527"/>
                </a:lnTo>
                <a:lnTo>
                  <a:pt x="4187" y="537"/>
                </a:lnTo>
                <a:lnTo>
                  <a:pt x="4187" y="545"/>
                </a:lnTo>
                <a:lnTo>
                  <a:pt x="4188" y="563"/>
                </a:lnTo>
                <a:lnTo>
                  <a:pt x="4189" y="583"/>
                </a:lnTo>
                <a:lnTo>
                  <a:pt x="4188" y="609"/>
                </a:lnTo>
                <a:lnTo>
                  <a:pt x="4186" y="633"/>
                </a:lnTo>
                <a:lnTo>
                  <a:pt x="4185" y="645"/>
                </a:lnTo>
                <a:lnTo>
                  <a:pt x="4183" y="655"/>
                </a:lnTo>
                <a:lnTo>
                  <a:pt x="4181" y="667"/>
                </a:lnTo>
                <a:lnTo>
                  <a:pt x="4179" y="677"/>
                </a:lnTo>
                <a:lnTo>
                  <a:pt x="4177" y="687"/>
                </a:lnTo>
                <a:lnTo>
                  <a:pt x="4174" y="697"/>
                </a:lnTo>
                <a:lnTo>
                  <a:pt x="4167" y="715"/>
                </a:lnTo>
                <a:lnTo>
                  <a:pt x="4164" y="723"/>
                </a:lnTo>
                <a:lnTo>
                  <a:pt x="4160" y="733"/>
                </a:lnTo>
                <a:lnTo>
                  <a:pt x="4152" y="746"/>
                </a:lnTo>
                <a:lnTo>
                  <a:pt x="4147" y="754"/>
                </a:lnTo>
                <a:lnTo>
                  <a:pt x="4142" y="760"/>
                </a:lnTo>
                <a:lnTo>
                  <a:pt x="4137" y="766"/>
                </a:lnTo>
                <a:lnTo>
                  <a:pt x="4132" y="772"/>
                </a:lnTo>
                <a:lnTo>
                  <a:pt x="4121" y="782"/>
                </a:lnTo>
                <a:lnTo>
                  <a:pt x="4109" y="790"/>
                </a:lnTo>
                <a:lnTo>
                  <a:pt x="4096" y="798"/>
                </a:lnTo>
                <a:lnTo>
                  <a:pt x="4082" y="802"/>
                </a:lnTo>
                <a:lnTo>
                  <a:pt x="4075" y="804"/>
                </a:lnTo>
                <a:lnTo>
                  <a:pt x="4068" y="804"/>
                </a:lnTo>
                <a:lnTo>
                  <a:pt x="4052" y="806"/>
                </a:lnTo>
                <a:close/>
                <a:moveTo>
                  <a:pt x="1669" y="1273"/>
                </a:moveTo>
                <a:lnTo>
                  <a:pt x="1669" y="1936"/>
                </a:lnTo>
                <a:lnTo>
                  <a:pt x="1604" y="1936"/>
                </a:lnTo>
                <a:lnTo>
                  <a:pt x="1604" y="1273"/>
                </a:lnTo>
                <a:lnTo>
                  <a:pt x="1506" y="1273"/>
                </a:lnTo>
                <a:lnTo>
                  <a:pt x="1506" y="1166"/>
                </a:lnTo>
                <a:lnTo>
                  <a:pt x="1767" y="1166"/>
                </a:lnTo>
                <a:lnTo>
                  <a:pt x="1767" y="1273"/>
                </a:lnTo>
                <a:lnTo>
                  <a:pt x="1669" y="1273"/>
                </a:lnTo>
                <a:close/>
                <a:moveTo>
                  <a:pt x="1832" y="1936"/>
                </a:moveTo>
                <a:lnTo>
                  <a:pt x="1832" y="1166"/>
                </a:lnTo>
                <a:lnTo>
                  <a:pt x="2060" y="1166"/>
                </a:lnTo>
                <a:lnTo>
                  <a:pt x="2060" y="1273"/>
                </a:lnTo>
                <a:lnTo>
                  <a:pt x="1897" y="1273"/>
                </a:lnTo>
                <a:lnTo>
                  <a:pt x="1897" y="1489"/>
                </a:lnTo>
                <a:lnTo>
                  <a:pt x="2030" y="1489"/>
                </a:lnTo>
                <a:lnTo>
                  <a:pt x="2030" y="1593"/>
                </a:lnTo>
                <a:lnTo>
                  <a:pt x="1897" y="1593"/>
                </a:lnTo>
                <a:lnTo>
                  <a:pt x="1897" y="1828"/>
                </a:lnTo>
                <a:lnTo>
                  <a:pt x="2060" y="1828"/>
                </a:lnTo>
                <a:lnTo>
                  <a:pt x="2060" y="1936"/>
                </a:lnTo>
                <a:lnTo>
                  <a:pt x="1832" y="1936"/>
                </a:lnTo>
                <a:close/>
                <a:moveTo>
                  <a:pt x="2260" y="1954"/>
                </a:moveTo>
                <a:lnTo>
                  <a:pt x="2251" y="1954"/>
                </a:lnTo>
                <a:lnTo>
                  <a:pt x="2242" y="1952"/>
                </a:lnTo>
                <a:lnTo>
                  <a:pt x="2234" y="1950"/>
                </a:lnTo>
                <a:lnTo>
                  <a:pt x="2226" y="1948"/>
                </a:lnTo>
                <a:lnTo>
                  <a:pt x="2218" y="1944"/>
                </a:lnTo>
                <a:lnTo>
                  <a:pt x="2211" y="1938"/>
                </a:lnTo>
                <a:lnTo>
                  <a:pt x="2204" y="1932"/>
                </a:lnTo>
                <a:lnTo>
                  <a:pt x="2197" y="1926"/>
                </a:lnTo>
                <a:lnTo>
                  <a:pt x="2190" y="1920"/>
                </a:lnTo>
                <a:lnTo>
                  <a:pt x="2184" y="1912"/>
                </a:lnTo>
                <a:lnTo>
                  <a:pt x="2178" y="1902"/>
                </a:lnTo>
                <a:lnTo>
                  <a:pt x="2172" y="1892"/>
                </a:lnTo>
                <a:lnTo>
                  <a:pt x="2166" y="1882"/>
                </a:lnTo>
                <a:lnTo>
                  <a:pt x="2161" y="1872"/>
                </a:lnTo>
                <a:lnTo>
                  <a:pt x="2156" y="1860"/>
                </a:lnTo>
                <a:lnTo>
                  <a:pt x="2151" y="1846"/>
                </a:lnTo>
                <a:lnTo>
                  <a:pt x="2147" y="1834"/>
                </a:lnTo>
                <a:lnTo>
                  <a:pt x="2143" y="1820"/>
                </a:lnTo>
                <a:lnTo>
                  <a:pt x="2139" y="1804"/>
                </a:lnTo>
                <a:lnTo>
                  <a:pt x="2135" y="1788"/>
                </a:lnTo>
                <a:lnTo>
                  <a:pt x="2132" y="1772"/>
                </a:lnTo>
                <a:lnTo>
                  <a:pt x="2129" y="1756"/>
                </a:lnTo>
                <a:lnTo>
                  <a:pt x="2126" y="1738"/>
                </a:lnTo>
                <a:lnTo>
                  <a:pt x="2124" y="1720"/>
                </a:lnTo>
                <a:lnTo>
                  <a:pt x="2121" y="1701"/>
                </a:lnTo>
                <a:lnTo>
                  <a:pt x="2120" y="1681"/>
                </a:lnTo>
                <a:lnTo>
                  <a:pt x="2118" y="1661"/>
                </a:lnTo>
                <a:lnTo>
                  <a:pt x="2117" y="1641"/>
                </a:lnTo>
                <a:lnTo>
                  <a:pt x="2115" y="1597"/>
                </a:lnTo>
                <a:lnTo>
                  <a:pt x="2114" y="1575"/>
                </a:lnTo>
                <a:lnTo>
                  <a:pt x="2114" y="1551"/>
                </a:lnTo>
                <a:lnTo>
                  <a:pt x="2115" y="1505"/>
                </a:lnTo>
                <a:lnTo>
                  <a:pt x="2117" y="1461"/>
                </a:lnTo>
                <a:lnTo>
                  <a:pt x="2118" y="1441"/>
                </a:lnTo>
                <a:lnTo>
                  <a:pt x="2120" y="1421"/>
                </a:lnTo>
                <a:lnTo>
                  <a:pt x="2124" y="1383"/>
                </a:lnTo>
                <a:lnTo>
                  <a:pt x="2126" y="1363"/>
                </a:lnTo>
                <a:lnTo>
                  <a:pt x="2129" y="1347"/>
                </a:lnTo>
                <a:lnTo>
                  <a:pt x="2135" y="1313"/>
                </a:lnTo>
                <a:lnTo>
                  <a:pt x="2139" y="1297"/>
                </a:lnTo>
                <a:lnTo>
                  <a:pt x="2143" y="1283"/>
                </a:lnTo>
                <a:lnTo>
                  <a:pt x="2147" y="1269"/>
                </a:lnTo>
                <a:lnTo>
                  <a:pt x="2151" y="1255"/>
                </a:lnTo>
                <a:lnTo>
                  <a:pt x="2156" y="1243"/>
                </a:lnTo>
                <a:lnTo>
                  <a:pt x="2161" y="1231"/>
                </a:lnTo>
                <a:lnTo>
                  <a:pt x="2166" y="1220"/>
                </a:lnTo>
                <a:lnTo>
                  <a:pt x="2172" y="1210"/>
                </a:lnTo>
                <a:lnTo>
                  <a:pt x="2178" y="1200"/>
                </a:lnTo>
                <a:lnTo>
                  <a:pt x="2184" y="1192"/>
                </a:lnTo>
                <a:lnTo>
                  <a:pt x="2197" y="1176"/>
                </a:lnTo>
                <a:lnTo>
                  <a:pt x="2204" y="1170"/>
                </a:lnTo>
                <a:lnTo>
                  <a:pt x="2211" y="1164"/>
                </a:lnTo>
                <a:lnTo>
                  <a:pt x="2218" y="1160"/>
                </a:lnTo>
                <a:lnTo>
                  <a:pt x="2226" y="1156"/>
                </a:lnTo>
                <a:lnTo>
                  <a:pt x="2234" y="1152"/>
                </a:lnTo>
                <a:lnTo>
                  <a:pt x="2242" y="1150"/>
                </a:lnTo>
                <a:lnTo>
                  <a:pt x="2251" y="1148"/>
                </a:lnTo>
                <a:lnTo>
                  <a:pt x="2260" y="1148"/>
                </a:lnTo>
                <a:lnTo>
                  <a:pt x="2268" y="1148"/>
                </a:lnTo>
                <a:lnTo>
                  <a:pt x="2277" y="1150"/>
                </a:lnTo>
                <a:lnTo>
                  <a:pt x="2285" y="1152"/>
                </a:lnTo>
                <a:lnTo>
                  <a:pt x="2293" y="1156"/>
                </a:lnTo>
                <a:lnTo>
                  <a:pt x="2301" y="1160"/>
                </a:lnTo>
                <a:lnTo>
                  <a:pt x="2308" y="1164"/>
                </a:lnTo>
                <a:lnTo>
                  <a:pt x="2316" y="1170"/>
                </a:lnTo>
                <a:lnTo>
                  <a:pt x="2323" y="1176"/>
                </a:lnTo>
                <a:lnTo>
                  <a:pt x="2329" y="1184"/>
                </a:lnTo>
                <a:lnTo>
                  <a:pt x="2336" y="1192"/>
                </a:lnTo>
                <a:lnTo>
                  <a:pt x="2342" y="1200"/>
                </a:lnTo>
                <a:lnTo>
                  <a:pt x="2348" y="1210"/>
                </a:lnTo>
                <a:lnTo>
                  <a:pt x="2353" y="1220"/>
                </a:lnTo>
                <a:lnTo>
                  <a:pt x="2359" y="1229"/>
                </a:lnTo>
                <a:lnTo>
                  <a:pt x="2364" y="1241"/>
                </a:lnTo>
                <a:lnTo>
                  <a:pt x="2368" y="1255"/>
                </a:lnTo>
                <a:lnTo>
                  <a:pt x="2377" y="1283"/>
                </a:lnTo>
                <a:lnTo>
                  <a:pt x="2381" y="1297"/>
                </a:lnTo>
                <a:lnTo>
                  <a:pt x="2385" y="1313"/>
                </a:lnTo>
                <a:lnTo>
                  <a:pt x="2391" y="1345"/>
                </a:lnTo>
                <a:lnTo>
                  <a:pt x="2394" y="1363"/>
                </a:lnTo>
                <a:lnTo>
                  <a:pt x="2396" y="1381"/>
                </a:lnTo>
                <a:lnTo>
                  <a:pt x="2398" y="1401"/>
                </a:lnTo>
                <a:lnTo>
                  <a:pt x="2400" y="1421"/>
                </a:lnTo>
                <a:lnTo>
                  <a:pt x="2402" y="1441"/>
                </a:lnTo>
                <a:lnTo>
                  <a:pt x="2403" y="1461"/>
                </a:lnTo>
                <a:lnTo>
                  <a:pt x="2404" y="1483"/>
                </a:lnTo>
                <a:lnTo>
                  <a:pt x="2405" y="1505"/>
                </a:lnTo>
                <a:lnTo>
                  <a:pt x="2405" y="1527"/>
                </a:lnTo>
                <a:lnTo>
                  <a:pt x="2406" y="1551"/>
                </a:lnTo>
                <a:lnTo>
                  <a:pt x="2405" y="1597"/>
                </a:lnTo>
                <a:lnTo>
                  <a:pt x="2403" y="1641"/>
                </a:lnTo>
                <a:lnTo>
                  <a:pt x="2402" y="1663"/>
                </a:lnTo>
                <a:lnTo>
                  <a:pt x="2400" y="1683"/>
                </a:lnTo>
                <a:lnTo>
                  <a:pt x="2396" y="1720"/>
                </a:lnTo>
                <a:lnTo>
                  <a:pt x="2394" y="1738"/>
                </a:lnTo>
                <a:lnTo>
                  <a:pt x="2391" y="1756"/>
                </a:lnTo>
                <a:lnTo>
                  <a:pt x="2388" y="1772"/>
                </a:lnTo>
                <a:lnTo>
                  <a:pt x="2385" y="1790"/>
                </a:lnTo>
                <a:lnTo>
                  <a:pt x="2381" y="1804"/>
                </a:lnTo>
                <a:lnTo>
                  <a:pt x="2377" y="1820"/>
                </a:lnTo>
                <a:lnTo>
                  <a:pt x="2373" y="1834"/>
                </a:lnTo>
                <a:lnTo>
                  <a:pt x="2368" y="1846"/>
                </a:lnTo>
                <a:lnTo>
                  <a:pt x="2364" y="1860"/>
                </a:lnTo>
                <a:lnTo>
                  <a:pt x="2359" y="1872"/>
                </a:lnTo>
                <a:lnTo>
                  <a:pt x="2353" y="1882"/>
                </a:lnTo>
                <a:lnTo>
                  <a:pt x="2348" y="1894"/>
                </a:lnTo>
                <a:lnTo>
                  <a:pt x="2342" y="1902"/>
                </a:lnTo>
                <a:lnTo>
                  <a:pt x="2336" y="1912"/>
                </a:lnTo>
                <a:lnTo>
                  <a:pt x="2329" y="1920"/>
                </a:lnTo>
                <a:lnTo>
                  <a:pt x="2323" y="1926"/>
                </a:lnTo>
                <a:lnTo>
                  <a:pt x="2316" y="1934"/>
                </a:lnTo>
                <a:lnTo>
                  <a:pt x="2308" y="1938"/>
                </a:lnTo>
                <a:lnTo>
                  <a:pt x="2301" y="1944"/>
                </a:lnTo>
                <a:lnTo>
                  <a:pt x="2293" y="1948"/>
                </a:lnTo>
                <a:lnTo>
                  <a:pt x="2285" y="1950"/>
                </a:lnTo>
                <a:lnTo>
                  <a:pt x="2277" y="1952"/>
                </a:lnTo>
                <a:lnTo>
                  <a:pt x="2268" y="1954"/>
                </a:lnTo>
                <a:lnTo>
                  <a:pt x="2260" y="1954"/>
                </a:lnTo>
                <a:close/>
                <a:moveTo>
                  <a:pt x="2260" y="1257"/>
                </a:moveTo>
                <a:lnTo>
                  <a:pt x="2251" y="1257"/>
                </a:lnTo>
                <a:lnTo>
                  <a:pt x="2246" y="1259"/>
                </a:lnTo>
                <a:lnTo>
                  <a:pt x="2242" y="1259"/>
                </a:lnTo>
                <a:lnTo>
                  <a:pt x="2234" y="1265"/>
                </a:lnTo>
                <a:lnTo>
                  <a:pt x="2227" y="1271"/>
                </a:lnTo>
                <a:lnTo>
                  <a:pt x="2223" y="1275"/>
                </a:lnTo>
                <a:lnTo>
                  <a:pt x="2220" y="1281"/>
                </a:lnTo>
                <a:lnTo>
                  <a:pt x="2216" y="1287"/>
                </a:lnTo>
                <a:lnTo>
                  <a:pt x="2213" y="1293"/>
                </a:lnTo>
                <a:lnTo>
                  <a:pt x="2210" y="1299"/>
                </a:lnTo>
                <a:lnTo>
                  <a:pt x="2207" y="1307"/>
                </a:lnTo>
                <a:lnTo>
                  <a:pt x="2201" y="1323"/>
                </a:lnTo>
                <a:lnTo>
                  <a:pt x="2199" y="1331"/>
                </a:lnTo>
                <a:lnTo>
                  <a:pt x="2196" y="1341"/>
                </a:lnTo>
                <a:lnTo>
                  <a:pt x="2192" y="1363"/>
                </a:lnTo>
                <a:lnTo>
                  <a:pt x="2188" y="1387"/>
                </a:lnTo>
                <a:lnTo>
                  <a:pt x="2187" y="1399"/>
                </a:lnTo>
                <a:lnTo>
                  <a:pt x="2185" y="1413"/>
                </a:lnTo>
                <a:lnTo>
                  <a:pt x="2183" y="1443"/>
                </a:lnTo>
                <a:lnTo>
                  <a:pt x="2181" y="1477"/>
                </a:lnTo>
                <a:lnTo>
                  <a:pt x="2180" y="1513"/>
                </a:lnTo>
                <a:lnTo>
                  <a:pt x="2180" y="1551"/>
                </a:lnTo>
                <a:lnTo>
                  <a:pt x="2180" y="1591"/>
                </a:lnTo>
                <a:lnTo>
                  <a:pt x="2181" y="1627"/>
                </a:lnTo>
                <a:lnTo>
                  <a:pt x="2183" y="1659"/>
                </a:lnTo>
                <a:lnTo>
                  <a:pt x="2185" y="1689"/>
                </a:lnTo>
                <a:lnTo>
                  <a:pt x="2188" y="1714"/>
                </a:lnTo>
                <a:lnTo>
                  <a:pt x="2192" y="1738"/>
                </a:lnTo>
                <a:lnTo>
                  <a:pt x="2196" y="1760"/>
                </a:lnTo>
                <a:lnTo>
                  <a:pt x="2201" y="1780"/>
                </a:lnTo>
                <a:lnTo>
                  <a:pt x="2207" y="1796"/>
                </a:lnTo>
                <a:lnTo>
                  <a:pt x="2213" y="1810"/>
                </a:lnTo>
                <a:lnTo>
                  <a:pt x="2220" y="1820"/>
                </a:lnTo>
                <a:lnTo>
                  <a:pt x="2227" y="1830"/>
                </a:lnTo>
                <a:lnTo>
                  <a:pt x="2234" y="1836"/>
                </a:lnTo>
                <a:lnTo>
                  <a:pt x="2242" y="1842"/>
                </a:lnTo>
                <a:lnTo>
                  <a:pt x="2251" y="1844"/>
                </a:lnTo>
                <a:lnTo>
                  <a:pt x="2260" y="1846"/>
                </a:lnTo>
                <a:lnTo>
                  <a:pt x="2269" y="1844"/>
                </a:lnTo>
                <a:lnTo>
                  <a:pt x="2273" y="1844"/>
                </a:lnTo>
                <a:lnTo>
                  <a:pt x="2277" y="1842"/>
                </a:lnTo>
                <a:lnTo>
                  <a:pt x="2285" y="1836"/>
                </a:lnTo>
                <a:lnTo>
                  <a:pt x="2293" y="1830"/>
                </a:lnTo>
                <a:lnTo>
                  <a:pt x="2296" y="1826"/>
                </a:lnTo>
                <a:lnTo>
                  <a:pt x="2300" y="1820"/>
                </a:lnTo>
                <a:lnTo>
                  <a:pt x="2306" y="1808"/>
                </a:lnTo>
                <a:lnTo>
                  <a:pt x="2309" y="1802"/>
                </a:lnTo>
                <a:lnTo>
                  <a:pt x="2312" y="1796"/>
                </a:lnTo>
                <a:lnTo>
                  <a:pt x="2318" y="1778"/>
                </a:lnTo>
                <a:lnTo>
                  <a:pt x="2320" y="1770"/>
                </a:lnTo>
                <a:lnTo>
                  <a:pt x="2323" y="1760"/>
                </a:lnTo>
                <a:lnTo>
                  <a:pt x="2327" y="1738"/>
                </a:lnTo>
                <a:lnTo>
                  <a:pt x="2331" y="1714"/>
                </a:lnTo>
                <a:lnTo>
                  <a:pt x="2332" y="1703"/>
                </a:lnTo>
                <a:lnTo>
                  <a:pt x="2334" y="1689"/>
                </a:lnTo>
                <a:lnTo>
                  <a:pt x="2336" y="1659"/>
                </a:lnTo>
                <a:lnTo>
                  <a:pt x="2338" y="1625"/>
                </a:lnTo>
                <a:lnTo>
                  <a:pt x="2339" y="1591"/>
                </a:lnTo>
                <a:lnTo>
                  <a:pt x="2340" y="1551"/>
                </a:lnTo>
                <a:lnTo>
                  <a:pt x="2339" y="1513"/>
                </a:lnTo>
                <a:lnTo>
                  <a:pt x="2338" y="1477"/>
                </a:lnTo>
                <a:lnTo>
                  <a:pt x="2336" y="1443"/>
                </a:lnTo>
                <a:lnTo>
                  <a:pt x="2334" y="1415"/>
                </a:lnTo>
                <a:lnTo>
                  <a:pt x="2331" y="1387"/>
                </a:lnTo>
                <a:lnTo>
                  <a:pt x="2327" y="1363"/>
                </a:lnTo>
                <a:lnTo>
                  <a:pt x="2323" y="1341"/>
                </a:lnTo>
                <a:lnTo>
                  <a:pt x="2318" y="1323"/>
                </a:lnTo>
                <a:lnTo>
                  <a:pt x="2312" y="1307"/>
                </a:lnTo>
                <a:lnTo>
                  <a:pt x="2306" y="1293"/>
                </a:lnTo>
                <a:lnTo>
                  <a:pt x="2300" y="1281"/>
                </a:lnTo>
                <a:lnTo>
                  <a:pt x="2293" y="1271"/>
                </a:lnTo>
                <a:lnTo>
                  <a:pt x="2285" y="1265"/>
                </a:lnTo>
                <a:lnTo>
                  <a:pt x="2277" y="1259"/>
                </a:lnTo>
                <a:lnTo>
                  <a:pt x="2273" y="1259"/>
                </a:lnTo>
                <a:lnTo>
                  <a:pt x="2269" y="1257"/>
                </a:lnTo>
                <a:lnTo>
                  <a:pt x="2260" y="1257"/>
                </a:lnTo>
                <a:close/>
                <a:moveTo>
                  <a:pt x="2485" y="1936"/>
                </a:moveTo>
                <a:lnTo>
                  <a:pt x="2485" y="1166"/>
                </a:lnTo>
                <a:lnTo>
                  <a:pt x="2549" y="1166"/>
                </a:lnTo>
                <a:lnTo>
                  <a:pt x="2549" y="1828"/>
                </a:lnTo>
                <a:lnTo>
                  <a:pt x="2709" y="1828"/>
                </a:lnTo>
                <a:lnTo>
                  <a:pt x="2709" y="1936"/>
                </a:lnTo>
                <a:lnTo>
                  <a:pt x="2485" y="1936"/>
                </a:lnTo>
                <a:close/>
                <a:moveTo>
                  <a:pt x="2769" y="1936"/>
                </a:moveTo>
                <a:lnTo>
                  <a:pt x="2769" y="1166"/>
                </a:lnTo>
                <a:lnTo>
                  <a:pt x="2835" y="1166"/>
                </a:lnTo>
                <a:lnTo>
                  <a:pt x="2835" y="1828"/>
                </a:lnTo>
                <a:lnTo>
                  <a:pt x="2994" y="1828"/>
                </a:lnTo>
                <a:lnTo>
                  <a:pt x="2994" y="1936"/>
                </a:lnTo>
                <a:lnTo>
                  <a:pt x="2769" y="1936"/>
                </a:lnTo>
                <a:close/>
                <a:moveTo>
                  <a:pt x="3055" y="1166"/>
                </a:moveTo>
                <a:lnTo>
                  <a:pt x="3120" y="1166"/>
                </a:lnTo>
                <a:lnTo>
                  <a:pt x="3120" y="1936"/>
                </a:lnTo>
                <a:lnTo>
                  <a:pt x="3055" y="1936"/>
                </a:lnTo>
                <a:lnTo>
                  <a:pt x="3055" y="1166"/>
                </a:lnTo>
                <a:close/>
                <a:moveTo>
                  <a:pt x="3337" y="1954"/>
                </a:moveTo>
                <a:lnTo>
                  <a:pt x="3321" y="1954"/>
                </a:lnTo>
                <a:lnTo>
                  <a:pt x="3305" y="1950"/>
                </a:lnTo>
                <a:lnTo>
                  <a:pt x="3291" y="1944"/>
                </a:lnTo>
                <a:lnTo>
                  <a:pt x="3284" y="1940"/>
                </a:lnTo>
                <a:lnTo>
                  <a:pt x="3278" y="1936"/>
                </a:lnTo>
                <a:lnTo>
                  <a:pt x="3266" y="1928"/>
                </a:lnTo>
                <a:lnTo>
                  <a:pt x="3260" y="1922"/>
                </a:lnTo>
                <a:lnTo>
                  <a:pt x="3255" y="1916"/>
                </a:lnTo>
                <a:lnTo>
                  <a:pt x="3245" y="1902"/>
                </a:lnTo>
                <a:lnTo>
                  <a:pt x="3241" y="1896"/>
                </a:lnTo>
                <a:lnTo>
                  <a:pt x="3236" y="1888"/>
                </a:lnTo>
                <a:lnTo>
                  <a:pt x="3232" y="1880"/>
                </a:lnTo>
                <a:lnTo>
                  <a:pt x="3229" y="1872"/>
                </a:lnTo>
                <a:lnTo>
                  <a:pt x="3225" y="1864"/>
                </a:lnTo>
                <a:lnTo>
                  <a:pt x="3222" y="1854"/>
                </a:lnTo>
                <a:lnTo>
                  <a:pt x="3216" y="1834"/>
                </a:lnTo>
                <a:lnTo>
                  <a:pt x="3211" y="1814"/>
                </a:lnTo>
                <a:lnTo>
                  <a:pt x="3210" y="1804"/>
                </a:lnTo>
                <a:lnTo>
                  <a:pt x="3208" y="1792"/>
                </a:lnTo>
                <a:lnTo>
                  <a:pt x="3205" y="1770"/>
                </a:lnTo>
                <a:lnTo>
                  <a:pt x="3203" y="1746"/>
                </a:lnTo>
                <a:lnTo>
                  <a:pt x="3203" y="1732"/>
                </a:lnTo>
                <a:lnTo>
                  <a:pt x="3203" y="1720"/>
                </a:lnTo>
                <a:lnTo>
                  <a:pt x="3265" y="1693"/>
                </a:lnTo>
                <a:lnTo>
                  <a:pt x="3266" y="1714"/>
                </a:lnTo>
                <a:lnTo>
                  <a:pt x="3267" y="1734"/>
                </a:lnTo>
                <a:lnTo>
                  <a:pt x="3269" y="1750"/>
                </a:lnTo>
                <a:lnTo>
                  <a:pt x="3271" y="1766"/>
                </a:lnTo>
                <a:lnTo>
                  <a:pt x="3273" y="1774"/>
                </a:lnTo>
                <a:lnTo>
                  <a:pt x="3274" y="1782"/>
                </a:lnTo>
                <a:lnTo>
                  <a:pt x="3278" y="1794"/>
                </a:lnTo>
                <a:lnTo>
                  <a:pt x="3282" y="1804"/>
                </a:lnTo>
                <a:lnTo>
                  <a:pt x="3286" y="1814"/>
                </a:lnTo>
                <a:lnTo>
                  <a:pt x="3291" y="1824"/>
                </a:lnTo>
                <a:lnTo>
                  <a:pt x="3297" y="1830"/>
                </a:lnTo>
                <a:lnTo>
                  <a:pt x="3303" y="1836"/>
                </a:lnTo>
                <a:lnTo>
                  <a:pt x="3310" y="1840"/>
                </a:lnTo>
                <a:lnTo>
                  <a:pt x="3317" y="1844"/>
                </a:lnTo>
                <a:lnTo>
                  <a:pt x="3324" y="1846"/>
                </a:lnTo>
                <a:lnTo>
                  <a:pt x="3332" y="1848"/>
                </a:lnTo>
                <a:lnTo>
                  <a:pt x="3341" y="1848"/>
                </a:lnTo>
                <a:lnTo>
                  <a:pt x="3348" y="1848"/>
                </a:lnTo>
                <a:lnTo>
                  <a:pt x="3355" y="1846"/>
                </a:lnTo>
                <a:lnTo>
                  <a:pt x="3362" y="1844"/>
                </a:lnTo>
                <a:lnTo>
                  <a:pt x="3368" y="1842"/>
                </a:lnTo>
                <a:lnTo>
                  <a:pt x="3374" y="1838"/>
                </a:lnTo>
                <a:lnTo>
                  <a:pt x="3380" y="1832"/>
                </a:lnTo>
                <a:lnTo>
                  <a:pt x="3385" y="1826"/>
                </a:lnTo>
                <a:lnTo>
                  <a:pt x="3390" y="1820"/>
                </a:lnTo>
                <a:lnTo>
                  <a:pt x="3394" y="1812"/>
                </a:lnTo>
                <a:lnTo>
                  <a:pt x="3398" y="1804"/>
                </a:lnTo>
                <a:lnTo>
                  <a:pt x="3401" y="1796"/>
                </a:lnTo>
                <a:lnTo>
                  <a:pt x="3404" y="1786"/>
                </a:lnTo>
                <a:lnTo>
                  <a:pt x="3406" y="1774"/>
                </a:lnTo>
                <a:lnTo>
                  <a:pt x="3407" y="1770"/>
                </a:lnTo>
                <a:lnTo>
                  <a:pt x="3408" y="1764"/>
                </a:lnTo>
                <a:lnTo>
                  <a:pt x="3409" y="1752"/>
                </a:lnTo>
                <a:lnTo>
                  <a:pt x="3409" y="1738"/>
                </a:lnTo>
                <a:lnTo>
                  <a:pt x="3409" y="1728"/>
                </a:lnTo>
                <a:lnTo>
                  <a:pt x="3408" y="1718"/>
                </a:lnTo>
                <a:lnTo>
                  <a:pt x="3407" y="1711"/>
                </a:lnTo>
                <a:lnTo>
                  <a:pt x="3406" y="1701"/>
                </a:lnTo>
                <a:lnTo>
                  <a:pt x="3404" y="1693"/>
                </a:lnTo>
                <a:lnTo>
                  <a:pt x="3402" y="1685"/>
                </a:lnTo>
                <a:lnTo>
                  <a:pt x="3400" y="1677"/>
                </a:lnTo>
                <a:lnTo>
                  <a:pt x="3396" y="1669"/>
                </a:lnTo>
                <a:lnTo>
                  <a:pt x="3389" y="1653"/>
                </a:lnTo>
                <a:lnTo>
                  <a:pt x="3385" y="1645"/>
                </a:lnTo>
                <a:lnTo>
                  <a:pt x="3380" y="1639"/>
                </a:lnTo>
                <a:lnTo>
                  <a:pt x="3369" y="1625"/>
                </a:lnTo>
                <a:lnTo>
                  <a:pt x="3356" y="1613"/>
                </a:lnTo>
                <a:lnTo>
                  <a:pt x="3292" y="1555"/>
                </a:lnTo>
                <a:lnTo>
                  <a:pt x="3282" y="1547"/>
                </a:lnTo>
                <a:lnTo>
                  <a:pt x="3273" y="1537"/>
                </a:lnTo>
                <a:lnTo>
                  <a:pt x="3257" y="1517"/>
                </a:lnTo>
                <a:lnTo>
                  <a:pt x="3243" y="1497"/>
                </a:lnTo>
                <a:lnTo>
                  <a:pt x="3237" y="1485"/>
                </a:lnTo>
                <a:lnTo>
                  <a:pt x="3232" y="1473"/>
                </a:lnTo>
                <a:lnTo>
                  <a:pt x="3227" y="1461"/>
                </a:lnTo>
                <a:lnTo>
                  <a:pt x="3223" y="1447"/>
                </a:lnTo>
                <a:lnTo>
                  <a:pt x="3220" y="1433"/>
                </a:lnTo>
                <a:lnTo>
                  <a:pt x="3217" y="1417"/>
                </a:lnTo>
                <a:lnTo>
                  <a:pt x="3215" y="1401"/>
                </a:lnTo>
                <a:lnTo>
                  <a:pt x="3214" y="1393"/>
                </a:lnTo>
                <a:lnTo>
                  <a:pt x="3213" y="1385"/>
                </a:lnTo>
                <a:lnTo>
                  <a:pt x="3212" y="1367"/>
                </a:lnTo>
                <a:lnTo>
                  <a:pt x="3212" y="1347"/>
                </a:lnTo>
                <a:lnTo>
                  <a:pt x="3212" y="1335"/>
                </a:lnTo>
                <a:lnTo>
                  <a:pt x="3213" y="1323"/>
                </a:lnTo>
                <a:lnTo>
                  <a:pt x="3214" y="1311"/>
                </a:lnTo>
                <a:lnTo>
                  <a:pt x="3215" y="1299"/>
                </a:lnTo>
                <a:lnTo>
                  <a:pt x="3216" y="1289"/>
                </a:lnTo>
                <a:lnTo>
                  <a:pt x="3218" y="1279"/>
                </a:lnTo>
                <a:lnTo>
                  <a:pt x="3222" y="1259"/>
                </a:lnTo>
                <a:lnTo>
                  <a:pt x="3225" y="1249"/>
                </a:lnTo>
                <a:lnTo>
                  <a:pt x="3228" y="1241"/>
                </a:lnTo>
                <a:lnTo>
                  <a:pt x="3234" y="1225"/>
                </a:lnTo>
                <a:lnTo>
                  <a:pt x="3241" y="1210"/>
                </a:lnTo>
                <a:lnTo>
                  <a:pt x="3245" y="1204"/>
                </a:lnTo>
                <a:lnTo>
                  <a:pt x="3250" y="1198"/>
                </a:lnTo>
                <a:lnTo>
                  <a:pt x="3259" y="1186"/>
                </a:lnTo>
                <a:lnTo>
                  <a:pt x="3269" y="1176"/>
                </a:lnTo>
                <a:lnTo>
                  <a:pt x="3279" y="1166"/>
                </a:lnTo>
                <a:lnTo>
                  <a:pt x="3290" y="1160"/>
                </a:lnTo>
                <a:lnTo>
                  <a:pt x="3302" y="1154"/>
                </a:lnTo>
                <a:lnTo>
                  <a:pt x="3314" y="1150"/>
                </a:lnTo>
                <a:lnTo>
                  <a:pt x="3327" y="1148"/>
                </a:lnTo>
                <a:lnTo>
                  <a:pt x="3340" y="1148"/>
                </a:lnTo>
                <a:lnTo>
                  <a:pt x="3355" y="1150"/>
                </a:lnTo>
                <a:lnTo>
                  <a:pt x="3370" y="1152"/>
                </a:lnTo>
                <a:lnTo>
                  <a:pt x="3383" y="1158"/>
                </a:lnTo>
                <a:lnTo>
                  <a:pt x="3389" y="1162"/>
                </a:lnTo>
                <a:lnTo>
                  <a:pt x="3395" y="1166"/>
                </a:lnTo>
                <a:lnTo>
                  <a:pt x="3407" y="1174"/>
                </a:lnTo>
                <a:lnTo>
                  <a:pt x="3417" y="1186"/>
                </a:lnTo>
                <a:lnTo>
                  <a:pt x="3426" y="1198"/>
                </a:lnTo>
                <a:lnTo>
                  <a:pt x="3434" y="1212"/>
                </a:lnTo>
                <a:lnTo>
                  <a:pt x="3438" y="1218"/>
                </a:lnTo>
                <a:lnTo>
                  <a:pt x="3441" y="1225"/>
                </a:lnTo>
                <a:lnTo>
                  <a:pt x="3444" y="1233"/>
                </a:lnTo>
                <a:lnTo>
                  <a:pt x="3447" y="1241"/>
                </a:lnTo>
                <a:lnTo>
                  <a:pt x="3452" y="1259"/>
                </a:lnTo>
                <a:lnTo>
                  <a:pt x="3457" y="1275"/>
                </a:lnTo>
                <a:lnTo>
                  <a:pt x="3460" y="1293"/>
                </a:lnTo>
                <a:lnTo>
                  <a:pt x="3462" y="1313"/>
                </a:lnTo>
                <a:lnTo>
                  <a:pt x="3464" y="1331"/>
                </a:lnTo>
                <a:lnTo>
                  <a:pt x="3464" y="1349"/>
                </a:lnTo>
                <a:lnTo>
                  <a:pt x="3402" y="1375"/>
                </a:lnTo>
                <a:lnTo>
                  <a:pt x="3402" y="1359"/>
                </a:lnTo>
                <a:lnTo>
                  <a:pt x="3400" y="1345"/>
                </a:lnTo>
                <a:lnTo>
                  <a:pt x="3399" y="1331"/>
                </a:lnTo>
                <a:lnTo>
                  <a:pt x="3397" y="1319"/>
                </a:lnTo>
                <a:lnTo>
                  <a:pt x="3394" y="1309"/>
                </a:lnTo>
                <a:lnTo>
                  <a:pt x="3391" y="1299"/>
                </a:lnTo>
                <a:lnTo>
                  <a:pt x="3388" y="1289"/>
                </a:lnTo>
                <a:lnTo>
                  <a:pt x="3384" y="1281"/>
                </a:lnTo>
                <a:lnTo>
                  <a:pt x="3380" y="1275"/>
                </a:lnTo>
                <a:lnTo>
                  <a:pt x="3375" y="1269"/>
                </a:lnTo>
                <a:lnTo>
                  <a:pt x="3370" y="1265"/>
                </a:lnTo>
                <a:lnTo>
                  <a:pt x="3364" y="1261"/>
                </a:lnTo>
                <a:lnTo>
                  <a:pt x="3358" y="1257"/>
                </a:lnTo>
                <a:lnTo>
                  <a:pt x="3352" y="1255"/>
                </a:lnTo>
                <a:lnTo>
                  <a:pt x="3345" y="1255"/>
                </a:lnTo>
                <a:lnTo>
                  <a:pt x="3337" y="1253"/>
                </a:lnTo>
                <a:lnTo>
                  <a:pt x="3325" y="1255"/>
                </a:lnTo>
                <a:lnTo>
                  <a:pt x="3313" y="1259"/>
                </a:lnTo>
                <a:lnTo>
                  <a:pt x="3308" y="1263"/>
                </a:lnTo>
                <a:lnTo>
                  <a:pt x="3303" y="1267"/>
                </a:lnTo>
                <a:lnTo>
                  <a:pt x="3298" y="1271"/>
                </a:lnTo>
                <a:lnTo>
                  <a:pt x="3294" y="1275"/>
                </a:lnTo>
                <a:lnTo>
                  <a:pt x="3290" y="1281"/>
                </a:lnTo>
                <a:lnTo>
                  <a:pt x="3287" y="1287"/>
                </a:lnTo>
                <a:lnTo>
                  <a:pt x="3284" y="1295"/>
                </a:lnTo>
                <a:lnTo>
                  <a:pt x="3281" y="1303"/>
                </a:lnTo>
                <a:lnTo>
                  <a:pt x="3279" y="1311"/>
                </a:lnTo>
                <a:lnTo>
                  <a:pt x="3278" y="1321"/>
                </a:lnTo>
                <a:lnTo>
                  <a:pt x="3277" y="1331"/>
                </a:lnTo>
                <a:lnTo>
                  <a:pt x="3276" y="1341"/>
                </a:lnTo>
                <a:lnTo>
                  <a:pt x="3277" y="1351"/>
                </a:lnTo>
                <a:lnTo>
                  <a:pt x="3277" y="1361"/>
                </a:lnTo>
                <a:lnTo>
                  <a:pt x="3278" y="1371"/>
                </a:lnTo>
                <a:lnTo>
                  <a:pt x="3279" y="1379"/>
                </a:lnTo>
                <a:lnTo>
                  <a:pt x="3281" y="1387"/>
                </a:lnTo>
                <a:lnTo>
                  <a:pt x="3283" y="1395"/>
                </a:lnTo>
                <a:lnTo>
                  <a:pt x="3286" y="1403"/>
                </a:lnTo>
                <a:lnTo>
                  <a:pt x="3288" y="1409"/>
                </a:lnTo>
                <a:lnTo>
                  <a:pt x="3292" y="1415"/>
                </a:lnTo>
                <a:lnTo>
                  <a:pt x="3295" y="1421"/>
                </a:lnTo>
                <a:lnTo>
                  <a:pt x="3304" y="1433"/>
                </a:lnTo>
                <a:lnTo>
                  <a:pt x="3314" y="1445"/>
                </a:lnTo>
                <a:lnTo>
                  <a:pt x="3326" y="1457"/>
                </a:lnTo>
                <a:lnTo>
                  <a:pt x="3388" y="1511"/>
                </a:lnTo>
                <a:lnTo>
                  <a:pt x="3398" y="1521"/>
                </a:lnTo>
                <a:lnTo>
                  <a:pt x="3408" y="1531"/>
                </a:lnTo>
                <a:lnTo>
                  <a:pt x="3418" y="1541"/>
                </a:lnTo>
                <a:lnTo>
                  <a:pt x="3426" y="1553"/>
                </a:lnTo>
                <a:lnTo>
                  <a:pt x="3434" y="1565"/>
                </a:lnTo>
                <a:lnTo>
                  <a:pt x="3441" y="1575"/>
                </a:lnTo>
                <a:lnTo>
                  <a:pt x="3447" y="1589"/>
                </a:lnTo>
                <a:lnTo>
                  <a:pt x="3453" y="1601"/>
                </a:lnTo>
                <a:lnTo>
                  <a:pt x="3458" y="1615"/>
                </a:lnTo>
                <a:lnTo>
                  <a:pt x="3462" y="1629"/>
                </a:lnTo>
                <a:lnTo>
                  <a:pt x="3466" y="1643"/>
                </a:lnTo>
                <a:lnTo>
                  <a:pt x="3469" y="1659"/>
                </a:lnTo>
                <a:lnTo>
                  <a:pt x="3471" y="1675"/>
                </a:lnTo>
                <a:lnTo>
                  <a:pt x="3472" y="1685"/>
                </a:lnTo>
                <a:lnTo>
                  <a:pt x="3472" y="1693"/>
                </a:lnTo>
                <a:lnTo>
                  <a:pt x="3473" y="1711"/>
                </a:lnTo>
                <a:lnTo>
                  <a:pt x="3474" y="1730"/>
                </a:lnTo>
                <a:lnTo>
                  <a:pt x="3473" y="1756"/>
                </a:lnTo>
                <a:lnTo>
                  <a:pt x="3471" y="1780"/>
                </a:lnTo>
                <a:lnTo>
                  <a:pt x="3470" y="1792"/>
                </a:lnTo>
                <a:lnTo>
                  <a:pt x="3468" y="1802"/>
                </a:lnTo>
                <a:lnTo>
                  <a:pt x="3466" y="1814"/>
                </a:lnTo>
                <a:lnTo>
                  <a:pt x="3464" y="1824"/>
                </a:lnTo>
                <a:lnTo>
                  <a:pt x="3461" y="1834"/>
                </a:lnTo>
                <a:lnTo>
                  <a:pt x="3459" y="1844"/>
                </a:lnTo>
                <a:lnTo>
                  <a:pt x="3452" y="1862"/>
                </a:lnTo>
                <a:lnTo>
                  <a:pt x="3449" y="1870"/>
                </a:lnTo>
                <a:lnTo>
                  <a:pt x="3445" y="1880"/>
                </a:lnTo>
                <a:lnTo>
                  <a:pt x="3437" y="1894"/>
                </a:lnTo>
                <a:lnTo>
                  <a:pt x="3432" y="1902"/>
                </a:lnTo>
                <a:lnTo>
                  <a:pt x="3427" y="1908"/>
                </a:lnTo>
                <a:lnTo>
                  <a:pt x="3422" y="1914"/>
                </a:lnTo>
                <a:lnTo>
                  <a:pt x="3417" y="1920"/>
                </a:lnTo>
                <a:lnTo>
                  <a:pt x="3406" y="1930"/>
                </a:lnTo>
                <a:lnTo>
                  <a:pt x="3394" y="1938"/>
                </a:lnTo>
                <a:lnTo>
                  <a:pt x="3381" y="1946"/>
                </a:lnTo>
                <a:lnTo>
                  <a:pt x="3367" y="1950"/>
                </a:lnTo>
                <a:lnTo>
                  <a:pt x="3360" y="1952"/>
                </a:lnTo>
                <a:lnTo>
                  <a:pt x="3353" y="1952"/>
                </a:lnTo>
                <a:lnTo>
                  <a:pt x="3337" y="1954"/>
                </a:lnTo>
                <a:close/>
                <a:moveTo>
                  <a:pt x="3582" y="1882"/>
                </a:moveTo>
                <a:lnTo>
                  <a:pt x="3574" y="1866"/>
                </a:lnTo>
                <a:lnTo>
                  <a:pt x="3567" y="1848"/>
                </a:lnTo>
                <a:lnTo>
                  <a:pt x="3562" y="1828"/>
                </a:lnTo>
                <a:lnTo>
                  <a:pt x="3559" y="1816"/>
                </a:lnTo>
                <a:lnTo>
                  <a:pt x="3557" y="1806"/>
                </a:lnTo>
                <a:lnTo>
                  <a:pt x="3554" y="1782"/>
                </a:lnTo>
                <a:lnTo>
                  <a:pt x="3551" y="1756"/>
                </a:lnTo>
                <a:lnTo>
                  <a:pt x="3550" y="1742"/>
                </a:lnTo>
                <a:lnTo>
                  <a:pt x="3550" y="1726"/>
                </a:lnTo>
                <a:lnTo>
                  <a:pt x="3549" y="1697"/>
                </a:lnTo>
                <a:lnTo>
                  <a:pt x="3549" y="1166"/>
                </a:lnTo>
                <a:lnTo>
                  <a:pt x="3615" y="1166"/>
                </a:lnTo>
                <a:lnTo>
                  <a:pt x="3615" y="1691"/>
                </a:lnTo>
                <a:lnTo>
                  <a:pt x="3615" y="1711"/>
                </a:lnTo>
                <a:lnTo>
                  <a:pt x="3616" y="1728"/>
                </a:lnTo>
                <a:lnTo>
                  <a:pt x="3617" y="1744"/>
                </a:lnTo>
                <a:lnTo>
                  <a:pt x="3618" y="1758"/>
                </a:lnTo>
                <a:lnTo>
                  <a:pt x="3620" y="1772"/>
                </a:lnTo>
                <a:lnTo>
                  <a:pt x="3623" y="1784"/>
                </a:lnTo>
                <a:lnTo>
                  <a:pt x="3625" y="1796"/>
                </a:lnTo>
                <a:lnTo>
                  <a:pt x="3629" y="1804"/>
                </a:lnTo>
                <a:lnTo>
                  <a:pt x="3633" y="1814"/>
                </a:lnTo>
                <a:lnTo>
                  <a:pt x="3637" y="1822"/>
                </a:lnTo>
                <a:lnTo>
                  <a:pt x="3643" y="1830"/>
                </a:lnTo>
                <a:lnTo>
                  <a:pt x="3649" y="1836"/>
                </a:lnTo>
                <a:lnTo>
                  <a:pt x="3652" y="1838"/>
                </a:lnTo>
                <a:lnTo>
                  <a:pt x="3655" y="1840"/>
                </a:lnTo>
                <a:lnTo>
                  <a:pt x="3662" y="1844"/>
                </a:lnTo>
                <a:lnTo>
                  <a:pt x="3670" y="1846"/>
                </a:lnTo>
                <a:lnTo>
                  <a:pt x="3678" y="1846"/>
                </a:lnTo>
                <a:lnTo>
                  <a:pt x="3686" y="1846"/>
                </a:lnTo>
                <a:lnTo>
                  <a:pt x="3694" y="1844"/>
                </a:lnTo>
                <a:lnTo>
                  <a:pt x="3701" y="1840"/>
                </a:lnTo>
                <a:lnTo>
                  <a:pt x="3708" y="1836"/>
                </a:lnTo>
                <a:lnTo>
                  <a:pt x="3713" y="1830"/>
                </a:lnTo>
                <a:lnTo>
                  <a:pt x="3719" y="1822"/>
                </a:lnTo>
                <a:lnTo>
                  <a:pt x="3723" y="1814"/>
                </a:lnTo>
                <a:lnTo>
                  <a:pt x="3728" y="1804"/>
                </a:lnTo>
                <a:lnTo>
                  <a:pt x="3731" y="1796"/>
                </a:lnTo>
                <a:lnTo>
                  <a:pt x="3734" y="1784"/>
                </a:lnTo>
                <a:lnTo>
                  <a:pt x="3736" y="1772"/>
                </a:lnTo>
                <a:lnTo>
                  <a:pt x="3738" y="1758"/>
                </a:lnTo>
                <a:lnTo>
                  <a:pt x="3740" y="1744"/>
                </a:lnTo>
                <a:lnTo>
                  <a:pt x="3741" y="1728"/>
                </a:lnTo>
                <a:lnTo>
                  <a:pt x="3741" y="1711"/>
                </a:lnTo>
                <a:lnTo>
                  <a:pt x="3741" y="1691"/>
                </a:lnTo>
                <a:lnTo>
                  <a:pt x="3741" y="1166"/>
                </a:lnTo>
                <a:lnTo>
                  <a:pt x="3807" y="1166"/>
                </a:lnTo>
                <a:lnTo>
                  <a:pt x="3807" y="1697"/>
                </a:lnTo>
                <a:lnTo>
                  <a:pt x="3806" y="1726"/>
                </a:lnTo>
                <a:lnTo>
                  <a:pt x="3805" y="1742"/>
                </a:lnTo>
                <a:lnTo>
                  <a:pt x="3805" y="1756"/>
                </a:lnTo>
                <a:lnTo>
                  <a:pt x="3802" y="1782"/>
                </a:lnTo>
                <a:lnTo>
                  <a:pt x="3798" y="1806"/>
                </a:lnTo>
                <a:lnTo>
                  <a:pt x="3796" y="1816"/>
                </a:lnTo>
                <a:lnTo>
                  <a:pt x="3794" y="1828"/>
                </a:lnTo>
                <a:lnTo>
                  <a:pt x="3788" y="1848"/>
                </a:lnTo>
                <a:lnTo>
                  <a:pt x="3785" y="1856"/>
                </a:lnTo>
                <a:lnTo>
                  <a:pt x="3782" y="1866"/>
                </a:lnTo>
                <a:lnTo>
                  <a:pt x="3779" y="1874"/>
                </a:lnTo>
                <a:lnTo>
                  <a:pt x="3775" y="1882"/>
                </a:lnTo>
                <a:lnTo>
                  <a:pt x="3771" y="1890"/>
                </a:lnTo>
                <a:lnTo>
                  <a:pt x="3766" y="1898"/>
                </a:lnTo>
                <a:lnTo>
                  <a:pt x="3756" y="1914"/>
                </a:lnTo>
                <a:lnTo>
                  <a:pt x="3745" y="1926"/>
                </a:lnTo>
                <a:lnTo>
                  <a:pt x="3739" y="1930"/>
                </a:lnTo>
                <a:lnTo>
                  <a:pt x="3733" y="1936"/>
                </a:lnTo>
                <a:lnTo>
                  <a:pt x="3720" y="1944"/>
                </a:lnTo>
                <a:lnTo>
                  <a:pt x="3714" y="1946"/>
                </a:lnTo>
                <a:lnTo>
                  <a:pt x="3707" y="1950"/>
                </a:lnTo>
                <a:lnTo>
                  <a:pt x="3693" y="1952"/>
                </a:lnTo>
                <a:lnTo>
                  <a:pt x="3685" y="1954"/>
                </a:lnTo>
                <a:lnTo>
                  <a:pt x="3678" y="1954"/>
                </a:lnTo>
                <a:lnTo>
                  <a:pt x="3663" y="1952"/>
                </a:lnTo>
                <a:lnTo>
                  <a:pt x="3649" y="1950"/>
                </a:lnTo>
                <a:lnTo>
                  <a:pt x="3643" y="1946"/>
                </a:lnTo>
                <a:lnTo>
                  <a:pt x="3636" y="1944"/>
                </a:lnTo>
                <a:lnTo>
                  <a:pt x="3624" y="1936"/>
                </a:lnTo>
                <a:lnTo>
                  <a:pt x="3612" y="1926"/>
                </a:lnTo>
                <a:lnTo>
                  <a:pt x="3601" y="1914"/>
                </a:lnTo>
                <a:lnTo>
                  <a:pt x="3591" y="1898"/>
                </a:lnTo>
                <a:lnTo>
                  <a:pt x="3586" y="1890"/>
                </a:lnTo>
                <a:lnTo>
                  <a:pt x="3582" y="1882"/>
                </a:lnTo>
                <a:close/>
                <a:moveTo>
                  <a:pt x="3934" y="1882"/>
                </a:moveTo>
                <a:lnTo>
                  <a:pt x="3927" y="1866"/>
                </a:lnTo>
                <a:lnTo>
                  <a:pt x="3920" y="1848"/>
                </a:lnTo>
                <a:lnTo>
                  <a:pt x="3915" y="1828"/>
                </a:lnTo>
                <a:lnTo>
                  <a:pt x="3912" y="1816"/>
                </a:lnTo>
                <a:lnTo>
                  <a:pt x="3910" y="1806"/>
                </a:lnTo>
                <a:lnTo>
                  <a:pt x="3907" y="1782"/>
                </a:lnTo>
                <a:lnTo>
                  <a:pt x="3904" y="1756"/>
                </a:lnTo>
                <a:lnTo>
                  <a:pt x="3903" y="1742"/>
                </a:lnTo>
                <a:lnTo>
                  <a:pt x="3903" y="1726"/>
                </a:lnTo>
                <a:lnTo>
                  <a:pt x="3902" y="1697"/>
                </a:lnTo>
                <a:lnTo>
                  <a:pt x="3902" y="1166"/>
                </a:lnTo>
                <a:lnTo>
                  <a:pt x="3968" y="1166"/>
                </a:lnTo>
                <a:lnTo>
                  <a:pt x="3968" y="1691"/>
                </a:lnTo>
                <a:lnTo>
                  <a:pt x="3968" y="1711"/>
                </a:lnTo>
                <a:lnTo>
                  <a:pt x="3969" y="1728"/>
                </a:lnTo>
                <a:lnTo>
                  <a:pt x="3970" y="1744"/>
                </a:lnTo>
                <a:lnTo>
                  <a:pt x="3972" y="1758"/>
                </a:lnTo>
                <a:lnTo>
                  <a:pt x="3973" y="1772"/>
                </a:lnTo>
                <a:lnTo>
                  <a:pt x="3976" y="1784"/>
                </a:lnTo>
                <a:lnTo>
                  <a:pt x="3979" y="1796"/>
                </a:lnTo>
                <a:lnTo>
                  <a:pt x="3982" y="1804"/>
                </a:lnTo>
                <a:lnTo>
                  <a:pt x="3986" y="1814"/>
                </a:lnTo>
                <a:lnTo>
                  <a:pt x="3991" y="1822"/>
                </a:lnTo>
                <a:lnTo>
                  <a:pt x="3996" y="1830"/>
                </a:lnTo>
                <a:lnTo>
                  <a:pt x="4002" y="1836"/>
                </a:lnTo>
                <a:lnTo>
                  <a:pt x="4005" y="1838"/>
                </a:lnTo>
                <a:lnTo>
                  <a:pt x="4008" y="1840"/>
                </a:lnTo>
                <a:lnTo>
                  <a:pt x="4015" y="1844"/>
                </a:lnTo>
                <a:lnTo>
                  <a:pt x="4023" y="1846"/>
                </a:lnTo>
                <a:lnTo>
                  <a:pt x="4031" y="1846"/>
                </a:lnTo>
                <a:lnTo>
                  <a:pt x="4040" y="1846"/>
                </a:lnTo>
                <a:lnTo>
                  <a:pt x="4047" y="1844"/>
                </a:lnTo>
                <a:lnTo>
                  <a:pt x="4054" y="1840"/>
                </a:lnTo>
                <a:lnTo>
                  <a:pt x="4061" y="1836"/>
                </a:lnTo>
                <a:lnTo>
                  <a:pt x="4067" y="1830"/>
                </a:lnTo>
                <a:lnTo>
                  <a:pt x="4072" y="1822"/>
                </a:lnTo>
                <a:lnTo>
                  <a:pt x="4077" y="1814"/>
                </a:lnTo>
                <a:lnTo>
                  <a:pt x="4081" y="1804"/>
                </a:lnTo>
                <a:lnTo>
                  <a:pt x="4084" y="1796"/>
                </a:lnTo>
                <a:lnTo>
                  <a:pt x="4087" y="1784"/>
                </a:lnTo>
                <a:lnTo>
                  <a:pt x="4090" y="1772"/>
                </a:lnTo>
                <a:lnTo>
                  <a:pt x="4091" y="1758"/>
                </a:lnTo>
                <a:lnTo>
                  <a:pt x="4093" y="1744"/>
                </a:lnTo>
                <a:lnTo>
                  <a:pt x="4094" y="1728"/>
                </a:lnTo>
                <a:lnTo>
                  <a:pt x="4094" y="1711"/>
                </a:lnTo>
                <a:lnTo>
                  <a:pt x="4094" y="1691"/>
                </a:lnTo>
                <a:lnTo>
                  <a:pt x="4094" y="1166"/>
                </a:lnTo>
                <a:lnTo>
                  <a:pt x="4160" y="1166"/>
                </a:lnTo>
                <a:lnTo>
                  <a:pt x="4160" y="1697"/>
                </a:lnTo>
                <a:lnTo>
                  <a:pt x="4159" y="1726"/>
                </a:lnTo>
                <a:lnTo>
                  <a:pt x="4159" y="1742"/>
                </a:lnTo>
                <a:lnTo>
                  <a:pt x="4158" y="1756"/>
                </a:lnTo>
                <a:lnTo>
                  <a:pt x="4155" y="1782"/>
                </a:lnTo>
                <a:lnTo>
                  <a:pt x="4152" y="1806"/>
                </a:lnTo>
                <a:lnTo>
                  <a:pt x="4149" y="1816"/>
                </a:lnTo>
                <a:lnTo>
                  <a:pt x="4147" y="1828"/>
                </a:lnTo>
                <a:lnTo>
                  <a:pt x="4142" y="1848"/>
                </a:lnTo>
                <a:lnTo>
                  <a:pt x="4139" y="1856"/>
                </a:lnTo>
                <a:lnTo>
                  <a:pt x="4135" y="1866"/>
                </a:lnTo>
                <a:lnTo>
                  <a:pt x="4132" y="1874"/>
                </a:lnTo>
                <a:lnTo>
                  <a:pt x="4128" y="1882"/>
                </a:lnTo>
                <a:lnTo>
                  <a:pt x="4124" y="1890"/>
                </a:lnTo>
                <a:lnTo>
                  <a:pt x="4119" y="1898"/>
                </a:lnTo>
                <a:lnTo>
                  <a:pt x="4109" y="1914"/>
                </a:lnTo>
                <a:lnTo>
                  <a:pt x="4098" y="1926"/>
                </a:lnTo>
                <a:lnTo>
                  <a:pt x="4092" y="1930"/>
                </a:lnTo>
                <a:lnTo>
                  <a:pt x="4086" y="1936"/>
                </a:lnTo>
                <a:lnTo>
                  <a:pt x="4073" y="1944"/>
                </a:lnTo>
                <a:lnTo>
                  <a:pt x="4067" y="1946"/>
                </a:lnTo>
                <a:lnTo>
                  <a:pt x="4060" y="1950"/>
                </a:lnTo>
                <a:lnTo>
                  <a:pt x="4046" y="1952"/>
                </a:lnTo>
                <a:lnTo>
                  <a:pt x="4039" y="1954"/>
                </a:lnTo>
                <a:lnTo>
                  <a:pt x="4031" y="1954"/>
                </a:lnTo>
                <a:lnTo>
                  <a:pt x="4017" y="1952"/>
                </a:lnTo>
                <a:lnTo>
                  <a:pt x="4003" y="1950"/>
                </a:lnTo>
                <a:lnTo>
                  <a:pt x="3996" y="1946"/>
                </a:lnTo>
                <a:lnTo>
                  <a:pt x="3989" y="1944"/>
                </a:lnTo>
                <a:lnTo>
                  <a:pt x="3977" y="1936"/>
                </a:lnTo>
                <a:lnTo>
                  <a:pt x="3965" y="1926"/>
                </a:lnTo>
                <a:lnTo>
                  <a:pt x="3954" y="1914"/>
                </a:lnTo>
                <a:lnTo>
                  <a:pt x="3943" y="1898"/>
                </a:lnTo>
                <a:lnTo>
                  <a:pt x="3938" y="1890"/>
                </a:lnTo>
                <a:lnTo>
                  <a:pt x="3934" y="1882"/>
                </a:lnTo>
                <a:close/>
                <a:moveTo>
                  <a:pt x="4370" y="1954"/>
                </a:moveTo>
                <a:lnTo>
                  <a:pt x="4354" y="1954"/>
                </a:lnTo>
                <a:lnTo>
                  <a:pt x="4339" y="1950"/>
                </a:lnTo>
                <a:lnTo>
                  <a:pt x="4324" y="1944"/>
                </a:lnTo>
                <a:lnTo>
                  <a:pt x="4317" y="1940"/>
                </a:lnTo>
                <a:lnTo>
                  <a:pt x="4310" y="1936"/>
                </a:lnTo>
                <a:lnTo>
                  <a:pt x="4298" y="1928"/>
                </a:lnTo>
                <a:lnTo>
                  <a:pt x="4292" y="1922"/>
                </a:lnTo>
                <a:lnTo>
                  <a:pt x="4287" y="1916"/>
                </a:lnTo>
                <a:lnTo>
                  <a:pt x="4277" y="1902"/>
                </a:lnTo>
                <a:lnTo>
                  <a:pt x="4273" y="1896"/>
                </a:lnTo>
                <a:lnTo>
                  <a:pt x="4268" y="1888"/>
                </a:lnTo>
                <a:lnTo>
                  <a:pt x="4264" y="1880"/>
                </a:lnTo>
                <a:lnTo>
                  <a:pt x="4261" y="1872"/>
                </a:lnTo>
                <a:lnTo>
                  <a:pt x="4257" y="1864"/>
                </a:lnTo>
                <a:lnTo>
                  <a:pt x="4254" y="1854"/>
                </a:lnTo>
                <a:lnTo>
                  <a:pt x="4248" y="1834"/>
                </a:lnTo>
                <a:lnTo>
                  <a:pt x="4244" y="1814"/>
                </a:lnTo>
                <a:lnTo>
                  <a:pt x="4242" y="1804"/>
                </a:lnTo>
                <a:lnTo>
                  <a:pt x="4240" y="1792"/>
                </a:lnTo>
                <a:lnTo>
                  <a:pt x="4237" y="1770"/>
                </a:lnTo>
                <a:lnTo>
                  <a:pt x="4236" y="1746"/>
                </a:lnTo>
                <a:lnTo>
                  <a:pt x="4235" y="1732"/>
                </a:lnTo>
                <a:lnTo>
                  <a:pt x="4235" y="1720"/>
                </a:lnTo>
                <a:lnTo>
                  <a:pt x="4298" y="1693"/>
                </a:lnTo>
                <a:lnTo>
                  <a:pt x="4298" y="1714"/>
                </a:lnTo>
                <a:lnTo>
                  <a:pt x="4299" y="1734"/>
                </a:lnTo>
                <a:lnTo>
                  <a:pt x="4301" y="1750"/>
                </a:lnTo>
                <a:lnTo>
                  <a:pt x="4303" y="1766"/>
                </a:lnTo>
                <a:lnTo>
                  <a:pt x="4305" y="1774"/>
                </a:lnTo>
                <a:lnTo>
                  <a:pt x="4306" y="1782"/>
                </a:lnTo>
                <a:lnTo>
                  <a:pt x="4310" y="1794"/>
                </a:lnTo>
                <a:lnTo>
                  <a:pt x="4314" y="1804"/>
                </a:lnTo>
                <a:lnTo>
                  <a:pt x="4318" y="1814"/>
                </a:lnTo>
                <a:lnTo>
                  <a:pt x="4324" y="1824"/>
                </a:lnTo>
                <a:lnTo>
                  <a:pt x="4330" y="1830"/>
                </a:lnTo>
                <a:lnTo>
                  <a:pt x="4336" y="1836"/>
                </a:lnTo>
                <a:lnTo>
                  <a:pt x="4343" y="1840"/>
                </a:lnTo>
                <a:lnTo>
                  <a:pt x="4350" y="1844"/>
                </a:lnTo>
                <a:lnTo>
                  <a:pt x="4357" y="1846"/>
                </a:lnTo>
                <a:lnTo>
                  <a:pt x="4365" y="1848"/>
                </a:lnTo>
                <a:lnTo>
                  <a:pt x="4374" y="1848"/>
                </a:lnTo>
                <a:lnTo>
                  <a:pt x="4381" y="1848"/>
                </a:lnTo>
                <a:lnTo>
                  <a:pt x="4388" y="1846"/>
                </a:lnTo>
                <a:lnTo>
                  <a:pt x="4395" y="1844"/>
                </a:lnTo>
                <a:lnTo>
                  <a:pt x="4401" y="1842"/>
                </a:lnTo>
                <a:lnTo>
                  <a:pt x="4407" y="1838"/>
                </a:lnTo>
                <a:lnTo>
                  <a:pt x="4413" y="1832"/>
                </a:lnTo>
                <a:lnTo>
                  <a:pt x="4418" y="1826"/>
                </a:lnTo>
                <a:lnTo>
                  <a:pt x="4423" y="1820"/>
                </a:lnTo>
                <a:lnTo>
                  <a:pt x="4427" y="1812"/>
                </a:lnTo>
                <a:lnTo>
                  <a:pt x="4431" y="1804"/>
                </a:lnTo>
                <a:lnTo>
                  <a:pt x="4434" y="1796"/>
                </a:lnTo>
                <a:lnTo>
                  <a:pt x="4437" y="1786"/>
                </a:lnTo>
                <a:lnTo>
                  <a:pt x="4439" y="1774"/>
                </a:lnTo>
                <a:lnTo>
                  <a:pt x="4440" y="1770"/>
                </a:lnTo>
                <a:lnTo>
                  <a:pt x="4441" y="1764"/>
                </a:lnTo>
                <a:lnTo>
                  <a:pt x="4442" y="1752"/>
                </a:lnTo>
                <a:lnTo>
                  <a:pt x="4442" y="1738"/>
                </a:lnTo>
                <a:lnTo>
                  <a:pt x="4442" y="1728"/>
                </a:lnTo>
                <a:lnTo>
                  <a:pt x="4442" y="1718"/>
                </a:lnTo>
                <a:lnTo>
                  <a:pt x="4441" y="1711"/>
                </a:lnTo>
                <a:lnTo>
                  <a:pt x="4439" y="1701"/>
                </a:lnTo>
                <a:lnTo>
                  <a:pt x="4437" y="1693"/>
                </a:lnTo>
                <a:lnTo>
                  <a:pt x="4435" y="1685"/>
                </a:lnTo>
                <a:lnTo>
                  <a:pt x="4433" y="1677"/>
                </a:lnTo>
                <a:lnTo>
                  <a:pt x="4430" y="1669"/>
                </a:lnTo>
                <a:lnTo>
                  <a:pt x="4422" y="1653"/>
                </a:lnTo>
                <a:lnTo>
                  <a:pt x="4418" y="1645"/>
                </a:lnTo>
                <a:lnTo>
                  <a:pt x="4413" y="1639"/>
                </a:lnTo>
                <a:lnTo>
                  <a:pt x="4402" y="1625"/>
                </a:lnTo>
                <a:lnTo>
                  <a:pt x="4389" y="1613"/>
                </a:lnTo>
                <a:lnTo>
                  <a:pt x="4325" y="1555"/>
                </a:lnTo>
                <a:lnTo>
                  <a:pt x="4315" y="1547"/>
                </a:lnTo>
                <a:lnTo>
                  <a:pt x="4305" y="1537"/>
                </a:lnTo>
                <a:lnTo>
                  <a:pt x="4289" y="1517"/>
                </a:lnTo>
                <a:lnTo>
                  <a:pt x="4275" y="1497"/>
                </a:lnTo>
                <a:lnTo>
                  <a:pt x="4270" y="1485"/>
                </a:lnTo>
                <a:lnTo>
                  <a:pt x="4264" y="1473"/>
                </a:lnTo>
                <a:lnTo>
                  <a:pt x="4260" y="1461"/>
                </a:lnTo>
                <a:lnTo>
                  <a:pt x="4255" y="1447"/>
                </a:lnTo>
                <a:lnTo>
                  <a:pt x="4252" y="1433"/>
                </a:lnTo>
                <a:lnTo>
                  <a:pt x="4249" y="1417"/>
                </a:lnTo>
                <a:lnTo>
                  <a:pt x="4247" y="1401"/>
                </a:lnTo>
                <a:lnTo>
                  <a:pt x="4246" y="1393"/>
                </a:lnTo>
                <a:lnTo>
                  <a:pt x="4245" y="1385"/>
                </a:lnTo>
                <a:lnTo>
                  <a:pt x="4244" y="1367"/>
                </a:lnTo>
                <a:lnTo>
                  <a:pt x="4244" y="1347"/>
                </a:lnTo>
                <a:lnTo>
                  <a:pt x="4244" y="1335"/>
                </a:lnTo>
                <a:lnTo>
                  <a:pt x="4245" y="1323"/>
                </a:lnTo>
                <a:lnTo>
                  <a:pt x="4246" y="1311"/>
                </a:lnTo>
                <a:lnTo>
                  <a:pt x="4247" y="1299"/>
                </a:lnTo>
                <a:lnTo>
                  <a:pt x="4248" y="1289"/>
                </a:lnTo>
                <a:lnTo>
                  <a:pt x="4250" y="1279"/>
                </a:lnTo>
                <a:lnTo>
                  <a:pt x="4254" y="1259"/>
                </a:lnTo>
                <a:lnTo>
                  <a:pt x="4257" y="1249"/>
                </a:lnTo>
                <a:lnTo>
                  <a:pt x="4260" y="1241"/>
                </a:lnTo>
                <a:lnTo>
                  <a:pt x="4266" y="1225"/>
                </a:lnTo>
                <a:lnTo>
                  <a:pt x="4273" y="1210"/>
                </a:lnTo>
                <a:lnTo>
                  <a:pt x="4277" y="1204"/>
                </a:lnTo>
                <a:lnTo>
                  <a:pt x="4282" y="1198"/>
                </a:lnTo>
                <a:lnTo>
                  <a:pt x="4291" y="1186"/>
                </a:lnTo>
                <a:lnTo>
                  <a:pt x="4301" y="1176"/>
                </a:lnTo>
                <a:lnTo>
                  <a:pt x="4311" y="1166"/>
                </a:lnTo>
                <a:lnTo>
                  <a:pt x="4323" y="1160"/>
                </a:lnTo>
                <a:lnTo>
                  <a:pt x="4335" y="1154"/>
                </a:lnTo>
                <a:lnTo>
                  <a:pt x="4347" y="1150"/>
                </a:lnTo>
                <a:lnTo>
                  <a:pt x="4360" y="1148"/>
                </a:lnTo>
                <a:lnTo>
                  <a:pt x="4373" y="1148"/>
                </a:lnTo>
                <a:lnTo>
                  <a:pt x="4388" y="1150"/>
                </a:lnTo>
                <a:lnTo>
                  <a:pt x="4403" y="1152"/>
                </a:lnTo>
                <a:lnTo>
                  <a:pt x="4416" y="1158"/>
                </a:lnTo>
                <a:lnTo>
                  <a:pt x="4422" y="1162"/>
                </a:lnTo>
                <a:lnTo>
                  <a:pt x="4428" y="1166"/>
                </a:lnTo>
                <a:lnTo>
                  <a:pt x="4440" y="1174"/>
                </a:lnTo>
                <a:lnTo>
                  <a:pt x="4450" y="1186"/>
                </a:lnTo>
                <a:lnTo>
                  <a:pt x="4459" y="1198"/>
                </a:lnTo>
                <a:lnTo>
                  <a:pt x="4467" y="1212"/>
                </a:lnTo>
                <a:lnTo>
                  <a:pt x="4471" y="1218"/>
                </a:lnTo>
                <a:lnTo>
                  <a:pt x="4474" y="1225"/>
                </a:lnTo>
                <a:lnTo>
                  <a:pt x="4477" y="1233"/>
                </a:lnTo>
                <a:lnTo>
                  <a:pt x="4480" y="1241"/>
                </a:lnTo>
                <a:lnTo>
                  <a:pt x="4485" y="1259"/>
                </a:lnTo>
                <a:lnTo>
                  <a:pt x="4490" y="1275"/>
                </a:lnTo>
                <a:lnTo>
                  <a:pt x="4493" y="1293"/>
                </a:lnTo>
                <a:lnTo>
                  <a:pt x="4495" y="1313"/>
                </a:lnTo>
                <a:lnTo>
                  <a:pt x="4497" y="1331"/>
                </a:lnTo>
                <a:lnTo>
                  <a:pt x="4497" y="1349"/>
                </a:lnTo>
                <a:lnTo>
                  <a:pt x="4435" y="1375"/>
                </a:lnTo>
                <a:lnTo>
                  <a:pt x="4435" y="1359"/>
                </a:lnTo>
                <a:lnTo>
                  <a:pt x="4433" y="1345"/>
                </a:lnTo>
                <a:lnTo>
                  <a:pt x="4432" y="1331"/>
                </a:lnTo>
                <a:lnTo>
                  <a:pt x="4430" y="1319"/>
                </a:lnTo>
                <a:lnTo>
                  <a:pt x="4427" y="1309"/>
                </a:lnTo>
                <a:lnTo>
                  <a:pt x="4426" y="1303"/>
                </a:lnTo>
                <a:lnTo>
                  <a:pt x="4424" y="1299"/>
                </a:lnTo>
                <a:lnTo>
                  <a:pt x="4421" y="1289"/>
                </a:lnTo>
                <a:lnTo>
                  <a:pt x="4417" y="1281"/>
                </a:lnTo>
                <a:lnTo>
                  <a:pt x="4413" y="1275"/>
                </a:lnTo>
                <a:lnTo>
                  <a:pt x="4408" y="1269"/>
                </a:lnTo>
                <a:lnTo>
                  <a:pt x="4403" y="1265"/>
                </a:lnTo>
                <a:lnTo>
                  <a:pt x="4397" y="1261"/>
                </a:lnTo>
                <a:lnTo>
                  <a:pt x="4391" y="1257"/>
                </a:lnTo>
                <a:lnTo>
                  <a:pt x="4385" y="1255"/>
                </a:lnTo>
                <a:lnTo>
                  <a:pt x="4378" y="1255"/>
                </a:lnTo>
                <a:lnTo>
                  <a:pt x="4370" y="1253"/>
                </a:lnTo>
                <a:lnTo>
                  <a:pt x="4358" y="1255"/>
                </a:lnTo>
                <a:lnTo>
                  <a:pt x="4346" y="1259"/>
                </a:lnTo>
                <a:lnTo>
                  <a:pt x="4341" y="1263"/>
                </a:lnTo>
                <a:lnTo>
                  <a:pt x="4336" y="1267"/>
                </a:lnTo>
                <a:lnTo>
                  <a:pt x="4331" y="1271"/>
                </a:lnTo>
                <a:lnTo>
                  <a:pt x="4327" y="1275"/>
                </a:lnTo>
                <a:lnTo>
                  <a:pt x="4323" y="1281"/>
                </a:lnTo>
                <a:lnTo>
                  <a:pt x="4319" y="1287"/>
                </a:lnTo>
                <a:lnTo>
                  <a:pt x="4316" y="1295"/>
                </a:lnTo>
                <a:lnTo>
                  <a:pt x="4313" y="1303"/>
                </a:lnTo>
                <a:lnTo>
                  <a:pt x="4311" y="1311"/>
                </a:lnTo>
                <a:lnTo>
                  <a:pt x="4310" y="1321"/>
                </a:lnTo>
                <a:lnTo>
                  <a:pt x="4309" y="1331"/>
                </a:lnTo>
                <a:lnTo>
                  <a:pt x="4308" y="1341"/>
                </a:lnTo>
                <a:lnTo>
                  <a:pt x="4309" y="1351"/>
                </a:lnTo>
                <a:lnTo>
                  <a:pt x="4309" y="1361"/>
                </a:lnTo>
                <a:lnTo>
                  <a:pt x="4310" y="1371"/>
                </a:lnTo>
                <a:lnTo>
                  <a:pt x="4311" y="1379"/>
                </a:lnTo>
                <a:lnTo>
                  <a:pt x="4313" y="1387"/>
                </a:lnTo>
                <a:lnTo>
                  <a:pt x="4315" y="1395"/>
                </a:lnTo>
                <a:lnTo>
                  <a:pt x="4318" y="1403"/>
                </a:lnTo>
                <a:lnTo>
                  <a:pt x="4321" y="1409"/>
                </a:lnTo>
                <a:lnTo>
                  <a:pt x="4325" y="1415"/>
                </a:lnTo>
                <a:lnTo>
                  <a:pt x="4328" y="1421"/>
                </a:lnTo>
                <a:lnTo>
                  <a:pt x="4337" y="1433"/>
                </a:lnTo>
                <a:lnTo>
                  <a:pt x="4347" y="1445"/>
                </a:lnTo>
                <a:lnTo>
                  <a:pt x="4359" y="1457"/>
                </a:lnTo>
                <a:lnTo>
                  <a:pt x="4421" y="1511"/>
                </a:lnTo>
                <a:lnTo>
                  <a:pt x="4431" y="1521"/>
                </a:lnTo>
                <a:lnTo>
                  <a:pt x="4442" y="1531"/>
                </a:lnTo>
                <a:lnTo>
                  <a:pt x="4451" y="1541"/>
                </a:lnTo>
                <a:lnTo>
                  <a:pt x="4459" y="1553"/>
                </a:lnTo>
                <a:lnTo>
                  <a:pt x="4467" y="1565"/>
                </a:lnTo>
                <a:lnTo>
                  <a:pt x="4474" y="1575"/>
                </a:lnTo>
                <a:lnTo>
                  <a:pt x="4480" y="1589"/>
                </a:lnTo>
                <a:lnTo>
                  <a:pt x="4486" y="1601"/>
                </a:lnTo>
                <a:lnTo>
                  <a:pt x="4491" y="1615"/>
                </a:lnTo>
                <a:lnTo>
                  <a:pt x="4495" y="1629"/>
                </a:lnTo>
                <a:lnTo>
                  <a:pt x="4499" y="1643"/>
                </a:lnTo>
                <a:lnTo>
                  <a:pt x="4502" y="1659"/>
                </a:lnTo>
                <a:lnTo>
                  <a:pt x="4504" y="1675"/>
                </a:lnTo>
                <a:lnTo>
                  <a:pt x="4505" y="1685"/>
                </a:lnTo>
                <a:lnTo>
                  <a:pt x="4505" y="1693"/>
                </a:lnTo>
                <a:lnTo>
                  <a:pt x="4506" y="1711"/>
                </a:lnTo>
                <a:lnTo>
                  <a:pt x="4507" y="1730"/>
                </a:lnTo>
                <a:lnTo>
                  <a:pt x="4506" y="1756"/>
                </a:lnTo>
                <a:lnTo>
                  <a:pt x="4504" y="1780"/>
                </a:lnTo>
                <a:lnTo>
                  <a:pt x="4503" y="1792"/>
                </a:lnTo>
                <a:lnTo>
                  <a:pt x="4501" y="1802"/>
                </a:lnTo>
                <a:lnTo>
                  <a:pt x="4499" y="1814"/>
                </a:lnTo>
                <a:lnTo>
                  <a:pt x="4497" y="1824"/>
                </a:lnTo>
                <a:lnTo>
                  <a:pt x="4494" y="1834"/>
                </a:lnTo>
                <a:lnTo>
                  <a:pt x="4492" y="1844"/>
                </a:lnTo>
                <a:lnTo>
                  <a:pt x="4485" y="1862"/>
                </a:lnTo>
                <a:lnTo>
                  <a:pt x="4482" y="1870"/>
                </a:lnTo>
                <a:lnTo>
                  <a:pt x="4478" y="1880"/>
                </a:lnTo>
                <a:lnTo>
                  <a:pt x="4470" y="1894"/>
                </a:lnTo>
                <a:lnTo>
                  <a:pt x="4465" y="1902"/>
                </a:lnTo>
                <a:lnTo>
                  <a:pt x="4460" y="1908"/>
                </a:lnTo>
                <a:lnTo>
                  <a:pt x="4455" y="1914"/>
                </a:lnTo>
                <a:lnTo>
                  <a:pt x="4450" y="1920"/>
                </a:lnTo>
                <a:lnTo>
                  <a:pt x="4439" y="1930"/>
                </a:lnTo>
                <a:lnTo>
                  <a:pt x="4427" y="1938"/>
                </a:lnTo>
                <a:lnTo>
                  <a:pt x="4414" y="1946"/>
                </a:lnTo>
                <a:lnTo>
                  <a:pt x="4400" y="1950"/>
                </a:lnTo>
                <a:lnTo>
                  <a:pt x="4393" y="1952"/>
                </a:lnTo>
                <a:lnTo>
                  <a:pt x="4386" y="1952"/>
                </a:lnTo>
                <a:lnTo>
                  <a:pt x="4370" y="195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en-GB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F5A17A4-EA2D-AFFF-38DF-9699B925DC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198587" y="4797152"/>
            <a:ext cx="9793263" cy="1296144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Tx/>
              <a:buNone/>
              <a:defRPr sz="1600"/>
            </a:lvl2pPr>
            <a:lvl3pPr marL="0" indent="0">
              <a:spcBef>
                <a:spcPts val="0"/>
              </a:spcBef>
              <a:buFontTx/>
              <a:buNone/>
              <a:defRPr sz="1600"/>
            </a:lvl3pPr>
            <a:lvl4pPr marL="0" indent="0">
              <a:spcBef>
                <a:spcPts val="0"/>
              </a:spcBef>
              <a:buFontTx/>
              <a:buNone/>
              <a:defRPr sz="1600"/>
            </a:lvl4pPr>
            <a:lvl5pPr marL="0" indent="0">
              <a:spcBef>
                <a:spcPts val="0"/>
              </a:spcBef>
              <a:buFontTx/>
              <a:buNone/>
              <a:defRPr sz="1600"/>
            </a:lvl5pPr>
            <a:lvl6pPr marL="0" indent="0">
              <a:spcBef>
                <a:spcPts val="0"/>
              </a:spcBef>
              <a:buFontTx/>
              <a:buNone/>
              <a:defRPr sz="1600"/>
            </a:lvl6pPr>
            <a:lvl7pPr marL="0" indent="0">
              <a:spcBef>
                <a:spcPts val="0"/>
              </a:spcBef>
              <a:buFontTx/>
              <a:buNone/>
              <a:defRPr sz="1600"/>
            </a:lvl7pPr>
            <a:lvl8pPr marL="0" indent="0">
              <a:spcBef>
                <a:spcPts val="0"/>
              </a:spcBef>
              <a:buFontTx/>
              <a:buNone/>
              <a:defRPr sz="1600"/>
            </a:lvl8pPr>
            <a:lvl9pPr marL="0" indent="0">
              <a:spcBef>
                <a:spcPts val="0"/>
              </a:spcBef>
              <a:buFontTx/>
              <a:buNone/>
              <a:defRPr sz="1600"/>
            </a:lvl9pPr>
          </a:lstStyle>
          <a:p>
            <a:pPr lvl="0"/>
            <a:r>
              <a:rPr lang="fi-FI" noProof="0"/>
              <a:t>Yhteystiedot</a:t>
            </a:r>
          </a:p>
        </p:txBody>
      </p:sp>
    </p:spTree>
    <p:extLst>
      <p:ext uri="{BB962C8B-B14F-4D97-AF65-F5344CB8AC3E}">
        <p14:creationId xmlns:p14="http://schemas.microsoft.com/office/powerpoint/2010/main" val="22734391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756">
          <p15:clr>
            <a:srgbClr val="FBAE40"/>
          </p15:clr>
        </p15:guide>
        <p15:guide id="4" pos="6924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slideLayout" Target="../slideLayouts/slideLayout89.xml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42" Type="http://schemas.openxmlformats.org/officeDocument/2006/relationships/slideLayout" Target="../slideLayouts/slideLayout92.xml"/><Relationship Id="rId47" Type="http://schemas.openxmlformats.org/officeDocument/2006/relationships/slideLayout" Target="../slideLayouts/slideLayout97.xml"/><Relationship Id="rId50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slideLayout" Target="../slideLayouts/slideLayout88.xml"/><Relationship Id="rId46" Type="http://schemas.openxmlformats.org/officeDocument/2006/relationships/slideLayout" Target="../slideLayouts/slideLayout96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41" Type="http://schemas.openxmlformats.org/officeDocument/2006/relationships/slideLayout" Target="../slideLayouts/slideLayout91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slideLayout" Target="../slideLayouts/slideLayout90.xml"/><Relationship Id="rId45" Type="http://schemas.openxmlformats.org/officeDocument/2006/relationships/slideLayout" Target="../slideLayouts/slideLayout95.xml"/><Relationship Id="rId53" Type="http://schemas.openxmlformats.org/officeDocument/2006/relationships/image" Target="../media/image1.png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49" Type="http://schemas.openxmlformats.org/officeDocument/2006/relationships/slideLayout" Target="../slideLayouts/slideLayout99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4" Type="http://schemas.openxmlformats.org/officeDocument/2006/relationships/slideLayout" Target="../slideLayouts/slideLayout94.xml"/><Relationship Id="rId52" Type="http://schemas.openxmlformats.org/officeDocument/2006/relationships/theme" Target="../theme/theme2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Relationship Id="rId43" Type="http://schemas.openxmlformats.org/officeDocument/2006/relationships/slideLayout" Target="../slideLayouts/slideLayout93.xml"/><Relationship Id="rId48" Type="http://schemas.openxmlformats.org/officeDocument/2006/relationships/slideLayout" Target="../slideLayouts/slideLayout98.xml"/><Relationship Id="rId8" Type="http://schemas.openxmlformats.org/officeDocument/2006/relationships/slideLayout" Target="../slideLayouts/slideLayout58.xml"/><Relationship Id="rId51" Type="http://schemas.openxmlformats.org/officeDocument/2006/relationships/slideLayout" Target="../slideLayouts/slideLayout10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03F606E-928C-A1F9-8031-179CA03A35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6"/>
            <a:ext cx="11376026" cy="101086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24343F-94E2-0032-C904-C75E566C8F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628776"/>
            <a:ext cx="11376025" cy="446405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  <a:endParaRPr lang="fi-FI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CF1F63-EAB0-D155-D368-DB83454D33C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9416" y="6381328"/>
            <a:ext cx="1224136" cy="1432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fld id="{61BE793F-238E-4A0B-9EFC-09F758516E44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1D72B2-0BA5-C3BE-860A-FF93393EC1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63552" y="6381328"/>
            <a:ext cx="8928992" cy="14329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D84F36-1B4E-8A5C-9166-BF2B0030F3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07988" y="6381328"/>
            <a:ext cx="431428" cy="1432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>
              <a:defRPr sz="900">
                <a:solidFill>
                  <a:schemeClr val="accent1"/>
                </a:solidFill>
                <a:latin typeface="+mj-lt"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16" name="Freeform 9">
            <a:extLst>
              <a:ext uri="{FF2B5EF4-FFF2-40B4-BE49-F238E27FC236}">
                <a16:creationId xmlns:a16="http://schemas.microsoft.com/office/drawing/2014/main" id="{45D2EBA9-1BB0-2806-BE95-22E9D2E52F2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fi-FI" noProof="0">
              <a:solidFill>
                <a:schemeClr val="tx1"/>
              </a:solidFill>
            </a:endParaRPr>
          </a:p>
        </p:txBody>
      </p:sp>
      <p:sp>
        <p:nvSpPr>
          <p:cNvPr id="23" name="(c)" hidden="1">
            <a:extLst>
              <a:ext uri="{FF2B5EF4-FFF2-40B4-BE49-F238E27FC236}">
                <a16:creationId xmlns:a16="http://schemas.microsoft.com/office/drawing/2014/main" id="{BE74CF64-92D2-11A4-5F0E-9DB01C5D9C18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2020180" y="6891795"/>
            <a:ext cx="165110" cy="307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fi-FI" sz="200" dirty="0">
                <a:solidFill>
                  <a:schemeClr val="bg1"/>
                </a:solidFill>
                <a:latin typeface="+mn-lt"/>
              </a:rPr>
              <a:t>©grow. for</a:t>
            </a:r>
            <a:r>
              <a:rPr lang="fi-FI" sz="200" baseline="0" dirty="0">
                <a:solidFill>
                  <a:schemeClr val="bg1"/>
                </a:solidFill>
                <a:latin typeface="+mn-lt"/>
              </a:rPr>
              <a:t> RT</a:t>
            </a:r>
            <a:endParaRPr lang="en-GB" sz="200" dirty="0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24" name="(logo)" descr="Z:\GRW (grow)\logot\copyright_grow.png" hidden="1">
            <a:extLst>
              <a:ext uri="{FF2B5EF4-FFF2-40B4-BE49-F238E27FC236}">
                <a16:creationId xmlns:a16="http://schemas.microsoft.com/office/drawing/2014/main" id="{FAEA7254-AEB8-7FA6-6B13-3AB5DF3FA765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36000"/>
            <a:ext cx="60261" cy="1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55930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90600" indent="-276225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43025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704975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066925" indent="-276225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4193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78130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143250" indent="-276225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57">
          <p15:clr>
            <a:srgbClr val="F26B43"/>
          </p15:clr>
        </p15:guide>
        <p15:guide id="4" pos="7423">
          <p15:clr>
            <a:srgbClr val="F26B43"/>
          </p15:clr>
        </p15:guide>
        <p15:guide id="5" orient="horz" pos="1026">
          <p15:clr>
            <a:srgbClr val="F26B43"/>
          </p15:clr>
        </p15:guide>
        <p15:guide id="6" orient="horz" pos="845">
          <p15:clr>
            <a:srgbClr val="F26B43"/>
          </p15:clr>
        </p15:guide>
        <p15:guide id="8" orient="horz" pos="3838">
          <p15:clr>
            <a:srgbClr val="F26B43"/>
          </p15:clr>
        </p15:guide>
        <p15:guide id="10" orient="horz" pos="21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03F606E-928C-A1F9-8031-179CA03A35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333376"/>
            <a:ext cx="11376026" cy="101086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fi-FI" noProof="0"/>
              <a:t>Muokkaa ots. perustyyl. napsautt.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24343F-94E2-0032-C904-C75E566C8F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628776"/>
            <a:ext cx="11376025" cy="446405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fi-FI" noProof="0"/>
              <a:t>Muokkaa tekstin perustyylejä napsauttamalla</a:t>
            </a:r>
          </a:p>
          <a:p>
            <a:pPr lvl="1"/>
            <a:r>
              <a:rPr lang="fi-FI" noProof="0"/>
              <a:t>toinen taso</a:t>
            </a:r>
          </a:p>
          <a:p>
            <a:pPr lvl="2"/>
            <a:r>
              <a:rPr lang="fi-FI" noProof="0"/>
              <a:t>kolmas taso</a:t>
            </a:r>
          </a:p>
          <a:p>
            <a:pPr lvl="3"/>
            <a:r>
              <a:rPr lang="fi-FI" noProof="0"/>
              <a:t>neljäs taso</a:t>
            </a:r>
          </a:p>
          <a:p>
            <a:pPr lvl="4"/>
            <a:r>
              <a:rPr lang="fi-FI" noProof="0"/>
              <a:t>viides taso</a:t>
            </a:r>
            <a:endParaRPr lang="fi-FI" noProof="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CF1F63-EAB0-D155-D368-DB83454D33C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9416" y="6381328"/>
            <a:ext cx="1224136" cy="1432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fld id="{C218A3D6-062B-43E7-A031-974676C16FA6}" type="datetime1">
              <a:rPr lang="fi-FI" noProof="0" smtClean="0"/>
              <a:t>27.10.2023</a:t>
            </a:fld>
            <a:endParaRPr lang="fi-FI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1D72B2-0BA5-C3BE-860A-FF93393EC1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063552" y="6381328"/>
            <a:ext cx="8928992" cy="143296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fi-FI" noProof="0"/>
              <a:t>© Rakennusteollisuus R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D84F36-1B4E-8A5C-9166-BF2B0030F3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07988" y="6381328"/>
            <a:ext cx="431428" cy="14329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algn="l">
              <a:defRPr sz="900">
                <a:solidFill>
                  <a:schemeClr val="accent1"/>
                </a:solidFill>
                <a:latin typeface="+mj-lt"/>
              </a:defRPr>
            </a:lvl1pPr>
          </a:lstStyle>
          <a:p>
            <a:fld id="{DFD61EF7-2460-4EE9-A031-27FEBC4F9A95}" type="slidenum">
              <a:rPr lang="fi-FI" noProof="0" smtClean="0"/>
              <a:pPr/>
              <a:t>‹#›</a:t>
            </a:fld>
            <a:endParaRPr lang="fi-FI" noProof="0"/>
          </a:p>
        </p:txBody>
      </p:sp>
      <p:sp>
        <p:nvSpPr>
          <p:cNvPr id="16" name="Freeform 9">
            <a:extLst>
              <a:ext uri="{FF2B5EF4-FFF2-40B4-BE49-F238E27FC236}">
                <a16:creationId xmlns:a16="http://schemas.microsoft.com/office/drawing/2014/main" id="{45D2EBA9-1BB0-2806-BE95-22E9D2E52F2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503054" y="6308625"/>
            <a:ext cx="280959" cy="216000"/>
          </a:xfrm>
          <a:custGeom>
            <a:avLst/>
            <a:gdLst>
              <a:gd name="T0" fmla="*/ 1052 w 1250"/>
              <a:gd name="T1" fmla="*/ 228 h 961"/>
              <a:gd name="T2" fmla="*/ 822 w 1250"/>
              <a:gd name="T3" fmla="*/ 228 h 961"/>
              <a:gd name="T4" fmla="*/ 0 w 1250"/>
              <a:gd name="T5" fmla="*/ 733 h 961"/>
              <a:gd name="T6" fmla="*/ 0 w 1250"/>
              <a:gd name="T7" fmla="*/ 961 h 961"/>
              <a:gd name="T8" fmla="*/ 753 w 1250"/>
              <a:gd name="T9" fmla="*/ 961 h 961"/>
              <a:gd name="T10" fmla="*/ 11 w 1250"/>
              <a:gd name="T11" fmla="*/ 0 h 961"/>
              <a:gd name="T12" fmla="*/ 359 w 1250"/>
              <a:gd name="T13" fmla="*/ 1 h 961"/>
              <a:gd name="T14" fmla="*/ 427 w 1250"/>
              <a:gd name="T15" fmla="*/ 9 h 961"/>
              <a:gd name="T16" fmla="*/ 477 w 1250"/>
              <a:gd name="T17" fmla="*/ 19 h 961"/>
              <a:gd name="T18" fmla="*/ 522 w 1250"/>
              <a:gd name="T19" fmla="*/ 34 h 961"/>
              <a:gd name="T20" fmla="*/ 569 w 1250"/>
              <a:gd name="T21" fmla="*/ 57 h 961"/>
              <a:gd name="T22" fmla="*/ 609 w 1250"/>
              <a:gd name="T23" fmla="*/ 84 h 961"/>
              <a:gd name="T24" fmla="*/ 642 w 1250"/>
              <a:gd name="T25" fmla="*/ 116 h 961"/>
              <a:gd name="T26" fmla="*/ 667 w 1250"/>
              <a:gd name="T27" fmla="*/ 152 h 961"/>
              <a:gd name="T28" fmla="*/ 686 w 1250"/>
              <a:gd name="T29" fmla="*/ 192 h 961"/>
              <a:gd name="T30" fmla="*/ 698 w 1250"/>
              <a:gd name="T31" fmla="*/ 235 h 961"/>
              <a:gd name="T32" fmla="*/ 703 w 1250"/>
              <a:gd name="T33" fmla="*/ 281 h 961"/>
              <a:gd name="T34" fmla="*/ 702 w 1250"/>
              <a:gd name="T35" fmla="*/ 334 h 961"/>
              <a:gd name="T36" fmla="*/ 696 w 1250"/>
              <a:gd name="T37" fmla="*/ 371 h 961"/>
              <a:gd name="T38" fmla="*/ 686 w 1250"/>
              <a:gd name="T39" fmla="*/ 406 h 961"/>
              <a:gd name="T40" fmla="*/ 673 w 1250"/>
              <a:gd name="T41" fmla="*/ 439 h 961"/>
              <a:gd name="T42" fmla="*/ 656 w 1250"/>
              <a:gd name="T43" fmla="*/ 470 h 961"/>
              <a:gd name="T44" fmla="*/ 635 w 1250"/>
              <a:gd name="T45" fmla="*/ 498 h 961"/>
              <a:gd name="T46" fmla="*/ 609 w 1250"/>
              <a:gd name="T47" fmla="*/ 524 h 961"/>
              <a:gd name="T48" fmla="*/ 581 w 1250"/>
              <a:gd name="T49" fmla="*/ 545 h 961"/>
              <a:gd name="T50" fmla="*/ 549 w 1250"/>
              <a:gd name="T51" fmla="*/ 564 h 961"/>
              <a:gd name="T52" fmla="*/ 514 w 1250"/>
              <a:gd name="T53" fmla="*/ 578 h 961"/>
              <a:gd name="T54" fmla="*/ 239 w 1250"/>
              <a:gd name="T55" fmla="*/ 187 h 961"/>
              <a:gd name="T56" fmla="*/ 347 w 1250"/>
              <a:gd name="T57" fmla="*/ 432 h 961"/>
              <a:gd name="T58" fmla="*/ 377 w 1250"/>
              <a:gd name="T59" fmla="*/ 429 h 961"/>
              <a:gd name="T60" fmla="*/ 401 w 1250"/>
              <a:gd name="T61" fmla="*/ 423 h 961"/>
              <a:gd name="T62" fmla="*/ 420 w 1250"/>
              <a:gd name="T63" fmla="*/ 414 h 961"/>
              <a:gd name="T64" fmla="*/ 436 w 1250"/>
              <a:gd name="T65" fmla="*/ 403 h 961"/>
              <a:gd name="T66" fmla="*/ 449 w 1250"/>
              <a:gd name="T67" fmla="*/ 390 h 961"/>
              <a:gd name="T68" fmla="*/ 458 w 1250"/>
              <a:gd name="T69" fmla="*/ 376 h 961"/>
              <a:gd name="T70" fmla="*/ 468 w 1250"/>
              <a:gd name="T71" fmla="*/ 350 h 961"/>
              <a:gd name="T72" fmla="*/ 473 w 1250"/>
              <a:gd name="T73" fmla="*/ 319 h 961"/>
              <a:gd name="T74" fmla="*/ 471 w 1250"/>
              <a:gd name="T75" fmla="*/ 288 h 961"/>
              <a:gd name="T76" fmla="*/ 463 w 1250"/>
              <a:gd name="T77" fmla="*/ 262 h 961"/>
              <a:gd name="T78" fmla="*/ 455 w 1250"/>
              <a:gd name="T79" fmla="*/ 247 h 961"/>
              <a:gd name="T80" fmla="*/ 440 w 1250"/>
              <a:gd name="T81" fmla="*/ 228 h 961"/>
              <a:gd name="T82" fmla="*/ 421 w 1250"/>
              <a:gd name="T83" fmla="*/ 211 h 961"/>
              <a:gd name="T84" fmla="*/ 403 w 1250"/>
              <a:gd name="T85" fmla="*/ 201 h 961"/>
              <a:gd name="T86" fmla="*/ 383 w 1250"/>
              <a:gd name="T87" fmla="*/ 194 h 961"/>
              <a:gd name="T88" fmla="*/ 359 w 1250"/>
              <a:gd name="T89" fmla="*/ 189 h 961"/>
              <a:gd name="T90" fmla="*/ 239 w 1250"/>
              <a:gd name="T91" fmla="*/ 187 h 9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250" h="961">
                <a:moveTo>
                  <a:pt x="1250" y="0"/>
                </a:moveTo>
                <a:lnTo>
                  <a:pt x="1250" y="228"/>
                </a:lnTo>
                <a:lnTo>
                  <a:pt x="1052" y="228"/>
                </a:lnTo>
                <a:lnTo>
                  <a:pt x="1052" y="961"/>
                </a:lnTo>
                <a:lnTo>
                  <a:pt x="822" y="961"/>
                </a:lnTo>
                <a:lnTo>
                  <a:pt x="822" y="228"/>
                </a:lnTo>
                <a:lnTo>
                  <a:pt x="656" y="0"/>
                </a:lnTo>
                <a:lnTo>
                  <a:pt x="1250" y="0"/>
                </a:lnTo>
                <a:close/>
                <a:moveTo>
                  <a:pt x="0" y="733"/>
                </a:moveTo>
                <a:lnTo>
                  <a:pt x="230" y="733"/>
                </a:lnTo>
                <a:lnTo>
                  <a:pt x="230" y="961"/>
                </a:lnTo>
                <a:lnTo>
                  <a:pt x="0" y="961"/>
                </a:lnTo>
                <a:lnTo>
                  <a:pt x="0" y="733"/>
                </a:lnTo>
                <a:close/>
                <a:moveTo>
                  <a:pt x="488" y="585"/>
                </a:moveTo>
                <a:lnTo>
                  <a:pt x="753" y="961"/>
                </a:lnTo>
                <a:lnTo>
                  <a:pt x="496" y="961"/>
                </a:lnTo>
                <a:lnTo>
                  <a:pt x="11" y="271"/>
                </a:lnTo>
                <a:lnTo>
                  <a:pt x="11" y="0"/>
                </a:lnTo>
                <a:lnTo>
                  <a:pt x="309" y="0"/>
                </a:lnTo>
                <a:lnTo>
                  <a:pt x="335" y="0"/>
                </a:lnTo>
                <a:lnTo>
                  <a:pt x="359" y="1"/>
                </a:lnTo>
                <a:lnTo>
                  <a:pt x="383" y="3"/>
                </a:lnTo>
                <a:lnTo>
                  <a:pt x="405" y="5"/>
                </a:lnTo>
                <a:lnTo>
                  <a:pt x="427" y="9"/>
                </a:lnTo>
                <a:lnTo>
                  <a:pt x="448" y="12"/>
                </a:lnTo>
                <a:lnTo>
                  <a:pt x="468" y="17"/>
                </a:lnTo>
                <a:lnTo>
                  <a:pt x="477" y="19"/>
                </a:lnTo>
                <a:lnTo>
                  <a:pt x="487" y="22"/>
                </a:lnTo>
                <a:lnTo>
                  <a:pt x="505" y="28"/>
                </a:lnTo>
                <a:lnTo>
                  <a:pt x="522" y="34"/>
                </a:lnTo>
                <a:lnTo>
                  <a:pt x="539" y="41"/>
                </a:lnTo>
                <a:lnTo>
                  <a:pt x="554" y="49"/>
                </a:lnTo>
                <a:lnTo>
                  <a:pt x="569" y="57"/>
                </a:lnTo>
                <a:lnTo>
                  <a:pt x="583" y="66"/>
                </a:lnTo>
                <a:lnTo>
                  <a:pt x="596" y="75"/>
                </a:lnTo>
                <a:lnTo>
                  <a:pt x="609" y="84"/>
                </a:lnTo>
                <a:lnTo>
                  <a:pt x="620" y="95"/>
                </a:lnTo>
                <a:lnTo>
                  <a:pt x="632" y="105"/>
                </a:lnTo>
                <a:lnTo>
                  <a:pt x="642" y="116"/>
                </a:lnTo>
                <a:lnTo>
                  <a:pt x="651" y="128"/>
                </a:lnTo>
                <a:lnTo>
                  <a:pt x="660" y="140"/>
                </a:lnTo>
                <a:lnTo>
                  <a:pt x="667" y="152"/>
                </a:lnTo>
                <a:lnTo>
                  <a:pt x="674" y="165"/>
                </a:lnTo>
                <a:lnTo>
                  <a:pt x="681" y="179"/>
                </a:lnTo>
                <a:lnTo>
                  <a:pt x="686" y="192"/>
                </a:lnTo>
                <a:lnTo>
                  <a:pt x="691" y="206"/>
                </a:lnTo>
                <a:lnTo>
                  <a:pt x="695" y="220"/>
                </a:lnTo>
                <a:lnTo>
                  <a:pt x="698" y="235"/>
                </a:lnTo>
                <a:lnTo>
                  <a:pt x="700" y="250"/>
                </a:lnTo>
                <a:lnTo>
                  <a:pt x="702" y="265"/>
                </a:lnTo>
                <a:lnTo>
                  <a:pt x="703" y="281"/>
                </a:lnTo>
                <a:lnTo>
                  <a:pt x="704" y="296"/>
                </a:lnTo>
                <a:lnTo>
                  <a:pt x="703" y="322"/>
                </a:lnTo>
                <a:lnTo>
                  <a:pt x="702" y="334"/>
                </a:lnTo>
                <a:lnTo>
                  <a:pt x="700" y="347"/>
                </a:lnTo>
                <a:lnTo>
                  <a:pt x="698" y="359"/>
                </a:lnTo>
                <a:lnTo>
                  <a:pt x="696" y="371"/>
                </a:lnTo>
                <a:lnTo>
                  <a:pt x="693" y="383"/>
                </a:lnTo>
                <a:lnTo>
                  <a:pt x="690" y="395"/>
                </a:lnTo>
                <a:lnTo>
                  <a:pt x="686" y="406"/>
                </a:lnTo>
                <a:lnTo>
                  <a:pt x="682" y="418"/>
                </a:lnTo>
                <a:lnTo>
                  <a:pt x="678" y="429"/>
                </a:lnTo>
                <a:lnTo>
                  <a:pt x="673" y="439"/>
                </a:lnTo>
                <a:lnTo>
                  <a:pt x="667" y="450"/>
                </a:lnTo>
                <a:lnTo>
                  <a:pt x="662" y="460"/>
                </a:lnTo>
                <a:lnTo>
                  <a:pt x="656" y="470"/>
                </a:lnTo>
                <a:lnTo>
                  <a:pt x="649" y="480"/>
                </a:lnTo>
                <a:lnTo>
                  <a:pt x="642" y="489"/>
                </a:lnTo>
                <a:lnTo>
                  <a:pt x="635" y="498"/>
                </a:lnTo>
                <a:lnTo>
                  <a:pt x="627" y="507"/>
                </a:lnTo>
                <a:lnTo>
                  <a:pt x="618" y="516"/>
                </a:lnTo>
                <a:lnTo>
                  <a:pt x="609" y="524"/>
                </a:lnTo>
                <a:lnTo>
                  <a:pt x="600" y="531"/>
                </a:lnTo>
                <a:lnTo>
                  <a:pt x="591" y="539"/>
                </a:lnTo>
                <a:lnTo>
                  <a:pt x="581" y="545"/>
                </a:lnTo>
                <a:lnTo>
                  <a:pt x="571" y="552"/>
                </a:lnTo>
                <a:lnTo>
                  <a:pt x="560" y="558"/>
                </a:lnTo>
                <a:lnTo>
                  <a:pt x="549" y="564"/>
                </a:lnTo>
                <a:lnTo>
                  <a:pt x="538" y="569"/>
                </a:lnTo>
                <a:lnTo>
                  <a:pt x="526" y="574"/>
                </a:lnTo>
                <a:lnTo>
                  <a:pt x="514" y="578"/>
                </a:lnTo>
                <a:lnTo>
                  <a:pt x="501" y="582"/>
                </a:lnTo>
                <a:lnTo>
                  <a:pt x="488" y="585"/>
                </a:lnTo>
                <a:close/>
                <a:moveTo>
                  <a:pt x="239" y="187"/>
                </a:moveTo>
                <a:lnTo>
                  <a:pt x="239" y="432"/>
                </a:lnTo>
                <a:lnTo>
                  <a:pt x="337" y="432"/>
                </a:lnTo>
                <a:lnTo>
                  <a:pt x="347" y="432"/>
                </a:lnTo>
                <a:lnTo>
                  <a:pt x="357" y="431"/>
                </a:lnTo>
                <a:lnTo>
                  <a:pt x="367" y="430"/>
                </a:lnTo>
                <a:lnTo>
                  <a:pt x="377" y="429"/>
                </a:lnTo>
                <a:lnTo>
                  <a:pt x="385" y="427"/>
                </a:lnTo>
                <a:lnTo>
                  <a:pt x="393" y="425"/>
                </a:lnTo>
                <a:lnTo>
                  <a:pt x="401" y="423"/>
                </a:lnTo>
                <a:lnTo>
                  <a:pt x="408" y="420"/>
                </a:lnTo>
                <a:lnTo>
                  <a:pt x="414" y="417"/>
                </a:lnTo>
                <a:lnTo>
                  <a:pt x="420" y="414"/>
                </a:lnTo>
                <a:lnTo>
                  <a:pt x="426" y="411"/>
                </a:lnTo>
                <a:lnTo>
                  <a:pt x="431" y="407"/>
                </a:lnTo>
                <a:lnTo>
                  <a:pt x="436" y="403"/>
                </a:lnTo>
                <a:lnTo>
                  <a:pt x="441" y="399"/>
                </a:lnTo>
                <a:lnTo>
                  <a:pt x="445" y="395"/>
                </a:lnTo>
                <a:lnTo>
                  <a:pt x="449" y="390"/>
                </a:lnTo>
                <a:lnTo>
                  <a:pt x="452" y="386"/>
                </a:lnTo>
                <a:lnTo>
                  <a:pt x="455" y="381"/>
                </a:lnTo>
                <a:lnTo>
                  <a:pt x="458" y="376"/>
                </a:lnTo>
                <a:lnTo>
                  <a:pt x="461" y="371"/>
                </a:lnTo>
                <a:lnTo>
                  <a:pt x="465" y="361"/>
                </a:lnTo>
                <a:lnTo>
                  <a:pt x="468" y="350"/>
                </a:lnTo>
                <a:lnTo>
                  <a:pt x="471" y="340"/>
                </a:lnTo>
                <a:lnTo>
                  <a:pt x="472" y="329"/>
                </a:lnTo>
                <a:lnTo>
                  <a:pt x="473" y="319"/>
                </a:lnTo>
                <a:lnTo>
                  <a:pt x="473" y="308"/>
                </a:lnTo>
                <a:lnTo>
                  <a:pt x="473" y="298"/>
                </a:lnTo>
                <a:lnTo>
                  <a:pt x="471" y="288"/>
                </a:lnTo>
                <a:lnTo>
                  <a:pt x="469" y="278"/>
                </a:lnTo>
                <a:lnTo>
                  <a:pt x="465" y="267"/>
                </a:lnTo>
                <a:lnTo>
                  <a:pt x="463" y="262"/>
                </a:lnTo>
                <a:lnTo>
                  <a:pt x="460" y="257"/>
                </a:lnTo>
                <a:lnTo>
                  <a:pt x="458" y="252"/>
                </a:lnTo>
                <a:lnTo>
                  <a:pt x="455" y="247"/>
                </a:lnTo>
                <a:lnTo>
                  <a:pt x="448" y="237"/>
                </a:lnTo>
                <a:lnTo>
                  <a:pt x="444" y="232"/>
                </a:lnTo>
                <a:lnTo>
                  <a:pt x="440" y="228"/>
                </a:lnTo>
                <a:lnTo>
                  <a:pt x="436" y="223"/>
                </a:lnTo>
                <a:lnTo>
                  <a:pt x="431" y="219"/>
                </a:lnTo>
                <a:lnTo>
                  <a:pt x="421" y="211"/>
                </a:lnTo>
                <a:lnTo>
                  <a:pt x="415" y="208"/>
                </a:lnTo>
                <a:lnTo>
                  <a:pt x="409" y="204"/>
                </a:lnTo>
                <a:lnTo>
                  <a:pt x="403" y="201"/>
                </a:lnTo>
                <a:lnTo>
                  <a:pt x="397" y="199"/>
                </a:lnTo>
                <a:lnTo>
                  <a:pt x="390" y="196"/>
                </a:lnTo>
                <a:lnTo>
                  <a:pt x="383" y="194"/>
                </a:lnTo>
                <a:lnTo>
                  <a:pt x="375" y="192"/>
                </a:lnTo>
                <a:lnTo>
                  <a:pt x="367" y="190"/>
                </a:lnTo>
                <a:lnTo>
                  <a:pt x="359" y="189"/>
                </a:lnTo>
                <a:lnTo>
                  <a:pt x="351" y="188"/>
                </a:lnTo>
                <a:lnTo>
                  <a:pt x="333" y="187"/>
                </a:lnTo>
                <a:lnTo>
                  <a:pt x="239" y="18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endParaRPr lang="fi-FI" noProof="0">
              <a:solidFill>
                <a:schemeClr val="tx1"/>
              </a:solidFill>
            </a:endParaRPr>
          </a:p>
        </p:txBody>
      </p:sp>
      <p:sp>
        <p:nvSpPr>
          <p:cNvPr id="23" name="(c)" hidden="1">
            <a:extLst>
              <a:ext uri="{FF2B5EF4-FFF2-40B4-BE49-F238E27FC236}">
                <a16:creationId xmlns:a16="http://schemas.microsoft.com/office/drawing/2014/main" id="{BE74CF64-92D2-11A4-5F0E-9DB01C5D9C18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12020180" y="6891795"/>
            <a:ext cx="165110" cy="3077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fi-FI" sz="200" dirty="0">
                <a:solidFill>
                  <a:schemeClr val="bg1"/>
                </a:solidFill>
                <a:latin typeface="+mn-lt"/>
              </a:rPr>
              <a:t>©grow. for</a:t>
            </a:r>
            <a:r>
              <a:rPr lang="fi-FI" sz="200" baseline="0" dirty="0">
                <a:solidFill>
                  <a:schemeClr val="bg1"/>
                </a:solidFill>
                <a:latin typeface="+mn-lt"/>
              </a:rPr>
              <a:t> RT</a:t>
            </a:r>
            <a:endParaRPr lang="en-GB" sz="200" dirty="0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24" name="(logo)" descr="Z:\GRW (grow)\logot\copyright_grow.png" hidden="1">
            <a:extLst>
              <a:ext uri="{FF2B5EF4-FFF2-40B4-BE49-F238E27FC236}">
                <a16:creationId xmlns:a16="http://schemas.microsoft.com/office/drawing/2014/main" id="{FAEA7254-AEB8-7FA6-6B13-3AB5DF3FA765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36000"/>
            <a:ext cx="60261" cy="1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41998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  <p:sldLayoutId id="2147483725" r:id="rId14"/>
    <p:sldLayoutId id="2147483726" r:id="rId15"/>
    <p:sldLayoutId id="2147483727" r:id="rId16"/>
    <p:sldLayoutId id="2147483728" r:id="rId17"/>
    <p:sldLayoutId id="2147483729" r:id="rId18"/>
    <p:sldLayoutId id="2147483730" r:id="rId19"/>
    <p:sldLayoutId id="2147483731" r:id="rId20"/>
    <p:sldLayoutId id="2147483732" r:id="rId21"/>
    <p:sldLayoutId id="2147483733" r:id="rId22"/>
    <p:sldLayoutId id="2147483734" r:id="rId23"/>
    <p:sldLayoutId id="2147483735" r:id="rId24"/>
    <p:sldLayoutId id="2147483736" r:id="rId25"/>
    <p:sldLayoutId id="2147483737" r:id="rId26"/>
    <p:sldLayoutId id="2147483738" r:id="rId27"/>
    <p:sldLayoutId id="2147483739" r:id="rId28"/>
    <p:sldLayoutId id="2147483740" r:id="rId29"/>
    <p:sldLayoutId id="2147483741" r:id="rId30"/>
    <p:sldLayoutId id="2147483742" r:id="rId31"/>
    <p:sldLayoutId id="2147483743" r:id="rId32"/>
    <p:sldLayoutId id="2147483744" r:id="rId33"/>
    <p:sldLayoutId id="2147483745" r:id="rId34"/>
    <p:sldLayoutId id="2147483746" r:id="rId35"/>
    <p:sldLayoutId id="2147483747" r:id="rId36"/>
    <p:sldLayoutId id="2147483748" r:id="rId37"/>
    <p:sldLayoutId id="2147483749" r:id="rId38"/>
    <p:sldLayoutId id="2147483750" r:id="rId39"/>
    <p:sldLayoutId id="2147483751" r:id="rId40"/>
    <p:sldLayoutId id="2147483752" r:id="rId41"/>
    <p:sldLayoutId id="2147483753" r:id="rId42"/>
    <p:sldLayoutId id="2147483754" r:id="rId43"/>
    <p:sldLayoutId id="2147483755" r:id="rId44"/>
    <p:sldLayoutId id="2147483756" r:id="rId45"/>
    <p:sldLayoutId id="2147483757" r:id="rId46"/>
    <p:sldLayoutId id="2147483758" r:id="rId47"/>
    <p:sldLayoutId id="2147483759" r:id="rId48"/>
    <p:sldLayoutId id="2147483760" r:id="rId49"/>
    <p:sldLayoutId id="2147483761" r:id="rId50"/>
    <p:sldLayoutId id="2147483762" r:id="rId51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90600" indent="-276225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43025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704975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066925" indent="-276225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241935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781300" indent="-2667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3143250" indent="-276225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57">
          <p15:clr>
            <a:srgbClr val="F26B43"/>
          </p15:clr>
        </p15:guide>
        <p15:guide id="4" pos="7423">
          <p15:clr>
            <a:srgbClr val="F26B43"/>
          </p15:clr>
        </p15:guide>
        <p15:guide id="5" orient="horz" pos="1026">
          <p15:clr>
            <a:srgbClr val="F26B43"/>
          </p15:clr>
        </p15:guide>
        <p15:guide id="6" orient="horz" pos="845">
          <p15:clr>
            <a:srgbClr val="F26B43"/>
          </p15:clr>
        </p15:guide>
        <p15:guide id="8" orient="horz" pos="3838">
          <p15:clr>
            <a:srgbClr val="F26B43"/>
          </p15:clr>
        </p15:guide>
        <p15:guide id="10" orient="horz" pos="21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01.xml"/><Relationship Id="rId1" Type="http://schemas.openxmlformats.org/officeDocument/2006/relationships/tags" Target="../tags/tag1.xml"/><Relationship Id="rId5" Type="http://schemas.openxmlformats.org/officeDocument/2006/relationships/image" Target="../media/image27.png"/><Relationship Id="rId4" Type="http://schemas.openxmlformats.org/officeDocument/2006/relationships/image" Target="../media/image26.e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F7E0FE65-A9B6-1B0F-D468-12F098C6CBE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i-FI" dirty="0"/>
              <a:t>Uusi Rakentamislaki ja pätevyydet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5C3BB1A-6C66-7F0A-5307-6EF8403D9B8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EE870DFA-C78E-2B5E-CACB-7B272E071FE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fi-FI" dirty="0"/>
              <a:t>1.11.2023, RIA-RKL Yrittäjäpäivä</a:t>
            </a:r>
          </a:p>
        </p:txBody>
      </p:sp>
      <p:sp>
        <p:nvSpPr>
          <p:cNvPr id="8" name="Tekstin paikkamerkki 7">
            <a:extLst>
              <a:ext uri="{FF2B5EF4-FFF2-40B4-BE49-F238E27FC236}">
                <a16:creationId xmlns:a16="http://schemas.microsoft.com/office/drawing/2014/main" id="{C30FD728-E209-B38F-D400-ACDBC727C8B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i-FI" dirty="0"/>
              <a:t>Jani Kemppainen, Rakennusteollisuus RT ry</a:t>
            </a:r>
          </a:p>
        </p:txBody>
      </p:sp>
    </p:spTree>
    <p:extLst>
      <p:ext uri="{BB962C8B-B14F-4D97-AF65-F5344CB8AC3E}">
        <p14:creationId xmlns:p14="http://schemas.microsoft.com/office/powerpoint/2010/main" val="826415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FD5E51A8-F566-4556-81C6-4EE8BDD5FF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188640"/>
            <a:ext cx="10368532" cy="1008063"/>
          </a:xfrm>
        </p:spPr>
        <p:txBody>
          <a:bodyPr>
            <a:normAutofit fontScale="90000"/>
          </a:bodyPr>
          <a:lstStyle/>
          <a:p>
            <a:pPr marL="12699">
              <a:lnSpc>
                <a:spcPts val="3650"/>
              </a:lnSpc>
            </a:pPr>
            <a:r>
              <a:rPr lang="fi-FI" b="1" spc="-35" dirty="0">
                <a:cs typeface="Arial"/>
              </a:rPr>
              <a:t>S</a:t>
            </a:r>
            <a:r>
              <a:rPr lang="fi-FI" b="1" spc="-25" dirty="0">
                <a:cs typeface="Arial"/>
              </a:rPr>
              <a:t>uunn</a:t>
            </a:r>
            <a:r>
              <a:rPr lang="fi-FI" b="1" spc="-40" dirty="0">
                <a:cs typeface="Arial"/>
              </a:rPr>
              <a:t>i</a:t>
            </a:r>
            <a:r>
              <a:rPr lang="fi-FI" b="1" spc="-15" dirty="0">
                <a:cs typeface="Arial"/>
              </a:rPr>
              <a:t>t</a:t>
            </a:r>
            <a:r>
              <a:rPr lang="fi-FI" b="1" spc="-40" dirty="0">
                <a:cs typeface="Arial"/>
              </a:rPr>
              <a:t>t</a:t>
            </a:r>
            <a:r>
              <a:rPr lang="fi-FI" b="1" spc="-45" dirty="0">
                <a:cs typeface="Arial"/>
              </a:rPr>
              <a:t>e</a:t>
            </a:r>
            <a:r>
              <a:rPr lang="fi-FI" b="1" spc="-40" dirty="0">
                <a:cs typeface="Arial"/>
              </a:rPr>
              <a:t>lij</a:t>
            </a:r>
            <a:r>
              <a:rPr lang="fi-FI" b="1" spc="-20" dirty="0">
                <a:cs typeface="Arial"/>
              </a:rPr>
              <a:t>a</a:t>
            </a:r>
            <a:r>
              <a:rPr lang="fi-FI" b="1" dirty="0">
                <a:cs typeface="Arial"/>
              </a:rPr>
              <a:t>n</a:t>
            </a:r>
            <a:r>
              <a:rPr lang="fi-FI" b="1" spc="-130" dirty="0">
                <a:cs typeface="Arial"/>
              </a:rPr>
              <a:t> </a:t>
            </a:r>
            <a:r>
              <a:rPr lang="fi-FI" b="1" spc="-20" dirty="0">
                <a:cs typeface="Arial"/>
              </a:rPr>
              <a:t>ke</a:t>
            </a:r>
            <a:r>
              <a:rPr lang="fi-FI" b="1" spc="-40" dirty="0">
                <a:cs typeface="Arial"/>
              </a:rPr>
              <a:t>l</a:t>
            </a:r>
            <a:r>
              <a:rPr lang="fi-FI" b="1" spc="-25" dirty="0">
                <a:cs typeface="Arial"/>
              </a:rPr>
              <a:t>po</a:t>
            </a:r>
            <a:r>
              <a:rPr lang="fi-FI" b="1" spc="-40" dirty="0">
                <a:cs typeface="Arial"/>
              </a:rPr>
              <a:t>i</a:t>
            </a:r>
            <a:r>
              <a:rPr lang="fi-FI" b="1" spc="-20" dirty="0">
                <a:cs typeface="Arial"/>
              </a:rPr>
              <a:t>s</a:t>
            </a:r>
            <a:r>
              <a:rPr lang="fi-FI" b="1" spc="-50" dirty="0">
                <a:cs typeface="Arial"/>
              </a:rPr>
              <a:t>uu</a:t>
            </a:r>
            <a:r>
              <a:rPr lang="fi-FI" b="1" dirty="0">
                <a:cs typeface="Arial"/>
              </a:rPr>
              <a:t>s 83§</a:t>
            </a:r>
            <a:br>
              <a:rPr lang="fi-FI" b="1" dirty="0">
                <a:cs typeface="Arial"/>
              </a:rPr>
            </a:br>
            <a:r>
              <a:rPr lang="fi-FI" b="1" dirty="0">
                <a:cs typeface="Arial"/>
              </a:rPr>
              <a:t>Vastaavan työnjohtajan ja erityisalan työnjohtajan kelpoisuus 87§</a:t>
            </a:r>
            <a:br>
              <a:rPr lang="fi-FI" b="1" dirty="0">
                <a:cs typeface="Arial"/>
              </a:rPr>
            </a:br>
            <a:endParaRPr lang="fi-FI" dirty="0"/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31397139-CFF6-47BD-9594-00B6D0F05A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196704"/>
            <a:ext cx="10368532" cy="4896122"/>
          </a:xfrm>
        </p:spPr>
        <p:txBody>
          <a:bodyPr/>
          <a:lstStyle/>
          <a:p>
            <a:pPr marL="356834" marR="259689" indent="-344136">
              <a:buClr>
                <a:srgbClr val="243746"/>
              </a:buClr>
              <a:buFont typeface="Arial"/>
              <a:buChar char="•"/>
              <a:tabLst>
                <a:tab pos="357469" algn="l"/>
              </a:tabLst>
            </a:pPr>
            <a:r>
              <a:rPr lang="fi-FI" dirty="0">
                <a:cs typeface="Arial"/>
              </a:rPr>
              <a:t>Menettelytapa muuttuu paljon  MRL:n mukaisesta</a:t>
            </a:r>
          </a:p>
          <a:p>
            <a:pPr marL="356834" marR="259689" indent="-344136">
              <a:buClr>
                <a:srgbClr val="243746"/>
              </a:buClr>
              <a:buFont typeface="Arial"/>
              <a:buChar char="•"/>
              <a:tabLst>
                <a:tab pos="357469" algn="l"/>
              </a:tabLst>
            </a:pPr>
            <a:r>
              <a:rPr lang="fi-FI" dirty="0">
                <a:cs typeface="Arial"/>
              </a:rPr>
              <a:t>P</a:t>
            </a:r>
            <a:r>
              <a:rPr lang="fi-FI" spc="-10" dirty="0">
                <a:cs typeface="Arial"/>
              </a:rPr>
              <a:t>e</a:t>
            </a:r>
            <a:r>
              <a:rPr lang="fi-FI" spc="5" dirty="0">
                <a:cs typeface="Arial"/>
              </a:rPr>
              <a:t>r</a:t>
            </a:r>
            <a:r>
              <a:rPr lang="fi-FI" dirty="0">
                <a:cs typeface="Arial"/>
              </a:rPr>
              <a:t>us</a:t>
            </a:r>
            <a:r>
              <a:rPr lang="fi-FI" spc="5" dirty="0">
                <a:cs typeface="Arial"/>
              </a:rPr>
              <a:t>t</a:t>
            </a:r>
            <a:r>
              <a:rPr lang="fi-FI" spc="-25" dirty="0">
                <a:cs typeface="Arial"/>
              </a:rPr>
              <a:t>u</a:t>
            </a:r>
            <a:r>
              <a:rPr lang="fi-FI" dirty="0">
                <a:cs typeface="Arial"/>
              </a:rPr>
              <a:t>u</a:t>
            </a:r>
            <a:r>
              <a:rPr lang="fi-FI" spc="-85" dirty="0">
                <a:cs typeface="Arial"/>
              </a:rPr>
              <a:t> </a:t>
            </a:r>
            <a:r>
              <a:rPr lang="fi-FI" dirty="0">
                <a:cs typeface="Arial"/>
              </a:rPr>
              <a:t>suunn</a:t>
            </a:r>
            <a:r>
              <a:rPr lang="fi-FI" spc="-15" dirty="0">
                <a:cs typeface="Arial"/>
              </a:rPr>
              <a:t>i</a:t>
            </a:r>
            <a:r>
              <a:rPr lang="fi-FI" spc="5" dirty="0">
                <a:cs typeface="Arial"/>
              </a:rPr>
              <a:t>t</a:t>
            </a:r>
            <a:r>
              <a:rPr lang="fi-FI" spc="-15" dirty="0">
                <a:cs typeface="Arial"/>
              </a:rPr>
              <a:t>t</a:t>
            </a:r>
            <a:r>
              <a:rPr lang="fi-FI" dirty="0">
                <a:cs typeface="Arial"/>
              </a:rPr>
              <a:t>e</a:t>
            </a:r>
            <a:r>
              <a:rPr lang="fi-FI" spc="-15" dirty="0">
                <a:cs typeface="Arial"/>
              </a:rPr>
              <a:t>l</a:t>
            </a:r>
            <a:r>
              <a:rPr lang="fi-FI" spc="-25" dirty="0">
                <a:cs typeface="Arial"/>
              </a:rPr>
              <a:t>u- ja työnjohto</a:t>
            </a:r>
            <a:r>
              <a:rPr lang="fi-FI" spc="-15" dirty="0">
                <a:cs typeface="Arial"/>
              </a:rPr>
              <a:t>t</a:t>
            </a:r>
            <a:r>
              <a:rPr lang="fi-FI" dirty="0">
                <a:cs typeface="Arial"/>
              </a:rPr>
              <a:t>e</a:t>
            </a:r>
            <a:r>
              <a:rPr lang="fi-FI" spc="-30" dirty="0">
                <a:cs typeface="Arial"/>
              </a:rPr>
              <a:t>h</a:t>
            </a:r>
            <a:r>
              <a:rPr lang="fi-FI" spc="5" dirty="0">
                <a:cs typeface="Arial"/>
              </a:rPr>
              <a:t>t</a:t>
            </a:r>
            <a:r>
              <a:rPr lang="fi-FI" spc="-25" dirty="0">
                <a:cs typeface="Arial"/>
              </a:rPr>
              <a:t>äv</a:t>
            </a:r>
            <a:r>
              <a:rPr lang="fi-FI" dirty="0">
                <a:cs typeface="Arial"/>
              </a:rPr>
              <a:t>än</a:t>
            </a:r>
            <a:r>
              <a:rPr lang="fi-FI" spc="-90" dirty="0">
                <a:cs typeface="Arial"/>
              </a:rPr>
              <a:t> </a:t>
            </a:r>
            <a:r>
              <a:rPr lang="fi-FI" spc="-25" dirty="0">
                <a:cs typeface="Arial"/>
              </a:rPr>
              <a:t>v</a:t>
            </a:r>
            <a:r>
              <a:rPr lang="fi-FI" dirty="0">
                <a:cs typeface="Arial"/>
              </a:rPr>
              <a:t>aat</a:t>
            </a:r>
            <a:r>
              <a:rPr lang="fi-FI" spc="-15" dirty="0">
                <a:cs typeface="Arial"/>
              </a:rPr>
              <a:t>i</a:t>
            </a:r>
            <a:r>
              <a:rPr lang="fi-FI" spc="-25" dirty="0">
                <a:cs typeface="Arial"/>
              </a:rPr>
              <a:t>v</a:t>
            </a:r>
            <a:r>
              <a:rPr lang="fi-FI" dirty="0">
                <a:cs typeface="Arial"/>
              </a:rPr>
              <a:t>uus</a:t>
            </a:r>
            <a:r>
              <a:rPr lang="fi-FI" spc="-15" dirty="0">
                <a:cs typeface="Arial"/>
              </a:rPr>
              <a:t>l</a:t>
            </a:r>
            <a:r>
              <a:rPr lang="fi-FI" dirty="0">
                <a:cs typeface="Arial"/>
              </a:rPr>
              <a:t>u</a:t>
            </a:r>
            <a:r>
              <a:rPr lang="fi-FI" spc="-30" dirty="0">
                <a:cs typeface="Arial"/>
              </a:rPr>
              <a:t>o</a:t>
            </a:r>
            <a:r>
              <a:rPr lang="fi-FI" dirty="0">
                <a:cs typeface="Arial"/>
              </a:rPr>
              <a:t>kki</a:t>
            </a:r>
            <a:r>
              <a:rPr lang="fi-FI" spc="-20" dirty="0">
                <a:cs typeface="Arial"/>
              </a:rPr>
              <a:t>i</a:t>
            </a:r>
            <a:r>
              <a:rPr lang="fi-FI" spc="-25" dirty="0">
                <a:cs typeface="Arial"/>
              </a:rPr>
              <a:t>n</a:t>
            </a:r>
            <a:r>
              <a:rPr lang="fi-FI" dirty="0">
                <a:cs typeface="Arial"/>
              </a:rPr>
              <a:t>, </a:t>
            </a:r>
            <a:r>
              <a:rPr lang="fi-FI" spc="20" dirty="0">
                <a:cs typeface="Arial"/>
              </a:rPr>
              <a:t>erittäin vaativa on uusi luokitus</a:t>
            </a:r>
            <a:r>
              <a:rPr lang="fi-FI" dirty="0">
                <a:cs typeface="Arial"/>
              </a:rPr>
              <a:t>:</a:t>
            </a:r>
          </a:p>
          <a:p>
            <a:pPr marL="722558" lvl="1" indent="-457154">
              <a:spcBef>
                <a:spcPts val="805"/>
              </a:spcBef>
              <a:buClr>
                <a:srgbClr val="243746"/>
              </a:buClr>
              <a:buFont typeface="Arial"/>
              <a:buAutoNum type="arabicParenR"/>
              <a:tabLst>
                <a:tab pos="723193" algn="l"/>
              </a:tabLst>
            </a:pPr>
            <a:r>
              <a:rPr lang="fi-FI" sz="1800" spc="-10" dirty="0">
                <a:cs typeface="Arial"/>
              </a:rPr>
              <a:t>P</a:t>
            </a:r>
            <a:r>
              <a:rPr lang="fi-FI" sz="1800" spc="-15" dirty="0">
                <a:cs typeface="Arial"/>
              </a:rPr>
              <a:t>o</a:t>
            </a:r>
            <a:r>
              <a:rPr lang="fi-FI" sz="1800" dirty="0">
                <a:cs typeface="Arial"/>
              </a:rPr>
              <a:t>i</a:t>
            </a:r>
            <a:r>
              <a:rPr lang="fi-FI" sz="1800" spc="-5" dirty="0">
                <a:cs typeface="Arial"/>
              </a:rPr>
              <a:t>kk</a:t>
            </a:r>
            <a:r>
              <a:rPr lang="fi-FI" sz="1800" spc="-15" dirty="0">
                <a:cs typeface="Arial"/>
              </a:rPr>
              <a:t>e</a:t>
            </a:r>
            <a:r>
              <a:rPr lang="fi-FI" sz="1800" spc="-40" dirty="0">
                <a:cs typeface="Arial"/>
              </a:rPr>
              <a:t>u</a:t>
            </a:r>
            <a:r>
              <a:rPr lang="fi-FI" sz="1800" spc="-5" dirty="0">
                <a:cs typeface="Arial"/>
              </a:rPr>
              <a:t>k</a:t>
            </a:r>
            <a:r>
              <a:rPr lang="fi-FI" sz="1800" spc="-25" dirty="0">
                <a:cs typeface="Arial"/>
              </a:rPr>
              <a:t>s</a:t>
            </a:r>
            <a:r>
              <a:rPr lang="fi-FI" sz="1800" spc="-15" dirty="0">
                <a:cs typeface="Arial"/>
              </a:rPr>
              <a:t>e</a:t>
            </a:r>
            <a:r>
              <a:rPr lang="fi-FI" sz="1800" spc="-20" dirty="0">
                <a:cs typeface="Arial"/>
              </a:rPr>
              <a:t>lli</a:t>
            </a:r>
            <a:r>
              <a:rPr lang="fi-FI" sz="1800" spc="-5" dirty="0">
                <a:cs typeface="Arial"/>
              </a:rPr>
              <a:t>s</a:t>
            </a:r>
            <a:r>
              <a:rPr lang="fi-FI" sz="1800" spc="-40" dirty="0">
                <a:cs typeface="Arial"/>
              </a:rPr>
              <a:t>e</a:t>
            </a:r>
            <a:r>
              <a:rPr lang="fi-FI" sz="1800" spc="-15" dirty="0">
                <a:cs typeface="Arial"/>
              </a:rPr>
              <a:t>n</a:t>
            </a:r>
            <a:r>
              <a:rPr lang="fi-FI" sz="1800" spc="-55" dirty="0">
                <a:cs typeface="Arial"/>
              </a:rPr>
              <a:t> </a:t>
            </a:r>
            <a:r>
              <a:rPr lang="fi-FI" sz="1800" spc="-25" dirty="0">
                <a:cs typeface="Arial"/>
              </a:rPr>
              <a:t>v</a:t>
            </a:r>
            <a:r>
              <a:rPr lang="fi-FI" sz="1800" spc="-10" dirty="0">
                <a:cs typeface="Arial"/>
              </a:rPr>
              <a:t>aat</a:t>
            </a:r>
            <a:r>
              <a:rPr lang="fi-FI" sz="1800" dirty="0">
                <a:cs typeface="Arial"/>
              </a:rPr>
              <a:t>i</a:t>
            </a:r>
            <a:r>
              <a:rPr lang="fi-FI" sz="1800" spc="-25" dirty="0">
                <a:cs typeface="Arial"/>
              </a:rPr>
              <a:t>v</a:t>
            </a:r>
            <a:r>
              <a:rPr lang="fi-FI" sz="1800" spc="-15" dirty="0">
                <a:cs typeface="Arial"/>
              </a:rPr>
              <a:t>a</a:t>
            </a:r>
            <a:r>
              <a:rPr lang="fi-FI" sz="1800" spc="-50" dirty="0">
                <a:cs typeface="Arial"/>
              </a:rPr>
              <a:t> </a:t>
            </a:r>
            <a:r>
              <a:rPr lang="fi-FI" sz="1800" spc="-20" dirty="0">
                <a:cs typeface="Arial"/>
              </a:rPr>
              <a:t>(</a:t>
            </a:r>
            <a:r>
              <a:rPr lang="fi-FI" sz="1800" spc="-5" dirty="0">
                <a:cs typeface="Arial"/>
              </a:rPr>
              <a:t>k</a:t>
            </a:r>
            <a:r>
              <a:rPr lang="fi-FI" sz="1800" spc="-15" dirty="0">
                <a:cs typeface="Arial"/>
              </a:rPr>
              <a:t>ou</a:t>
            </a:r>
            <a:r>
              <a:rPr lang="fi-FI" sz="1800" dirty="0">
                <a:cs typeface="Arial"/>
              </a:rPr>
              <a:t>l</a:t>
            </a:r>
            <a:r>
              <a:rPr lang="fi-FI" sz="1800" spc="-10" dirty="0">
                <a:cs typeface="Arial"/>
              </a:rPr>
              <a:t>utus</a:t>
            </a:r>
            <a:r>
              <a:rPr lang="fi-FI" sz="1800" spc="-85" dirty="0">
                <a:cs typeface="Arial"/>
              </a:rPr>
              <a:t> </a:t>
            </a:r>
            <a:r>
              <a:rPr lang="fi-FI" sz="1800" spc="-20" dirty="0">
                <a:cs typeface="Arial"/>
              </a:rPr>
              <a:t>j</a:t>
            </a:r>
            <a:r>
              <a:rPr lang="fi-FI" sz="1800" spc="-15" dirty="0">
                <a:cs typeface="Arial"/>
              </a:rPr>
              <a:t>a</a:t>
            </a:r>
            <a:r>
              <a:rPr lang="fi-FI" sz="1800" spc="-5" dirty="0">
                <a:cs typeface="Arial"/>
              </a:rPr>
              <a:t> </a:t>
            </a:r>
            <a:r>
              <a:rPr lang="fi-FI" sz="1800" dirty="0">
                <a:cs typeface="Arial"/>
              </a:rPr>
              <a:t>k</a:t>
            </a:r>
            <a:r>
              <a:rPr lang="fi-FI" sz="1800" spc="-15" dirty="0">
                <a:cs typeface="Arial"/>
              </a:rPr>
              <a:t>o</a:t>
            </a:r>
            <a:r>
              <a:rPr lang="fi-FI" sz="1800" dirty="0">
                <a:cs typeface="Arial"/>
              </a:rPr>
              <a:t>k</a:t>
            </a:r>
            <a:r>
              <a:rPr lang="fi-FI" sz="1800" spc="-15" dirty="0">
                <a:cs typeface="Arial"/>
              </a:rPr>
              <a:t>e</a:t>
            </a:r>
            <a:r>
              <a:rPr lang="fi-FI" sz="1800" spc="-40" dirty="0">
                <a:cs typeface="Arial"/>
              </a:rPr>
              <a:t>m</a:t>
            </a:r>
            <a:r>
              <a:rPr lang="fi-FI" sz="1800" spc="-15" dirty="0">
                <a:cs typeface="Arial"/>
              </a:rPr>
              <a:t>u</a:t>
            </a:r>
            <a:r>
              <a:rPr lang="fi-FI" sz="1800" dirty="0">
                <a:cs typeface="Arial"/>
              </a:rPr>
              <a:t>s</a:t>
            </a:r>
            <a:r>
              <a:rPr lang="fi-FI" sz="1800" spc="-10" dirty="0">
                <a:cs typeface="Arial"/>
              </a:rPr>
              <a:t>)</a:t>
            </a:r>
            <a:endParaRPr lang="fi-FI" sz="1800" dirty="0">
              <a:cs typeface="Arial"/>
            </a:endParaRPr>
          </a:p>
          <a:p>
            <a:pPr marL="722558" lvl="1" indent="-457154">
              <a:spcBef>
                <a:spcPts val="815"/>
              </a:spcBef>
              <a:buClr>
                <a:srgbClr val="243746"/>
              </a:buClr>
              <a:buFont typeface="Arial"/>
              <a:buAutoNum type="arabicParenR"/>
              <a:tabLst>
                <a:tab pos="723193" algn="l"/>
              </a:tabLst>
            </a:pPr>
            <a:r>
              <a:rPr lang="fi-FI" sz="1800" spc="-15" dirty="0">
                <a:cs typeface="Arial"/>
              </a:rPr>
              <a:t>E</a:t>
            </a:r>
            <a:r>
              <a:rPr lang="fi-FI" sz="1800" spc="-20" dirty="0">
                <a:cs typeface="Arial"/>
              </a:rPr>
              <a:t>r</a:t>
            </a:r>
            <a:r>
              <a:rPr lang="fi-FI" sz="1800" dirty="0">
                <a:cs typeface="Arial"/>
              </a:rPr>
              <a:t>i</a:t>
            </a:r>
            <a:r>
              <a:rPr lang="fi-FI" sz="1800" spc="-10" dirty="0">
                <a:cs typeface="Arial"/>
              </a:rPr>
              <a:t>ttä</a:t>
            </a:r>
            <a:r>
              <a:rPr lang="fi-FI" sz="1800" dirty="0">
                <a:cs typeface="Arial"/>
              </a:rPr>
              <a:t>i</a:t>
            </a:r>
            <a:r>
              <a:rPr lang="fi-FI" sz="1800" spc="-15" dirty="0">
                <a:cs typeface="Arial"/>
              </a:rPr>
              <a:t>n</a:t>
            </a:r>
            <a:r>
              <a:rPr lang="fi-FI" sz="1800" spc="-95" dirty="0">
                <a:cs typeface="Arial"/>
              </a:rPr>
              <a:t> </a:t>
            </a:r>
            <a:r>
              <a:rPr lang="fi-FI" sz="1800" spc="-25" dirty="0">
                <a:cs typeface="Arial"/>
              </a:rPr>
              <a:t>v</a:t>
            </a:r>
            <a:r>
              <a:rPr lang="fi-FI" sz="1800" spc="-10" dirty="0">
                <a:cs typeface="Arial"/>
              </a:rPr>
              <a:t>aat</a:t>
            </a:r>
            <a:r>
              <a:rPr lang="fi-FI" sz="1800" dirty="0">
                <a:cs typeface="Arial"/>
              </a:rPr>
              <a:t>i</a:t>
            </a:r>
            <a:r>
              <a:rPr lang="fi-FI" sz="1800" spc="-25" dirty="0">
                <a:cs typeface="Arial"/>
              </a:rPr>
              <a:t>v</a:t>
            </a:r>
            <a:r>
              <a:rPr lang="fi-FI" sz="1800" spc="-15" dirty="0">
                <a:cs typeface="Arial"/>
              </a:rPr>
              <a:t>a</a:t>
            </a:r>
            <a:r>
              <a:rPr lang="fi-FI" sz="1800" spc="-50" dirty="0">
                <a:cs typeface="Arial"/>
              </a:rPr>
              <a:t> </a:t>
            </a:r>
            <a:r>
              <a:rPr lang="fi-FI" sz="1800" spc="-20" dirty="0">
                <a:cs typeface="Arial"/>
              </a:rPr>
              <a:t>(</a:t>
            </a:r>
            <a:r>
              <a:rPr lang="fi-FI" sz="1800" spc="-5" dirty="0">
                <a:cs typeface="Arial"/>
              </a:rPr>
              <a:t>k</a:t>
            </a:r>
            <a:r>
              <a:rPr lang="fi-FI" sz="1800" spc="-15" dirty="0">
                <a:cs typeface="Arial"/>
              </a:rPr>
              <a:t>ou</a:t>
            </a:r>
            <a:r>
              <a:rPr lang="fi-FI" sz="1800" dirty="0">
                <a:cs typeface="Arial"/>
              </a:rPr>
              <a:t>l</a:t>
            </a:r>
            <a:r>
              <a:rPr lang="fi-FI" sz="1800" spc="-10" dirty="0">
                <a:cs typeface="Arial"/>
              </a:rPr>
              <a:t>utus</a:t>
            </a:r>
            <a:r>
              <a:rPr lang="fi-FI" sz="1800" spc="-75" dirty="0">
                <a:cs typeface="Arial"/>
              </a:rPr>
              <a:t> </a:t>
            </a:r>
            <a:r>
              <a:rPr lang="fi-FI" sz="1800" spc="-5" dirty="0">
                <a:cs typeface="Arial"/>
              </a:rPr>
              <a:t>s</a:t>
            </a:r>
            <a:r>
              <a:rPr lang="fi-FI" sz="1800" spc="-15" dirty="0">
                <a:cs typeface="Arial"/>
              </a:rPr>
              <a:t>e</a:t>
            </a:r>
            <a:r>
              <a:rPr lang="fi-FI" sz="1800" spc="-5" dirty="0">
                <a:cs typeface="Arial"/>
              </a:rPr>
              <a:t>k</a:t>
            </a:r>
            <a:r>
              <a:rPr lang="fi-FI" sz="1800" spc="-15" dirty="0">
                <a:cs typeface="Arial"/>
              </a:rPr>
              <a:t>ä</a:t>
            </a:r>
            <a:r>
              <a:rPr lang="fi-FI" sz="1800" spc="-50" dirty="0">
                <a:cs typeface="Arial"/>
              </a:rPr>
              <a:t> </a:t>
            </a:r>
            <a:r>
              <a:rPr lang="fi-FI" sz="1800" spc="-5" dirty="0">
                <a:cs typeface="Arial"/>
              </a:rPr>
              <a:t>k</a:t>
            </a:r>
            <a:r>
              <a:rPr lang="fi-FI" sz="1800" spc="-15" dirty="0">
                <a:cs typeface="Arial"/>
              </a:rPr>
              <a:t>o</a:t>
            </a:r>
            <a:r>
              <a:rPr lang="fi-FI" sz="1800" spc="-5" dirty="0">
                <a:cs typeface="Arial"/>
              </a:rPr>
              <a:t>k</a:t>
            </a:r>
            <a:r>
              <a:rPr lang="fi-FI" sz="1800" spc="-15" dirty="0">
                <a:cs typeface="Arial"/>
              </a:rPr>
              <a:t>e</a:t>
            </a:r>
            <a:r>
              <a:rPr lang="fi-FI" sz="1800" spc="-45" dirty="0">
                <a:cs typeface="Arial"/>
              </a:rPr>
              <a:t>m</a:t>
            </a:r>
            <a:r>
              <a:rPr lang="fi-FI" sz="1800" spc="-15" dirty="0">
                <a:cs typeface="Arial"/>
              </a:rPr>
              <a:t>u</a:t>
            </a:r>
            <a:r>
              <a:rPr lang="fi-FI" sz="1800" spc="-5" dirty="0">
                <a:cs typeface="Arial"/>
              </a:rPr>
              <a:t>s</a:t>
            </a:r>
            <a:r>
              <a:rPr lang="fi-FI" sz="1800" spc="-10" dirty="0">
                <a:cs typeface="Arial"/>
              </a:rPr>
              <a:t>)</a:t>
            </a:r>
            <a:endParaRPr lang="fi-FI" sz="1800" dirty="0">
              <a:cs typeface="Arial"/>
            </a:endParaRPr>
          </a:p>
          <a:p>
            <a:pPr marL="722558" lvl="1" indent="-457154">
              <a:spcBef>
                <a:spcPts val="795"/>
              </a:spcBef>
              <a:buClr>
                <a:srgbClr val="243746"/>
              </a:buClr>
              <a:buFont typeface="Arial"/>
              <a:buAutoNum type="arabicParenR"/>
              <a:tabLst>
                <a:tab pos="723193" algn="l"/>
              </a:tabLst>
            </a:pPr>
            <a:r>
              <a:rPr lang="fi-FI" sz="1800" spc="-155" dirty="0">
                <a:cs typeface="Arial"/>
              </a:rPr>
              <a:t>V</a:t>
            </a:r>
            <a:r>
              <a:rPr lang="fi-FI" sz="1800" spc="-10" dirty="0">
                <a:cs typeface="Arial"/>
              </a:rPr>
              <a:t>aat</a:t>
            </a:r>
            <a:r>
              <a:rPr lang="fi-FI" sz="1800" dirty="0">
                <a:cs typeface="Arial"/>
              </a:rPr>
              <a:t>i</a:t>
            </a:r>
            <a:r>
              <a:rPr lang="fi-FI" sz="1800" spc="-25" dirty="0">
                <a:cs typeface="Arial"/>
              </a:rPr>
              <a:t>v</a:t>
            </a:r>
            <a:r>
              <a:rPr lang="fi-FI" sz="1800" spc="-15" dirty="0">
                <a:cs typeface="Arial"/>
              </a:rPr>
              <a:t>a</a:t>
            </a:r>
            <a:r>
              <a:rPr lang="fi-FI" sz="1800" spc="-75" dirty="0">
                <a:cs typeface="Arial"/>
              </a:rPr>
              <a:t> </a:t>
            </a:r>
            <a:r>
              <a:rPr lang="fi-FI" sz="1800" spc="-20" dirty="0">
                <a:cs typeface="Arial"/>
              </a:rPr>
              <a:t>(</a:t>
            </a:r>
            <a:r>
              <a:rPr lang="fi-FI" sz="1800" spc="-5" dirty="0">
                <a:cs typeface="Arial"/>
              </a:rPr>
              <a:t>k</a:t>
            </a:r>
            <a:r>
              <a:rPr lang="fi-FI" sz="1800" spc="-15" dirty="0">
                <a:cs typeface="Arial"/>
              </a:rPr>
              <a:t>ou</a:t>
            </a:r>
            <a:r>
              <a:rPr lang="fi-FI" sz="1800" dirty="0">
                <a:cs typeface="Arial"/>
              </a:rPr>
              <a:t>l</a:t>
            </a:r>
            <a:r>
              <a:rPr lang="fi-FI" sz="1800" spc="-10" dirty="0">
                <a:cs typeface="Arial"/>
              </a:rPr>
              <a:t>utus</a:t>
            </a:r>
            <a:r>
              <a:rPr lang="fi-FI" sz="1800" spc="-85" dirty="0">
                <a:cs typeface="Arial"/>
              </a:rPr>
              <a:t> </a:t>
            </a:r>
            <a:r>
              <a:rPr lang="fi-FI" sz="1800" spc="-5" dirty="0">
                <a:cs typeface="Arial"/>
              </a:rPr>
              <a:t>s</a:t>
            </a:r>
            <a:r>
              <a:rPr lang="fi-FI" sz="1800" spc="-15" dirty="0">
                <a:cs typeface="Arial"/>
              </a:rPr>
              <a:t>e</a:t>
            </a:r>
            <a:r>
              <a:rPr lang="fi-FI" sz="1800" dirty="0">
                <a:cs typeface="Arial"/>
              </a:rPr>
              <a:t>k</a:t>
            </a:r>
            <a:r>
              <a:rPr lang="fi-FI" sz="1800" spc="-15" dirty="0">
                <a:cs typeface="Arial"/>
              </a:rPr>
              <a:t>ä</a:t>
            </a:r>
            <a:r>
              <a:rPr lang="fi-FI" sz="1800" spc="-50" dirty="0">
                <a:cs typeface="Arial"/>
              </a:rPr>
              <a:t> </a:t>
            </a:r>
            <a:r>
              <a:rPr lang="fi-FI" sz="1800" spc="-5" dirty="0">
                <a:cs typeface="Arial"/>
              </a:rPr>
              <a:t>k</a:t>
            </a:r>
            <a:r>
              <a:rPr lang="fi-FI" sz="1800" spc="-15" dirty="0">
                <a:cs typeface="Arial"/>
              </a:rPr>
              <a:t>o</a:t>
            </a:r>
            <a:r>
              <a:rPr lang="fi-FI" sz="1800" dirty="0">
                <a:cs typeface="Arial"/>
              </a:rPr>
              <a:t>k</a:t>
            </a:r>
            <a:r>
              <a:rPr lang="fi-FI" sz="1800" spc="-15" dirty="0">
                <a:cs typeface="Arial"/>
              </a:rPr>
              <a:t>e</a:t>
            </a:r>
            <a:r>
              <a:rPr lang="fi-FI" sz="1800" spc="-40" dirty="0">
                <a:cs typeface="Arial"/>
              </a:rPr>
              <a:t>m</a:t>
            </a:r>
            <a:r>
              <a:rPr lang="fi-FI" sz="1800" spc="-10" dirty="0">
                <a:cs typeface="Arial"/>
              </a:rPr>
              <a:t>us</a:t>
            </a:r>
            <a:r>
              <a:rPr lang="fi-FI" sz="1800" spc="-60" dirty="0">
                <a:cs typeface="Arial"/>
              </a:rPr>
              <a:t> </a:t>
            </a:r>
            <a:r>
              <a:rPr lang="fi-FI" sz="1800" spc="-10" dirty="0">
                <a:cs typeface="Arial"/>
              </a:rPr>
              <a:t>tai</a:t>
            </a:r>
            <a:r>
              <a:rPr lang="fi-FI" sz="1800" spc="-40" dirty="0">
                <a:cs typeface="Arial"/>
              </a:rPr>
              <a:t> </a:t>
            </a:r>
            <a:r>
              <a:rPr lang="fi-FI" sz="1800" spc="-10" dirty="0">
                <a:cs typeface="Arial"/>
              </a:rPr>
              <a:t>eri</a:t>
            </a:r>
            <a:r>
              <a:rPr lang="fi-FI" sz="1800" dirty="0">
                <a:cs typeface="Arial"/>
              </a:rPr>
              <a:t>k</a:t>
            </a:r>
            <a:r>
              <a:rPr lang="fi-FI" sz="1800" spc="-15" dirty="0">
                <a:cs typeface="Arial"/>
              </a:rPr>
              <a:t>o</a:t>
            </a:r>
            <a:r>
              <a:rPr lang="fi-FI" sz="1800" dirty="0">
                <a:cs typeface="Arial"/>
              </a:rPr>
              <a:t>i</a:t>
            </a:r>
            <a:r>
              <a:rPr lang="fi-FI" sz="1800" spc="-5" dirty="0">
                <a:cs typeface="Arial"/>
              </a:rPr>
              <a:t>s</a:t>
            </a:r>
            <a:r>
              <a:rPr lang="fi-FI" sz="1800" spc="-35" dirty="0">
                <a:cs typeface="Arial"/>
              </a:rPr>
              <a:t>t</a:t>
            </a:r>
            <a:r>
              <a:rPr lang="fi-FI" sz="1800" spc="-15" dirty="0">
                <a:cs typeface="Arial"/>
              </a:rPr>
              <a:t>u</a:t>
            </a:r>
            <a:r>
              <a:rPr lang="fi-FI" sz="1800" spc="-40" dirty="0">
                <a:cs typeface="Arial"/>
              </a:rPr>
              <a:t>m</a:t>
            </a:r>
            <a:r>
              <a:rPr lang="fi-FI" sz="1800" dirty="0">
                <a:cs typeface="Arial"/>
              </a:rPr>
              <a:t>i</a:t>
            </a:r>
            <a:r>
              <a:rPr lang="fi-FI" sz="1800" spc="-10" dirty="0">
                <a:cs typeface="Arial"/>
              </a:rPr>
              <a:t>nen)</a:t>
            </a:r>
            <a:endParaRPr lang="fi-FI" sz="1800" dirty="0">
              <a:cs typeface="Arial"/>
            </a:endParaRPr>
          </a:p>
          <a:p>
            <a:pPr marL="722558" lvl="1" indent="-457154">
              <a:spcBef>
                <a:spcPts val="790"/>
              </a:spcBef>
              <a:buClr>
                <a:srgbClr val="243746"/>
              </a:buClr>
              <a:buFont typeface="Arial"/>
              <a:buAutoNum type="arabicParenR"/>
              <a:tabLst>
                <a:tab pos="723193" algn="l"/>
              </a:tabLst>
            </a:pPr>
            <a:r>
              <a:rPr lang="fi-FI" sz="1800" spc="-240" dirty="0">
                <a:cs typeface="Arial"/>
              </a:rPr>
              <a:t>T</a:t>
            </a:r>
            <a:r>
              <a:rPr lang="fi-FI" sz="1800" spc="-15" dirty="0">
                <a:cs typeface="Arial"/>
              </a:rPr>
              <a:t>a</a:t>
            </a:r>
            <a:r>
              <a:rPr lang="fi-FI" sz="1800" spc="-25" dirty="0">
                <a:cs typeface="Arial"/>
              </a:rPr>
              <a:t>v</a:t>
            </a:r>
            <a:r>
              <a:rPr lang="fi-FI" sz="1800" spc="-15" dirty="0">
                <a:cs typeface="Arial"/>
              </a:rPr>
              <a:t>ano</a:t>
            </a:r>
            <a:r>
              <a:rPr lang="fi-FI" sz="1800" spc="-40" dirty="0">
                <a:cs typeface="Arial"/>
              </a:rPr>
              <a:t>m</a:t>
            </a:r>
            <a:r>
              <a:rPr lang="fi-FI" sz="1800" spc="-15" dirty="0">
                <a:cs typeface="Arial"/>
              </a:rPr>
              <a:t>a</a:t>
            </a:r>
            <a:r>
              <a:rPr lang="fi-FI" sz="1800" dirty="0">
                <a:cs typeface="Arial"/>
              </a:rPr>
              <a:t>i</a:t>
            </a:r>
            <a:r>
              <a:rPr lang="fi-FI" sz="1800" spc="-15" dirty="0">
                <a:cs typeface="Arial"/>
              </a:rPr>
              <a:t>nen</a:t>
            </a:r>
            <a:r>
              <a:rPr lang="fi-FI" sz="1800" spc="-25" dirty="0">
                <a:cs typeface="Arial"/>
              </a:rPr>
              <a:t> </a:t>
            </a:r>
            <a:r>
              <a:rPr lang="fi-FI" sz="1800" spc="-20" dirty="0">
                <a:cs typeface="Arial"/>
              </a:rPr>
              <a:t>(</a:t>
            </a:r>
            <a:r>
              <a:rPr lang="fi-FI" sz="1800" b="1" spc="-5" dirty="0">
                <a:cs typeface="Arial"/>
              </a:rPr>
              <a:t>k</a:t>
            </a:r>
            <a:r>
              <a:rPr lang="fi-FI" sz="1800" b="1" spc="-15" dirty="0">
                <a:cs typeface="Arial"/>
              </a:rPr>
              <a:t>ou</a:t>
            </a:r>
            <a:r>
              <a:rPr lang="fi-FI" sz="1800" b="1" dirty="0">
                <a:cs typeface="Arial"/>
              </a:rPr>
              <a:t>l</a:t>
            </a:r>
            <a:r>
              <a:rPr lang="fi-FI" sz="1800" b="1" spc="-10" dirty="0">
                <a:cs typeface="Arial"/>
              </a:rPr>
              <a:t>utus</a:t>
            </a:r>
            <a:r>
              <a:rPr lang="fi-FI" sz="1800" b="1" spc="-85" dirty="0">
                <a:cs typeface="Arial"/>
              </a:rPr>
              <a:t> </a:t>
            </a:r>
            <a:r>
              <a:rPr lang="fi-FI" sz="1800" b="1" spc="-20" dirty="0">
                <a:cs typeface="Arial"/>
              </a:rPr>
              <a:t>r</a:t>
            </a:r>
            <a:r>
              <a:rPr lang="fi-FI" sz="1800" b="1" dirty="0">
                <a:cs typeface="Arial"/>
              </a:rPr>
              <a:t>ii</a:t>
            </a:r>
            <a:r>
              <a:rPr lang="fi-FI" sz="1800" b="1" spc="-10" dirty="0">
                <a:cs typeface="Arial"/>
              </a:rPr>
              <a:t>ttää</a:t>
            </a:r>
            <a:r>
              <a:rPr lang="fi-FI" sz="1800" spc="-10" dirty="0">
                <a:cs typeface="Arial"/>
              </a:rPr>
              <a:t>)</a:t>
            </a:r>
            <a:endParaRPr lang="fi-FI" sz="1800" dirty="0">
              <a:cs typeface="Arial"/>
            </a:endParaRPr>
          </a:p>
          <a:p>
            <a:pPr marL="722558" lvl="1" indent="-457154">
              <a:spcBef>
                <a:spcPts val="815"/>
              </a:spcBef>
              <a:buClr>
                <a:srgbClr val="243746"/>
              </a:buClr>
              <a:buFont typeface="Arial"/>
              <a:buAutoNum type="arabicParenR"/>
              <a:tabLst>
                <a:tab pos="723193" algn="l"/>
              </a:tabLst>
            </a:pPr>
            <a:r>
              <a:rPr lang="fi-FI" sz="1800" spc="-10" dirty="0">
                <a:cs typeface="Arial"/>
              </a:rPr>
              <a:t>V</a:t>
            </a:r>
            <a:r>
              <a:rPr lang="fi-FI" sz="1800" spc="-15" dirty="0">
                <a:cs typeface="Arial"/>
              </a:rPr>
              <a:t>ähä</a:t>
            </a:r>
            <a:r>
              <a:rPr lang="fi-FI" sz="1800" spc="5" dirty="0">
                <a:cs typeface="Arial"/>
              </a:rPr>
              <a:t>i</a:t>
            </a:r>
            <a:r>
              <a:rPr lang="fi-FI" sz="1800" spc="-15" dirty="0">
                <a:cs typeface="Arial"/>
              </a:rPr>
              <a:t>nen</a:t>
            </a:r>
            <a:r>
              <a:rPr lang="fi-FI" sz="1800" spc="-70" dirty="0">
                <a:cs typeface="Arial"/>
              </a:rPr>
              <a:t> </a:t>
            </a:r>
            <a:r>
              <a:rPr lang="fi-FI" sz="1800" spc="-20" dirty="0">
                <a:cs typeface="Arial"/>
              </a:rPr>
              <a:t>(riittävä </a:t>
            </a:r>
            <a:r>
              <a:rPr lang="fi-FI" sz="1800" spc="-15" dirty="0">
                <a:cs typeface="Arial"/>
              </a:rPr>
              <a:t>o</a:t>
            </a:r>
            <a:r>
              <a:rPr lang="fi-FI" sz="1800" dirty="0">
                <a:cs typeface="Arial"/>
              </a:rPr>
              <a:t>s</a:t>
            </a:r>
            <a:r>
              <a:rPr lang="fi-FI" sz="1800" spc="-15" dirty="0">
                <a:cs typeface="Arial"/>
              </a:rPr>
              <a:t>aa</a:t>
            </a:r>
            <a:r>
              <a:rPr lang="fi-FI" sz="1800" spc="-40" dirty="0">
                <a:cs typeface="Arial"/>
              </a:rPr>
              <a:t>m</a:t>
            </a:r>
            <a:r>
              <a:rPr lang="fi-FI" sz="1800" dirty="0">
                <a:cs typeface="Arial"/>
              </a:rPr>
              <a:t>i</a:t>
            </a:r>
            <a:r>
              <a:rPr lang="fi-FI" sz="1800" spc="-15" dirty="0">
                <a:cs typeface="Arial"/>
              </a:rPr>
              <a:t>nen)</a:t>
            </a:r>
            <a:endParaRPr lang="fi-FI" sz="1800" dirty="0">
              <a:cs typeface="Arial"/>
            </a:endParaRPr>
          </a:p>
          <a:p>
            <a:pPr marL="356834" marR="5079" indent="-344136">
              <a:spcBef>
                <a:spcPts val="780"/>
              </a:spcBef>
              <a:buClr>
                <a:srgbClr val="243746"/>
              </a:buClr>
              <a:buFont typeface="Arial"/>
              <a:buChar char="•"/>
              <a:tabLst>
                <a:tab pos="357469" algn="l"/>
              </a:tabLst>
            </a:pPr>
            <a:r>
              <a:rPr lang="fi-FI" dirty="0">
                <a:cs typeface="Arial"/>
              </a:rPr>
              <a:t>Rakennusvalvontaviranomaisen on tarkistettava, että sille ilmoitetulla suunnittelijalla ja työnjohtajalla on todistuksella osoitettu pätevyys kyseiseen tavanomaiseen, vaativaan, erittäin vaativaan tai poikkeuksellisen vaativaan tehtävään.</a:t>
            </a:r>
          </a:p>
          <a:p>
            <a:pPr marL="356834" marR="5079" indent="-344136">
              <a:spcBef>
                <a:spcPts val="780"/>
              </a:spcBef>
              <a:buClr>
                <a:srgbClr val="243746"/>
              </a:buClr>
              <a:buFont typeface="Arial"/>
              <a:buChar char="•"/>
              <a:tabLst>
                <a:tab pos="357469" algn="l"/>
              </a:tabLst>
            </a:pPr>
            <a:r>
              <a:rPr lang="fi-FI" dirty="0">
                <a:cs typeface="Arial"/>
              </a:rPr>
              <a:t>Rakennusvalvonta voi </a:t>
            </a:r>
            <a:r>
              <a:rPr lang="fi-FI" b="1" dirty="0">
                <a:cs typeface="Arial"/>
              </a:rPr>
              <a:t>perustellusta syystä </a:t>
            </a:r>
            <a:r>
              <a:rPr lang="fi-FI" dirty="0">
                <a:cs typeface="Arial"/>
              </a:rPr>
              <a:t>kelpoisuuden toteamisen lisäksi arvioida, </a:t>
            </a:r>
          </a:p>
          <a:p>
            <a:pPr marL="718784" marR="5079" lvl="1" indent="-344136">
              <a:spcBef>
                <a:spcPts val="780"/>
              </a:spcBef>
              <a:buClr>
                <a:srgbClr val="243746"/>
              </a:buClr>
              <a:buFont typeface="Arial"/>
              <a:buChar char="•"/>
              <a:tabLst>
                <a:tab pos="357469" algn="l"/>
              </a:tabLst>
            </a:pPr>
            <a:r>
              <a:rPr lang="fi-FI" dirty="0">
                <a:cs typeface="Arial"/>
              </a:rPr>
              <a:t>riittävätkö ilmoitetun vastaavan suunnittelijan tai työnjohtajan tosiasialliset ajankäytölliset voimavarat tehtävän suorittamiseen tai </a:t>
            </a:r>
          </a:p>
          <a:p>
            <a:pPr marL="718784" marR="5079" lvl="1" indent="-344136">
              <a:spcBef>
                <a:spcPts val="780"/>
              </a:spcBef>
              <a:buClr>
                <a:srgbClr val="243746"/>
              </a:buClr>
              <a:buFont typeface="Arial"/>
              <a:buChar char="•"/>
              <a:tabLst>
                <a:tab pos="357469" algn="l"/>
              </a:tabLst>
            </a:pPr>
            <a:r>
              <a:rPr lang="fi-FI" dirty="0">
                <a:cs typeface="Arial"/>
              </a:rPr>
              <a:t>onko henkilö aikaisemmassa suunnittelu- tai työnjohtotehtävässä edeltävien kahden vuoden aikana osoittanut kyvyttömyytensä samanlaiseen tehtävään</a:t>
            </a:r>
          </a:p>
          <a:p>
            <a:pPr marL="0" indent="0">
              <a:buNone/>
            </a:pPr>
            <a:endParaRPr lang="fi-FI" dirty="0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AD2B8CA9-760C-4701-9E70-EE89EA57B3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F4D50CA-F9F4-4F82-9F28-967629681EF9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fi-FI" sz="900" b="0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71773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z="3200" dirty="0"/>
              <a:t>Laki rakentamisen suunnittelu- ja työnjohtotehtävissä toimivien pätevyyden osoittamisesta (812/2023)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i-FI" dirty="0">
                <a:cs typeface="Arial"/>
              </a:rPr>
              <a:t>Ympä</a:t>
            </a:r>
            <a:r>
              <a:rPr lang="fi-FI" spc="10" dirty="0">
                <a:cs typeface="Arial"/>
              </a:rPr>
              <a:t>r</a:t>
            </a:r>
            <a:r>
              <a:rPr lang="fi-FI" spc="-15" dirty="0">
                <a:cs typeface="Arial"/>
              </a:rPr>
              <a:t>i</a:t>
            </a:r>
            <a:r>
              <a:rPr lang="fi-FI" dirty="0">
                <a:cs typeface="Arial"/>
              </a:rPr>
              <a:t>s</a:t>
            </a:r>
            <a:r>
              <a:rPr lang="fi-FI" spc="-15" dirty="0">
                <a:cs typeface="Arial"/>
              </a:rPr>
              <a:t>t</a:t>
            </a:r>
            <a:r>
              <a:rPr lang="fi-FI" spc="-25" dirty="0">
                <a:cs typeface="Arial"/>
              </a:rPr>
              <a:t>ö</a:t>
            </a:r>
            <a:r>
              <a:rPr lang="fi-FI" spc="-15" dirty="0">
                <a:cs typeface="Arial"/>
              </a:rPr>
              <a:t>mi</a:t>
            </a:r>
            <a:r>
              <a:rPr lang="fi-FI" dirty="0">
                <a:cs typeface="Arial"/>
              </a:rPr>
              <a:t>n</a:t>
            </a:r>
            <a:r>
              <a:rPr lang="fi-FI" spc="-15" dirty="0">
                <a:cs typeface="Arial"/>
              </a:rPr>
              <a:t>i</a:t>
            </a:r>
            <a:r>
              <a:rPr lang="fi-FI" spc="-25" dirty="0">
                <a:cs typeface="Arial"/>
              </a:rPr>
              <a:t>s</a:t>
            </a:r>
            <a:r>
              <a:rPr lang="fi-FI" spc="-15" dirty="0">
                <a:cs typeface="Arial"/>
              </a:rPr>
              <a:t>t</a:t>
            </a:r>
            <a:r>
              <a:rPr lang="fi-FI" dirty="0">
                <a:cs typeface="Arial"/>
              </a:rPr>
              <a:t>e</a:t>
            </a:r>
            <a:r>
              <a:rPr lang="fi-FI" spc="-15" dirty="0">
                <a:cs typeface="Arial"/>
              </a:rPr>
              <a:t>ri</a:t>
            </a:r>
            <a:r>
              <a:rPr lang="fi-FI" dirty="0">
                <a:cs typeface="Arial"/>
              </a:rPr>
              <a:t>ön</a:t>
            </a:r>
            <a:r>
              <a:rPr lang="fi-FI" spc="-90" dirty="0">
                <a:cs typeface="Arial"/>
              </a:rPr>
              <a:t> </a:t>
            </a:r>
            <a:r>
              <a:rPr lang="fi-FI" spc="-25" dirty="0">
                <a:cs typeface="Arial"/>
              </a:rPr>
              <a:t>v</a:t>
            </a:r>
            <a:r>
              <a:rPr lang="fi-FI" dirty="0">
                <a:cs typeface="Arial"/>
              </a:rPr>
              <a:t>a</a:t>
            </a:r>
            <a:r>
              <a:rPr lang="fi-FI" spc="-15" dirty="0">
                <a:cs typeface="Arial"/>
              </a:rPr>
              <a:t>l</a:t>
            </a:r>
            <a:r>
              <a:rPr lang="fi-FI" spc="5" dirty="0">
                <a:cs typeface="Arial"/>
              </a:rPr>
              <a:t>t</a:t>
            </a:r>
            <a:r>
              <a:rPr lang="fi-FI" dirty="0">
                <a:cs typeface="Arial"/>
              </a:rPr>
              <a:t>uut</a:t>
            </a:r>
            <a:r>
              <a:rPr lang="fi-FI" spc="-15" dirty="0">
                <a:cs typeface="Arial"/>
              </a:rPr>
              <a:t>t</a:t>
            </a:r>
            <a:r>
              <a:rPr lang="fi-FI" dirty="0">
                <a:cs typeface="Arial"/>
              </a:rPr>
              <a:t>a</a:t>
            </a:r>
            <a:r>
              <a:rPr lang="fi-FI" spc="-15" dirty="0">
                <a:cs typeface="Arial"/>
              </a:rPr>
              <a:t>m</a:t>
            </a:r>
            <a:r>
              <a:rPr lang="fi-FI" dirty="0">
                <a:cs typeface="Arial"/>
              </a:rPr>
              <a:t>a</a:t>
            </a:r>
            <a:r>
              <a:rPr lang="fi-FI" spc="-85" dirty="0">
                <a:cs typeface="Arial"/>
              </a:rPr>
              <a:t> </a:t>
            </a:r>
            <a:r>
              <a:rPr lang="fi-FI" spc="5" dirty="0">
                <a:cs typeface="Arial"/>
              </a:rPr>
              <a:t>t</a:t>
            </a:r>
            <a:r>
              <a:rPr lang="fi-FI" dirty="0">
                <a:cs typeface="Arial"/>
              </a:rPr>
              <a:t>o</a:t>
            </a:r>
            <a:r>
              <a:rPr lang="fi-FI" spc="-15" dirty="0">
                <a:cs typeface="Arial"/>
              </a:rPr>
              <a:t>i</a:t>
            </a:r>
            <a:r>
              <a:rPr lang="fi-FI" spc="5" dirty="0">
                <a:cs typeface="Arial"/>
              </a:rPr>
              <a:t>m</a:t>
            </a:r>
            <a:r>
              <a:rPr lang="fi-FI" spc="-15" dirty="0">
                <a:cs typeface="Arial"/>
              </a:rPr>
              <a:t>i</a:t>
            </a:r>
            <a:r>
              <a:rPr lang="fi-FI" dirty="0">
                <a:cs typeface="Arial"/>
              </a:rPr>
              <a:t>e</a:t>
            </a:r>
            <a:r>
              <a:rPr lang="fi-FI" spc="-15" dirty="0">
                <a:cs typeface="Arial"/>
              </a:rPr>
              <a:t>li</a:t>
            </a:r>
            <a:r>
              <a:rPr lang="fi-FI" spc="-25" dirty="0">
                <a:cs typeface="Arial"/>
              </a:rPr>
              <a:t>n</a:t>
            </a:r>
            <a:r>
              <a:rPr lang="fi-FI" spc="-55" dirty="0">
                <a:cs typeface="Arial"/>
              </a:rPr>
              <a:t>/</a:t>
            </a:r>
            <a:r>
              <a:rPr lang="fi-FI" spc="5" dirty="0">
                <a:cs typeface="Arial"/>
              </a:rPr>
              <a:t>-</a:t>
            </a:r>
            <a:r>
              <a:rPr lang="fi-FI" spc="-30" dirty="0">
                <a:cs typeface="Arial"/>
              </a:rPr>
              <a:t>e</a:t>
            </a:r>
            <a:r>
              <a:rPr lang="fi-FI" spc="-15" dirty="0">
                <a:cs typeface="Arial"/>
              </a:rPr>
              <a:t>li</a:t>
            </a:r>
            <a:r>
              <a:rPr lang="fi-FI" spc="-20" dirty="0">
                <a:cs typeface="Arial"/>
              </a:rPr>
              <a:t>m</a:t>
            </a:r>
            <a:r>
              <a:rPr lang="fi-FI" dirty="0">
                <a:cs typeface="Arial"/>
              </a:rPr>
              <a:t>et </a:t>
            </a:r>
            <a:r>
              <a:rPr lang="fi-FI" spc="-25" dirty="0">
                <a:cs typeface="Arial"/>
              </a:rPr>
              <a:t>y</a:t>
            </a:r>
            <a:r>
              <a:rPr lang="fi-FI" spc="-15" dirty="0">
                <a:cs typeface="Arial"/>
              </a:rPr>
              <a:t>ll</a:t>
            </a:r>
            <a:r>
              <a:rPr lang="fi-FI" dirty="0">
                <a:cs typeface="Arial"/>
              </a:rPr>
              <a:t>äp</a:t>
            </a:r>
            <a:r>
              <a:rPr lang="fi-FI" spc="-15" dirty="0">
                <a:cs typeface="Arial"/>
              </a:rPr>
              <a:t>i</a:t>
            </a:r>
            <a:r>
              <a:rPr lang="fi-FI" spc="5" dirty="0">
                <a:cs typeface="Arial"/>
              </a:rPr>
              <a:t>t</a:t>
            </a:r>
            <a:r>
              <a:rPr lang="fi-FI" dirty="0">
                <a:cs typeface="Arial"/>
              </a:rPr>
              <a:t>ää</a:t>
            </a:r>
            <a:r>
              <a:rPr lang="fi-FI" spc="-65" dirty="0">
                <a:cs typeface="Arial"/>
              </a:rPr>
              <a:t> </a:t>
            </a:r>
            <a:r>
              <a:rPr lang="fi-FI" spc="-25" dirty="0">
                <a:cs typeface="Arial"/>
              </a:rPr>
              <a:t>v</a:t>
            </a:r>
            <a:r>
              <a:rPr lang="fi-FI" spc="-15" dirty="0">
                <a:cs typeface="Arial"/>
              </a:rPr>
              <a:t>i</a:t>
            </a:r>
            <a:r>
              <a:rPr lang="fi-FI" spc="5" dirty="0">
                <a:cs typeface="Arial"/>
              </a:rPr>
              <a:t>r</a:t>
            </a:r>
            <a:r>
              <a:rPr lang="fi-FI" dirty="0">
                <a:cs typeface="Arial"/>
              </a:rPr>
              <a:t>a</a:t>
            </a:r>
            <a:r>
              <a:rPr lang="fi-FI" spc="-15" dirty="0">
                <a:cs typeface="Arial"/>
              </a:rPr>
              <a:t>lli</a:t>
            </a:r>
            <a:r>
              <a:rPr lang="fi-FI" dirty="0">
                <a:cs typeface="Arial"/>
              </a:rPr>
              <a:t>s</a:t>
            </a:r>
            <a:r>
              <a:rPr lang="fi-FI" spc="10" dirty="0">
                <a:cs typeface="Arial"/>
              </a:rPr>
              <a:t>t</a:t>
            </a:r>
            <a:r>
              <a:rPr lang="fi-FI" dirty="0">
                <a:cs typeface="Arial"/>
              </a:rPr>
              <a:t>a</a:t>
            </a:r>
            <a:r>
              <a:rPr lang="fi-FI" spc="-85" dirty="0">
                <a:cs typeface="Arial"/>
              </a:rPr>
              <a:t> </a:t>
            </a:r>
            <a:r>
              <a:rPr lang="fi-FI" spc="5" dirty="0">
                <a:cs typeface="Arial"/>
              </a:rPr>
              <a:t>r</a:t>
            </a:r>
            <a:r>
              <a:rPr lang="fi-FI" dirty="0">
                <a:cs typeface="Arial"/>
              </a:rPr>
              <a:t>e</a:t>
            </a:r>
            <a:r>
              <a:rPr lang="fi-FI" spc="20" dirty="0">
                <a:cs typeface="Arial"/>
              </a:rPr>
              <a:t>k</a:t>
            </a:r>
            <a:r>
              <a:rPr lang="fi-FI" spc="-15" dirty="0">
                <a:cs typeface="Arial"/>
              </a:rPr>
              <a:t>i</a:t>
            </a:r>
            <a:r>
              <a:rPr lang="fi-FI" dirty="0">
                <a:cs typeface="Arial"/>
              </a:rPr>
              <a:t>s</a:t>
            </a:r>
            <a:r>
              <a:rPr lang="fi-FI" spc="-15" dirty="0">
                <a:cs typeface="Arial"/>
              </a:rPr>
              <a:t>t</a:t>
            </a:r>
            <a:r>
              <a:rPr lang="fi-FI" spc="-25" dirty="0">
                <a:cs typeface="Arial"/>
              </a:rPr>
              <a:t>e</a:t>
            </a:r>
            <a:r>
              <a:rPr lang="fi-FI" spc="5" dirty="0">
                <a:cs typeface="Arial"/>
              </a:rPr>
              <a:t>r</a:t>
            </a:r>
            <a:r>
              <a:rPr lang="fi-FI" spc="-15" dirty="0">
                <a:cs typeface="Arial"/>
              </a:rPr>
              <a:t>i</a:t>
            </a:r>
            <a:r>
              <a:rPr lang="fi-FI" spc="-25" dirty="0">
                <a:cs typeface="Arial"/>
              </a:rPr>
              <a:t>ä</a:t>
            </a:r>
            <a:r>
              <a:rPr lang="fi-FI" dirty="0">
                <a:cs typeface="Arial"/>
              </a:rPr>
              <a:t>,</a:t>
            </a:r>
            <a:r>
              <a:rPr lang="fi-FI" spc="-100" dirty="0">
                <a:cs typeface="Arial"/>
              </a:rPr>
              <a:t> </a:t>
            </a:r>
            <a:r>
              <a:rPr lang="fi-FI" spc="10" dirty="0">
                <a:cs typeface="Arial"/>
              </a:rPr>
              <a:t>j</a:t>
            </a:r>
            <a:r>
              <a:rPr lang="fi-FI" dirty="0">
                <a:cs typeface="Arial"/>
              </a:rPr>
              <a:t>o</a:t>
            </a:r>
            <a:r>
              <a:rPr lang="fi-FI" spc="20" dirty="0">
                <a:cs typeface="Arial"/>
              </a:rPr>
              <a:t>k</a:t>
            </a:r>
            <a:r>
              <a:rPr lang="fi-FI" dirty="0">
                <a:cs typeface="Arial"/>
              </a:rPr>
              <a:t>a</a:t>
            </a:r>
            <a:r>
              <a:rPr lang="fi-FI" spc="-85" dirty="0">
                <a:cs typeface="Arial"/>
              </a:rPr>
              <a:t> </a:t>
            </a:r>
            <a:r>
              <a:rPr lang="fi-FI" dirty="0">
                <a:cs typeface="Arial"/>
              </a:rPr>
              <a:t>s</a:t>
            </a:r>
            <a:r>
              <a:rPr lang="fi-FI" spc="-10" dirty="0">
                <a:cs typeface="Arial"/>
              </a:rPr>
              <a:t>i</a:t>
            </a:r>
            <a:r>
              <a:rPr lang="fi-FI" dirty="0">
                <a:cs typeface="Arial"/>
              </a:rPr>
              <a:t>sä</a:t>
            </a:r>
            <a:r>
              <a:rPr lang="fi-FI" spc="-10" dirty="0">
                <a:cs typeface="Arial"/>
              </a:rPr>
              <a:t>l</a:t>
            </a:r>
            <a:r>
              <a:rPr lang="fi-FI" spc="5" dirty="0">
                <a:cs typeface="Arial"/>
              </a:rPr>
              <a:t>t</a:t>
            </a:r>
            <a:r>
              <a:rPr lang="fi-FI" dirty="0">
                <a:cs typeface="Arial"/>
              </a:rPr>
              <a:t>ää</a:t>
            </a:r>
            <a:r>
              <a:rPr lang="fi-FI" spc="-90" dirty="0">
                <a:cs typeface="Arial"/>
              </a:rPr>
              <a:t> </a:t>
            </a:r>
            <a:r>
              <a:rPr lang="fi-FI" spc="5" dirty="0">
                <a:cs typeface="Arial"/>
              </a:rPr>
              <a:t>t</a:t>
            </a:r>
            <a:r>
              <a:rPr lang="fi-FI" spc="-15" dirty="0">
                <a:cs typeface="Arial"/>
              </a:rPr>
              <a:t>i</a:t>
            </a:r>
            <a:r>
              <a:rPr lang="fi-FI" dirty="0">
                <a:cs typeface="Arial"/>
              </a:rPr>
              <a:t>edot suunnittelijoiden </a:t>
            </a:r>
            <a:r>
              <a:rPr lang="fi-FI" spc="20" dirty="0">
                <a:cs typeface="Arial"/>
              </a:rPr>
              <a:t>k</a:t>
            </a:r>
            <a:r>
              <a:rPr lang="fi-FI" dirty="0">
                <a:cs typeface="Arial"/>
              </a:rPr>
              <a:t>ou</a:t>
            </a:r>
            <a:r>
              <a:rPr lang="fi-FI" spc="-20" dirty="0">
                <a:cs typeface="Arial"/>
              </a:rPr>
              <a:t>l</a:t>
            </a:r>
            <a:r>
              <a:rPr lang="fi-FI" dirty="0">
                <a:cs typeface="Arial"/>
              </a:rPr>
              <a:t>u</a:t>
            </a:r>
            <a:r>
              <a:rPr lang="fi-FI" spc="-20" dirty="0">
                <a:cs typeface="Arial"/>
              </a:rPr>
              <a:t>t</a:t>
            </a:r>
            <a:r>
              <a:rPr lang="fi-FI" spc="-30" dirty="0">
                <a:cs typeface="Arial"/>
              </a:rPr>
              <a:t>u</a:t>
            </a:r>
            <a:r>
              <a:rPr lang="fi-FI" dirty="0">
                <a:cs typeface="Arial"/>
              </a:rPr>
              <a:t>ks</a:t>
            </a:r>
            <a:r>
              <a:rPr lang="fi-FI" spc="-25" dirty="0">
                <a:cs typeface="Arial"/>
              </a:rPr>
              <a:t>e</a:t>
            </a:r>
            <a:r>
              <a:rPr lang="fi-FI" dirty="0">
                <a:cs typeface="Arial"/>
              </a:rPr>
              <a:t>s</a:t>
            </a:r>
            <a:r>
              <a:rPr lang="fi-FI" spc="-15" dirty="0">
                <a:cs typeface="Arial"/>
              </a:rPr>
              <a:t>t</a:t>
            </a:r>
            <a:r>
              <a:rPr lang="fi-FI" dirty="0">
                <a:cs typeface="Arial"/>
              </a:rPr>
              <a:t>a,</a:t>
            </a:r>
            <a:r>
              <a:rPr lang="fi-FI" spc="-105" dirty="0">
                <a:cs typeface="Arial"/>
              </a:rPr>
              <a:t> </a:t>
            </a:r>
            <a:r>
              <a:rPr lang="fi-FI" dirty="0">
                <a:cs typeface="Arial"/>
              </a:rPr>
              <a:t>e</a:t>
            </a:r>
            <a:r>
              <a:rPr lang="fi-FI" spc="5" dirty="0">
                <a:cs typeface="Arial"/>
              </a:rPr>
              <a:t>r</a:t>
            </a:r>
            <a:r>
              <a:rPr lang="fi-FI" spc="-15" dirty="0">
                <a:cs typeface="Arial"/>
              </a:rPr>
              <a:t>i</a:t>
            </a:r>
            <a:r>
              <a:rPr lang="fi-FI" spc="20" dirty="0">
                <a:cs typeface="Arial"/>
              </a:rPr>
              <a:t>k</a:t>
            </a:r>
            <a:r>
              <a:rPr lang="fi-FI" dirty="0">
                <a:cs typeface="Arial"/>
              </a:rPr>
              <a:t>o</a:t>
            </a:r>
            <a:r>
              <a:rPr lang="fi-FI" spc="-15" dirty="0">
                <a:cs typeface="Arial"/>
              </a:rPr>
              <a:t>i</a:t>
            </a:r>
            <a:r>
              <a:rPr lang="fi-FI" spc="-25" dirty="0">
                <a:cs typeface="Arial"/>
              </a:rPr>
              <a:t>s</a:t>
            </a:r>
            <a:r>
              <a:rPr lang="fi-FI" spc="-20" dirty="0">
                <a:cs typeface="Arial"/>
              </a:rPr>
              <a:t>t</a:t>
            </a:r>
            <a:r>
              <a:rPr lang="fi-FI" dirty="0">
                <a:cs typeface="Arial"/>
              </a:rPr>
              <a:t>u</a:t>
            </a:r>
            <a:r>
              <a:rPr lang="fi-FI" spc="-20" dirty="0">
                <a:cs typeface="Arial"/>
              </a:rPr>
              <a:t>m</a:t>
            </a:r>
            <a:r>
              <a:rPr lang="fi-FI" spc="-15" dirty="0">
                <a:cs typeface="Arial"/>
              </a:rPr>
              <a:t>i</a:t>
            </a:r>
            <a:r>
              <a:rPr lang="fi-FI" spc="-25" dirty="0">
                <a:cs typeface="Arial"/>
              </a:rPr>
              <a:t>s</a:t>
            </a:r>
            <a:r>
              <a:rPr lang="fi-FI" dirty="0">
                <a:cs typeface="Arial"/>
              </a:rPr>
              <a:t>e</a:t>
            </a:r>
            <a:r>
              <a:rPr lang="fi-FI" spc="-25" dirty="0">
                <a:cs typeface="Arial"/>
              </a:rPr>
              <a:t>s</a:t>
            </a:r>
            <a:r>
              <a:rPr lang="fi-FI" spc="-20" dirty="0">
                <a:cs typeface="Arial"/>
              </a:rPr>
              <a:t>t</a:t>
            </a:r>
            <a:r>
              <a:rPr lang="fi-FI" dirty="0">
                <a:cs typeface="Arial"/>
              </a:rPr>
              <a:t>a</a:t>
            </a:r>
            <a:r>
              <a:rPr lang="fi-FI" spc="-90" dirty="0">
                <a:cs typeface="Arial"/>
              </a:rPr>
              <a:t> </a:t>
            </a:r>
            <a:r>
              <a:rPr lang="fi-FI" spc="10" dirty="0">
                <a:cs typeface="Arial"/>
              </a:rPr>
              <a:t>j</a:t>
            </a:r>
            <a:r>
              <a:rPr lang="fi-FI" dirty="0">
                <a:cs typeface="Arial"/>
              </a:rPr>
              <a:t>a</a:t>
            </a:r>
            <a:r>
              <a:rPr lang="fi-FI" spc="-40" dirty="0">
                <a:cs typeface="Arial"/>
              </a:rPr>
              <a:t> </a:t>
            </a:r>
            <a:r>
              <a:rPr lang="fi-FI" spc="20" dirty="0">
                <a:cs typeface="Arial"/>
              </a:rPr>
              <a:t>k</a:t>
            </a:r>
            <a:r>
              <a:rPr lang="fi-FI" dirty="0">
                <a:cs typeface="Arial"/>
              </a:rPr>
              <a:t>oke</a:t>
            </a:r>
            <a:r>
              <a:rPr lang="fi-FI" spc="-20" dirty="0">
                <a:cs typeface="Arial"/>
              </a:rPr>
              <a:t>m</a:t>
            </a:r>
            <a:r>
              <a:rPr lang="fi-FI" spc="-30" dirty="0">
                <a:cs typeface="Arial"/>
              </a:rPr>
              <a:t>u</a:t>
            </a:r>
            <a:r>
              <a:rPr lang="fi-FI" dirty="0">
                <a:cs typeface="Arial"/>
              </a:rPr>
              <a:t>k</a:t>
            </a:r>
            <a:r>
              <a:rPr lang="fi-FI" spc="-25" dirty="0">
                <a:cs typeface="Arial"/>
              </a:rPr>
              <a:t>s</a:t>
            </a:r>
            <a:r>
              <a:rPr lang="fi-FI" dirty="0">
                <a:cs typeface="Arial"/>
              </a:rPr>
              <a:t>e</a:t>
            </a:r>
            <a:r>
              <a:rPr lang="fi-FI" spc="-25" dirty="0">
                <a:cs typeface="Arial"/>
              </a:rPr>
              <a:t>s</a:t>
            </a:r>
            <a:r>
              <a:rPr lang="fi-FI" spc="-20" dirty="0">
                <a:cs typeface="Arial"/>
              </a:rPr>
              <a:t>t</a:t>
            </a:r>
            <a:r>
              <a:rPr lang="fi-FI" dirty="0">
                <a:cs typeface="Arial"/>
              </a:rPr>
              <a:t>a </a:t>
            </a:r>
            <a:r>
              <a:rPr lang="fi-FI" spc="10" dirty="0">
                <a:cs typeface="Arial"/>
              </a:rPr>
              <a:t>j</a:t>
            </a:r>
            <a:r>
              <a:rPr lang="fi-FI" dirty="0">
                <a:cs typeface="Arial"/>
              </a:rPr>
              <a:t>a</a:t>
            </a:r>
            <a:r>
              <a:rPr lang="fi-FI" spc="-40" dirty="0">
                <a:cs typeface="Arial"/>
              </a:rPr>
              <a:t> </a:t>
            </a:r>
            <a:r>
              <a:rPr lang="fi-FI" dirty="0">
                <a:cs typeface="Arial"/>
              </a:rPr>
              <a:t>antaa</a:t>
            </a:r>
            <a:r>
              <a:rPr lang="fi-FI" spc="-90" dirty="0">
                <a:cs typeface="Arial"/>
              </a:rPr>
              <a:t> </a:t>
            </a:r>
            <a:r>
              <a:rPr lang="fi-FI" dirty="0">
                <a:cs typeface="Arial"/>
              </a:rPr>
              <a:t>p</a:t>
            </a:r>
            <a:r>
              <a:rPr lang="fi-FI" spc="-25" dirty="0">
                <a:cs typeface="Arial"/>
              </a:rPr>
              <a:t>yy</a:t>
            </a:r>
            <a:r>
              <a:rPr lang="fi-FI" dirty="0">
                <a:cs typeface="Arial"/>
              </a:rPr>
              <a:t>det</a:t>
            </a:r>
            <a:r>
              <a:rPr lang="fi-FI" spc="5" dirty="0">
                <a:cs typeface="Arial"/>
              </a:rPr>
              <a:t>t</a:t>
            </a:r>
            <a:r>
              <a:rPr lang="fi-FI" dirty="0">
                <a:cs typeface="Arial"/>
              </a:rPr>
              <a:t>äes</a:t>
            </a:r>
            <a:r>
              <a:rPr lang="fi-FI" spc="-25" dirty="0">
                <a:cs typeface="Arial"/>
              </a:rPr>
              <a:t>s</a:t>
            </a:r>
            <a:r>
              <a:rPr lang="fi-FI" dirty="0">
                <a:cs typeface="Arial"/>
              </a:rPr>
              <a:t>ä</a:t>
            </a:r>
            <a:r>
              <a:rPr lang="fi-FI" spc="-85" dirty="0">
                <a:cs typeface="Arial"/>
              </a:rPr>
              <a:t> </a:t>
            </a:r>
            <a:r>
              <a:rPr lang="fi-FI" spc="5" dirty="0">
                <a:cs typeface="Arial"/>
              </a:rPr>
              <a:t>t</a:t>
            </a:r>
            <a:r>
              <a:rPr lang="fi-FI" dirty="0">
                <a:cs typeface="Arial"/>
              </a:rPr>
              <a:t>od</a:t>
            </a:r>
            <a:r>
              <a:rPr lang="fi-FI" spc="-15" dirty="0">
                <a:cs typeface="Arial"/>
              </a:rPr>
              <a:t>i</a:t>
            </a:r>
            <a:r>
              <a:rPr lang="fi-FI" dirty="0">
                <a:cs typeface="Arial"/>
              </a:rPr>
              <a:t>s</a:t>
            </a:r>
            <a:r>
              <a:rPr lang="fi-FI" spc="10" dirty="0">
                <a:cs typeface="Arial"/>
              </a:rPr>
              <a:t>t</a:t>
            </a:r>
            <a:r>
              <a:rPr lang="fi-FI" spc="-25" dirty="0">
                <a:cs typeface="Arial"/>
              </a:rPr>
              <a:t>u</a:t>
            </a:r>
            <a:r>
              <a:rPr lang="fi-FI" dirty="0">
                <a:cs typeface="Arial"/>
              </a:rPr>
              <a:t>k</a:t>
            </a:r>
            <a:r>
              <a:rPr lang="fi-FI" spc="-20" dirty="0">
                <a:cs typeface="Arial"/>
              </a:rPr>
              <a:t>s</a:t>
            </a:r>
            <a:r>
              <a:rPr lang="fi-FI" dirty="0">
                <a:cs typeface="Arial"/>
              </a:rPr>
              <a:t>en </a:t>
            </a:r>
            <a:r>
              <a:rPr lang="fi-FI" spc="5" dirty="0">
                <a:cs typeface="Arial"/>
              </a:rPr>
              <a:t>r</a:t>
            </a:r>
            <a:r>
              <a:rPr lang="fi-FI" dirty="0">
                <a:cs typeface="Arial"/>
              </a:rPr>
              <a:t>e</a:t>
            </a:r>
            <a:r>
              <a:rPr lang="fi-FI" spc="15" dirty="0">
                <a:cs typeface="Arial"/>
              </a:rPr>
              <a:t>k</a:t>
            </a:r>
            <a:r>
              <a:rPr lang="fi-FI" spc="-15" dirty="0">
                <a:cs typeface="Arial"/>
              </a:rPr>
              <a:t>i</a:t>
            </a:r>
            <a:r>
              <a:rPr lang="fi-FI" dirty="0">
                <a:cs typeface="Arial"/>
              </a:rPr>
              <a:t>s</a:t>
            </a:r>
            <a:r>
              <a:rPr lang="fi-FI" spc="-15" dirty="0">
                <a:cs typeface="Arial"/>
              </a:rPr>
              <a:t>t</a:t>
            </a:r>
            <a:r>
              <a:rPr lang="fi-FI" spc="-30" dirty="0">
                <a:cs typeface="Arial"/>
              </a:rPr>
              <a:t>e</a:t>
            </a:r>
            <a:r>
              <a:rPr lang="fi-FI" spc="5" dirty="0">
                <a:cs typeface="Arial"/>
              </a:rPr>
              <a:t>r</a:t>
            </a:r>
            <a:r>
              <a:rPr lang="fi-FI" spc="-15" dirty="0">
                <a:cs typeface="Arial"/>
              </a:rPr>
              <a:t>i</a:t>
            </a:r>
            <a:r>
              <a:rPr lang="fi-FI" spc="-20" dirty="0">
                <a:cs typeface="Arial"/>
              </a:rPr>
              <a:t>t</a:t>
            </a:r>
            <a:r>
              <a:rPr lang="fi-FI" spc="-15" dirty="0">
                <a:cs typeface="Arial"/>
              </a:rPr>
              <a:t>i</a:t>
            </a:r>
            <a:r>
              <a:rPr lang="fi-FI" spc="-30" dirty="0">
                <a:cs typeface="Arial"/>
              </a:rPr>
              <a:t>e</a:t>
            </a:r>
            <a:r>
              <a:rPr lang="fi-FI" dirty="0">
                <a:cs typeface="Arial"/>
              </a:rPr>
              <a:t>d</a:t>
            </a:r>
            <a:r>
              <a:rPr lang="fi-FI" spc="-30" dirty="0">
                <a:cs typeface="Arial"/>
              </a:rPr>
              <a:t>o</a:t>
            </a:r>
            <a:r>
              <a:rPr lang="fi-FI" spc="-15" dirty="0">
                <a:cs typeface="Arial"/>
              </a:rPr>
              <a:t>i</a:t>
            </a:r>
            <a:r>
              <a:rPr lang="fi-FI" dirty="0">
                <a:cs typeface="Arial"/>
              </a:rPr>
              <a:t>s</a:t>
            </a:r>
            <a:r>
              <a:rPr lang="fi-FI" spc="-15" dirty="0">
                <a:cs typeface="Arial"/>
              </a:rPr>
              <a:t>t</a:t>
            </a:r>
            <a:r>
              <a:rPr lang="fi-FI" dirty="0">
                <a:cs typeface="Arial"/>
              </a:rPr>
              <a:t>a. </a:t>
            </a:r>
            <a:endParaRPr lang="fi-FI" dirty="0"/>
          </a:p>
          <a:p>
            <a:r>
              <a:rPr lang="fi-FI" dirty="0"/>
              <a:t>Valtuutetulla toimielimellä tulee olla:</a:t>
            </a:r>
          </a:p>
          <a:p>
            <a:pPr marL="523875" lvl="1" indent="-342900">
              <a:spcBef>
                <a:spcPts val="0"/>
              </a:spcBef>
              <a:buAutoNum type="arabicParenR"/>
            </a:pPr>
            <a:r>
              <a:rPr lang="fi-FI" dirty="0"/>
              <a:t>koulutukseltaan ja kokemukseltaan pätevä henkilökunta siltä suunnittelualalta tai työnjohtotehtävän alalta, jota hakemus koskee; </a:t>
            </a:r>
          </a:p>
          <a:p>
            <a:pPr marL="523875" lvl="1" indent="-342900">
              <a:spcBef>
                <a:spcPts val="0"/>
              </a:spcBef>
              <a:buAutoNum type="arabicParenR"/>
            </a:pPr>
            <a:r>
              <a:rPr lang="fi-FI" dirty="0"/>
              <a:t>tekniset, hallinnolliset ja taloudelliset edellytykset tehtävän hoitamiseen; </a:t>
            </a:r>
          </a:p>
          <a:p>
            <a:pPr marL="523875" lvl="1" indent="-342900">
              <a:spcBef>
                <a:spcPts val="0"/>
              </a:spcBef>
              <a:buAutoNum type="arabicParenR"/>
            </a:pPr>
            <a:r>
              <a:rPr lang="fi-FI" dirty="0"/>
              <a:t>laatujärjestelmä, jolla voidaan varmistaa todistuksen valmistelun ja myöntämisen perusteiden hyvän hallinnon ja hallinnon yleissäännösten mukaisuus.</a:t>
            </a:r>
          </a:p>
          <a:p>
            <a:pPr>
              <a:spcBef>
                <a:spcPts val="0"/>
              </a:spcBef>
            </a:pPr>
            <a:r>
              <a:rPr lang="fi-FI" dirty="0"/>
              <a:t>Valvonta:</a:t>
            </a:r>
          </a:p>
          <a:p>
            <a:pPr lvl="1">
              <a:spcBef>
                <a:spcPts val="0"/>
              </a:spcBef>
            </a:pPr>
            <a:r>
              <a:rPr lang="fi-FI" dirty="0"/>
              <a:t>Valtuutetun toimielimen toimintaa valvoo ympäristöministeriö.</a:t>
            </a:r>
          </a:p>
          <a:p>
            <a:pPr lvl="1">
              <a:spcBef>
                <a:spcPts val="0"/>
              </a:spcBef>
            </a:pPr>
            <a:r>
              <a:rPr lang="fi-FI" dirty="0"/>
              <a:t>Varoitus, toiminnan keskeyttäminen, valtuutuksen peruuttaminen </a:t>
            </a:r>
          </a:p>
          <a:p>
            <a:pPr>
              <a:spcBef>
                <a:spcPts val="0"/>
              </a:spcBef>
            </a:pPr>
            <a:r>
              <a:rPr lang="fi-FI" dirty="0"/>
              <a:t>Valtuutettu toimielin myöntää hakemuksesta todistuksen henkilön pätevyydestä toimia suunnittelijana tai työnjohtajana, todistus on voimassa enintään 7 vuotta.</a:t>
            </a:r>
          </a:p>
          <a:p>
            <a:pPr>
              <a:spcBef>
                <a:spcPts val="0"/>
              </a:spcBef>
            </a:pPr>
            <a:r>
              <a:rPr lang="fi-FI" dirty="0" err="1"/>
              <a:t>YM:llä</a:t>
            </a:r>
            <a:r>
              <a:rPr lang="fi-FI" dirty="0"/>
              <a:t> asetuksenantovaltuus maksuperusteista rekisterin pitämisestä</a:t>
            </a:r>
          </a:p>
          <a:p>
            <a:pPr lvl="1">
              <a:spcBef>
                <a:spcPts val="0"/>
              </a:spcBef>
            </a:pPr>
            <a:endParaRPr lang="fi-FI" dirty="0"/>
          </a:p>
          <a:p>
            <a:pPr>
              <a:spcBef>
                <a:spcPts val="0"/>
              </a:spcBef>
            </a:pPr>
            <a:endParaRPr lang="fi-FI" dirty="0"/>
          </a:p>
          <a:p>
            <a:endParaRPr lang="fi-FI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E53C16-2649-4D48-AFD3-9E32AB86C978}" type="slidenum">
              <a:rPr kumimoji="0" lang="fi-FI" sz="800" b="0" i="0" u="none" strike="noStrike" kern="1200" cap="none" spc="0" normalizeH="0" baseline="0" noProof="0" smtClean="0">
                <a:ln>
                  <a:noFill/>
                </a:ln>
                <a:solidFill>
                  <a:srgbClr val="2537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fi-FI" sz="800" b="0" i="0" u="none" strike="noStrike" kern="1200" cap="none" spc="0" normalizeH="0" baseline="0" noProof="0" dirty="0">
              <a:ln>
                <a:noFill/>
              </a:ln>
              <a:solidFill>
                <a:srgbClr val="25374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51769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39F072C-1DA6-4EE9-9982-60646CF9D1E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1" y="2034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39F072C-1DA6-4EE9-9982-60646CF9D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381" y="2034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>
            <a:extLst>
              <a:ext uri="{FF2B5EF4-FFF2-40B4-BE49-F238E27FC236}">
                <a16:creationId xmlns:a16="http://schemas.microsoft.com/office/drawing/2014/main" id="{D6C3C17B-6883-47F8-89D3-BBE5DA4ADC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822" y="308632"/>
            <a:ext cx="9717633" cy="1104408"/>
          </a:xfrm>
        </p:spPr>
        <p:txBody>
          <a:bodyPr vert="horz"/>
          <a:lstStyle/>
          <a:p>
            <a:r>
              <a:rPr lang="en-US" sz="2000" dirty="0" err="1"/>
              <a:t>Yhteenveto</a:t>
            </a:r>
            <a:r>
              <a:rPr lang="en-US" sz="2000" dirty="0"/>
              <a:t> </a:t>
            </a:r>
            <a:r>
              <a:rPr lang="fi-FI" sz="2000" dirty="0"/>
              <a:t>EU-tason ja kansallisen tason sääntelyn vaikutuksista rakentamiseen, rakennuksiin ja rakennusalan yrityksiin Suomessa</a:t>
            </a:r>
            <a:endParaRPr lang="en-US" sz="2000" dirty="0"/>
          </a:p>
        </p:txBody>
      </p:sp>
      <p:pic>
        <p:nvPicPr>
          <p:cNvPr id="16" name="Content Placeholder 15">
            <a:extLst>
              <a:ext uri="{FF2B5EF4-FFF2-40B4-BE49-F238E27FC236}">
                <a16:creationId xmlns:a16="http://schemas.microsoft.com/office/drawing/2014/main" id="{DAC5B590-35F7-436B-87B3-BC9C7000E31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159129" y="1125374"/>
            <a:ext cx="11921707" cy="5675221"/>
          </a:xfrm>
          <a:prstGeom prst="rect">
            <a:avLst/>
          </a:prstGeom>
        </p:spPr>
      </p:pic>
      <p:sp>
        <p:nvSpPr>
          <p:cNvPr id="2" name="Dian numeron paikkamerkki 1">
            <a:extLst>
              <a:ext uri="{FF2B5EF4-FFF2-40B4-BE49-F238E27FC236}">
                <a16:creationId xmlns:a16="http://schemas.microsoft.com/office/drawing/2014/main" id="{7C7C8B59-990B-77F8-DB18-6B6F58B82C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81002B-9E36-49F2-803E-4F1D6FC85B63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fi-FI" sz="900" b="0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2325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9FCD4AB7-8CB1-3CF5-09E0-D0A6E793D6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Onko kaikki valmista 1.1.2025?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D57107EA-6B2C-9CBF-3BAE-FC3B35E4EAD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i-FI" dirty="0"/>
              <a:t>Rakentamislain korjaaminen venyttää  kaikkea asetusvalmistelua</a:t>
            </a:r>
          </a:p>
          <a:p>
            <a:endParaRPr lang="fi-FI" dirty="0"/>
          </a:p>
          <a:p>
            <a:r>
              <a:rPr lang="fi-FI" dirty="0"/>
              <a:t>Rakentaminen kehittyy eteenpäin nopeammin kuin kansallinen lainsäädäntö</a:t>
            </a:r>
          </a:p>
          <a:p>
            <a:r>
              <a:rPr lang="fi-FI" dirty="0"/>
              <a:t>Toivottavasti päästään pikkuhiljaa eroon sanonnasta ”sääntelyn minimi on rakentamisen maksimi”</a:t>
            </a:r>
          </a:p>
          <a:p>
            <a:endParaRPr lang="fi-FI" dirty="0"/>
          </a:p>
          <a:p>
            <a:r>
              <a:rPr lang="fi-FI" dirty="0"/>
              <a:t>2020-luvulla erityisesti vähähiilisyyteen, kiertotalouteen ja digitalisaatioon liittyvät vaatimukset tulevat etenemään paljon, eikä vauhti hiljene jatkossakaan</a:t>
            </a:r>
          </a:p>
          <a:p>
            <a:endParaRPr lang="fi-FI" dirty="0"/>
          </a:p>
          <a:p>
            <a:endParaRPr lang="fi-FI" dirty="0"/>
          </a:p>
          <a:p>
            <a:endParaRPr lang="fi-FI" dirty="0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9AFF7CD7-726F-D561-EF81-51B60C7744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D61EF7-2460-4EE9-A031-27FEBC4F9A95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fi-FI" sz="900" b="0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52479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E068267B-9F16-EB19-AC71-6646A228BB1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i-FI" dirty="0"/>
              <a:t>Kiitoksia!</a:t>
            </a:r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BBE4D99E-3085-9219-1BDB-F238B6D696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D61EF7-2460-4EE9-A031-27FEBC4F9A95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noFill/>
                <a:effectLst/>
                <a:uLnTx/>
                <a:uFillTx/>
                <a:latin typeface="Avenir Next LT Pro Dem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fi-FI" sz="900" b="0" i="0" u="none" strike="noStrike" kern="1200" cap="none" spc="0" normalizeH="0" baseline="0" noProof="0">
              <a:ln>
                <a:noFill/>
              </a:ln>
              <a:noFill/>
              <a:effectLst/>
              <a:uLnTx/>
              <a:uFillTx/>
              <a:latin typeface="Avenir Next LT Pro Demi"/>
              <a:ea typeface="+mn-ea"/>
              <a:cs typeface="+mn-cs"/>
            </a:endParaRPr>
          </a:p>
        </p:txBody>
      </p:sp>
      <p:sp>
        <p:nvSpPr>
          <p:cNvPr id="6" name="Tekstin paikkamerkki 5">
            <a:extLst>
              <a:ext uri="{FF2B5EF4-FFF2-40B4-BE49-F238E27FC236}">
                <a16:creationId xmlns:a16="http://schemas.microsoft.com/office/drawing/2014/main" id="{4431B942-425D-7CE1-C298-5CFCCBD4DF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fi-FI" dirty="0"/>
              <a:t>jani.kemppainen@rt.fi</a:t>
            </a:r>
          </a:p>
        </p:txBody>
      </p:sp>
    </p:spTree>
    <p:extLst>
      <p:ext uri="{BB962C8B-B14F-4D97-AF65-F5344CB8AC3E}">
        <p14:creationId xmlns:p14="http://schemas.microsoft.com/office/powerpoint/2010/main" val="13900181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13E10214-A1A5-DBD4-EACA-C348F44AA2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D61EF7-2460-4EE9-A031-27FEBC4F9A95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i-FI" sz="900" b="0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</p:txBody>
      </p:sp>
      <p:sp>
        <p:nvSpPr>
          <p:cNvPr id="7" name="Otsikko 1">
            <a:extLst>
              <a:ext uri="{FF2B5EF4-FFF2-40B4-BE49-F238E27FC236}">
                <a16:creationId xmlns:a16="http://schemas.microsoft.com/office/drawing/2014/main" id="{7C4B8CC7-71B7-08C7-F7B9-C1DFDD29594E}"/>
              </a:ext>
            </a:extLst>
          </p:cNvPr>
          <p:cNvSpPr txBox="1">
            <a:spLocks/>
          </p:cNvSpPr>
          <p:nvPr/>
        </p:nvSpPr>
        <p:spPr>
          <a:xfrm>
            <a:off x="334479" y="365130"/>
            <a:ext cx="9843782" cy="1335733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3000" b="0" i="0" u="none" strike="noStrike" kern="1200" cap="none" spc="0" normalizeH="0" baseline="0" noProof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 Demi"/>
                <a:ea typeface="+mj-ea"/>
                <a:cs typeface="+mj-cs"/>
              </a:rPr>
              <a:t>Jani Kemppainen</a:t>
            </a:r>
            <a:endParaRPr kumimoji="0" lang="fi-FI" sz="3000" b="0" i="0" u="none" strike="noStrike" kern="1200" cap="none" spc="0" normalizeH="0" baseline="0" noProof="0" dirty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 Demi"/>
              <a:ea typeface="+mj-ea"/>
              <a:cs typeface="+mj-cs"/>
            </a:endParaRPr>
          </a:p>
        </p:txBody>
      </p:sp>
      <p:sp>
        <p:nvSpPr>
          <p:cNvPr id="8" name="Sisällön paikkamerkki 2">
            <a:extLst>
              <a:ext uri="{FF2B5EF4-FFF2-40B4-BE49-F238E27FC236}">
                <a16:creationId xmlns:a16="http://schemas.microsoft.com/office/drawing/2014/main" id="{EBF329CD-5EC7-84FF-B82E-70BC154E3DF9}"/>
              </a:ext>
            </a:extLst>
          </p:cNvPr>
          <p:cNvSpPr txBox="1">
            <a:spLocks/>
          </p:cNvSpPr>
          <p:nvPr/>
        </p:nvSpPr>
        <p:spPr>
          <a:xfrm>
            <a:off x="335982" y="1390918"/>
            <a:ext cx="5879855" cy="4774223"/>
          </a:xfrm>
          <a:prstGeom prst="rect">
            <a:avLst/>
          </a:prstGeom>
        </p:spPr>
        <p:txBody>
          <a:bodyPr>
            <a:normAutofit/>
          </a:bodyPr>
          <a:lstStyle>
            <a:lvl1pPr marL="2667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865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90600" indent="-2762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43025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04975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66925" indent="-2762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1935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81300" indent="-2667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43250" indent="-2762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marR="0" lvl="0" indent="-2667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8385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siamies, DI</a:t>
            </a:r>
          </a:p>
          <a:p>
            <a:pPr marL="628650" marR="0" lvl="1" indent="-2667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8385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Rakentamisen kehitys</a:t>
            </a:r>
          </a:p>
          <a:p>
            <a:pPr marL="990600" marR="0" lvl="2" indent="-27622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8385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Rakentamisen laatu</a:t>
            </a:r>
          </a:p>
          <a:p>
            <a:pPr marL="990600" marR="0" lvl="2" indent="-27622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8385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Työmaiden tuotanto</a:t>
            </a:r>
          </a:p>
          <a:p>
            <a:pPr marL="990600" marR="0" lvl="2" indent="-27622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8385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Yhteistoiminta rakennushankkeessa</a:t>
            </a:r>
          </a:p>
          <a:p>
            <a:pPr marL="990600" marR="0" lvl="2" indent="-27622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8385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Sisäilma-asiat ja kosteudenhallinta</a:t>
            </a:r>
          </a:p>
          <a:p>
            <a:pPr marL="990600" marR="0" lvl="2" indent="-27622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8385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Digitalisaatio, tietomallistandardointi CEN/TC 442</a:t>
            </a:r>
          </a:p>
          <a:p>
            <a:pPr marL="990600" marR="0" lvl="2" indent="-27622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8385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Vähähiilisyys </a:t>
            </a:r>
          </a:p>
          <a:p>
            <a:pPr marL="628650" marR="0" lvl="1" indent="-2667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8385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Määräykset ja ohjeet</a:t>
            </a:r>
          </a:p>
          <a:p>
            <a:pPr marL="990600" marR="0" lvl="2" indent="-27622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8385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Lainsäädäntö</a:t>
            </a:r>
          </a:p>
          <a:p>
            <a:pPr marL="990600" marR="0" lvl="2" indent="-27622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8385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Alan ohjeistukset, RYL, RIL-oppaat, RT-kortit</a:t>
            </a:r>
          </a:p>
          <a:p>
            <a:pPr marL="990600" marR="0" lvl="2" indent="-27622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183858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Rakennusvalvontojen linjaukset</a:t>
            </a:r>
          </a:p>
        </p:txBody>
      </p:sp>
      <p:pic>
        <p:nvPicPr>
          <p:cNvPr id="12" name="Kuva 11" descr="Kuva, joka sisältää kohteen henkilö, mies, vaatetus, seisominen&#10;&#10;Kuvaus luotu automaattisesti">
            <a:extLst>
              <a:ext uri="{FF2B5EF4-FFF2-40B4-BE49-F238E27FC236}">
                <a16:creationId xmlns:a16="http://schemas.microsoft.com/office/drawing/2014/main" id="{95DF8761-7137-5FDF-09BD-176152124E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66741" y="895"/>
            <a:ext cx="2991594" cy="6856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45454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B23649E0-8D56-FCEE-F774-922569E7F2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MRL-uudistus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3280489A-4B8D-6FC6-E159-A0E60479C6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341438"/>
            <a:ext cx="10008493" cy="4751387"/>
          </a:xfrm>
        </p:spPr>
        <p:txBody>
          <a:bodyPr/>
          <a:lstStyle/>
          <a:p>
            <a:r>
              <a:rPr lang="fi-FI" dirty="0"/>
              <a:t>Tavoitteena saattaa 20 vuotta vanha laki ajan tasalle</a:t>
            </a:r>
          </a:p>
          <a:p>
            <a:r>
              <a:rPr lang="fi-FI" dirty="0"/>
              <a:t>Käynnistyi virallisesti huhtikuussa 2018, kahden hallituskauden aikana valmiiksi</a:t>
            </a:r>
          </a:p>
          <a:p>
            <a:r>
              <a:rPr lang="fi-FI" dirty="0"/>
              <a:t>Parlamentaarinen seurantaryhmä vaalien ylittämiseksi hallitusti</a:t>
            </a:r>
          </a:p>
          <a:p>
            <a:r>
              <a:rPr lang="fi-FI" dirty="0"/>
              <a:t>Työryhmä, jossa kuusi eri jaostoa</a:t>
            </a:r>
          </a:p>
          <a:p>
            <a:r>
              <a:rPr lang="fi-FI" dirty="0"/>
              <a:t>Sidosryhmäfoorumi alan toimijoiden sitouttamiseksi</a:t>
            </a:r>
          </a:p>
          <a:p>
            <a:endParaRPr lang="fi-FI" dirty="0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5653CA65-5095-CCEE-2565-F4D883D64C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D61EF7-2460-4EE9-A031-27FEBC4F9A95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fi-FI" sz="900" b="0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</p:txBody>
      </p:sp>
      <p:pic>
        <p:nvPicPr>
          <p:cNvPr id="7" name="Kuva 6">
            <a:extLst>
              <a:ext uri="{FF2B5EF4-FFF2-40B4-BE49-F238E27FC236}">
                <a16:creationId xmlns:a16="http://schemas.microsoft.com/office/drawing/2014/main" id="{F6737377-BE7D-1483-6EB5-72775D60E81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1624" y="3142718"/>
            <a:ext cx="7767784" cy="3381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10914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7FD83124-6CCE-C535-C54B-C9E0FE1C88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Kaavoitus- ja rakentamislaista Rakentamislakiin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6955ECBE-9D70-C265-E9D4-F6D73C763D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980728"/>
            <a:ext cx="10008493" cy="5112097"/>
          </a:xfrm>
        </p:spPr>
        <p:txBody>
          <a:bodyPr/>
          <a:lstStyle/>
          <a:p>
            <a:r>
              <a:rPr lang="fi-FI" dirty="0"/>
              <a:t>KRL lausuntokierros syksyllä 2021</a:t>
            </a:r>
          </a:p>
          <a:p>
            <a:pPr lvl="1"/>
            <a:r>
              <a:rPr lang="fi-FI" dirty="0"/>
              <a:t>10 viikkoa aikaa</a:t>
            </a:r>
          </a:p>
          <a:p>
            <a:pPr lvl="1"/>
            <a:r>
              <a:rPr lang="fi-FI" dirty="0"/>
              <a:t>Lähes 800 sivua tekstiä</a:t>
            </a:r>
          </a:p>
          <a:p>
            <a:pPr lvl="1"/>
            <a:r>
              <a:rPr lang="fi-FI" dirty="0"/>
              <a:t>Lähes 400 pykälää</a:t>
            </a:r>
          </a:p>
          <a:p>
            <a:pPr lvl="1"/>
            <a:r>
              <a:rPr lang="fi-FI" dirty="0"/>
              <a:t>Muutoksia 18 muuhun lakiin</a:t>
            </a:r>
          </a:p>
          <a:p>
            <a:r>
              <a:rPr lang="fi-FI" dirty="0"/>
              <a:t>Lausuntoja annettiin 549 kappaletta</a:t>
            </a:r>
          </a:p>
          <a:p>
            <a:pPr lvl="1"/>
            <a:r>
              <a:rPr lang="fi-FI" dirty="0"/>
              <a:t>Lainuudistuksen tavoitteita pidettiin hyvinä, mutta lakiluonnos ei monien mielestä ole niiden mukainen</a:t>
            </a:r>
          </a:p>
          <a:p>
            <a:pPr lvl="1"/>
            <a:r>
              <a:rPr lang="fi-FI" dirty="0"/>
              <a:t>VM: Vaikutusarvioita (mm. valtiontalous) ei oltu tehty riittävästi</a:t>
            </a:r>
          </a:p>
          <a:p>
            <a:pPr lvl="1"/>
            <a:r>
              <a:rPr lang="fi-FI" dirty="0"/>
              <a:t>Eduskunnan oikeusasiamies: Lakiuudistukseen osallistuneiden lukuisten asiantuntijoiden antama panos ei näytä tulleen dokumentoiduksi työryhmätyötä koskevan raportin tai edes muistioiden muodossa </a:t>
            </a:r>
          </a:p>
          <a:p>
            <a:pPr lvl="1"/>
            <a:r>
              <a:rPr lang="fi-FI" dirty="0"/>
              <a:t>Kritiikki ja lausuntojen erimielisyys osui erityisesti kaavoitukseen ja maankäyttöön, joten maaliskuussa 2022 YM ilmoitti vievänsä eteenpäin ainoastaan rakentamista ja digitalisaatiota koskevat uudistukset</a:t>
            </a:r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AB569560-9679-201B-48CE-B58BE33E1C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D61EF7-2460-4EE9-A031-27FEBC4F9A95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fi-FI" sz="900" b="0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307261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DCA81652-1889-5C2E-1FC5-02BF922E6B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Rakentamislaki hyväksyttiin viime tipassa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36E72F17-4B8B-8DDA-9572-4A71CA41BA8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1341438"/>
            <a:ext cx="10008493" cy="4751387"/>
          </a:xfrm>
        </p:spPr>
        <p:txBody>
          <a:bodyPr/>
          <a:lstStyle/>
          <a:p>
            <a:r>
              <a:rPr lang="fi-FI" dirty="0" err="1"/>
              <a:t>KRL:sta</a:t>
            </a:r>
            <a:r>
              <a:rPr lang="fi-FI" dirty="0"/>
              <a:t> lohkaistua Rakentamislakia ei laitettu enää uudelle lausuntokierrokselle, vaikka lähes kaikki KIRA-alan toimijat sitä vaativat</a:t>
            </a:r>
          </a:p>
          <a:p>
            <a:pPr lvl="1"/>
            <a:r>
              <a:rPr lang="fi-FI" dirty="0"/>
              <a:t>Myös lainsäädännön arviointineuvosto totesi kesäkuussa -22, että uusi lausuntokierros olisi pitänyt järjestää</a:t>
            </a:r>
          </a:p>
          <a:p>
            <a:pPr lvl="1"/>
            <a:r>
              <a:rPr lang="fi-FI" dirty="0"/>
              <a:t>YM totesi, että jos lausuntokierros olisi järjestetty, ei laki olisi ehtinyt läpi eduskunnasta ennen eduskuntavaaleja</a:t>
            </a:r>
          </a:p>
          <a:p>
            <a:r>
              <a:rPr lang="fi-FI" dirty="0"/>
              <a:t>Rakentamislaki ja siihen liittyvät liitelait hyväksyttiin 1.3.2023  (HE139/2022) </a:t>
            </a:r>
          </a:p>
          <a:p>
            <a:pPr lvl="1"/>
            <a:r>
              <a:rPr lang="fi-FI" dirty="0"/>
              <a:t>Lakipaketti korvaa maankäyttö- ja rakentamislain rakentamisen osion.</a:t>
            </a:r>
          </a:p>
          <a:p>
            <a:pPr lvl="1"/>
            <a:r>
              <a:rPr lang="fi-FI" dirty="0"/>
              <a:t>Samalla nykyisen MRL:n maankäyttöä koskevan osion nimeksi tulee alueidenkäyttölaki. </a:t>
            </a:r>
          </a:p>
          <a:p>
            <a:pPr lvl="1"/>
            <a:r>
              <a:rPr lang="fi-FI" dirty="0"/>
              <a:t>Täysistunnon äänestyksen tulos: jaa 102, ei 76; poissa 21 </a:t>
            </a:r>
          </a:p>
          <a:p>
            <a:pPr lvl="1"/>
            <a:r>
              <a:rPr lang="fi-FI" dirty="0"/>
              <a:t>Presidentin vahvistus toukokuussa</a:t>
            </a:r>
          </a:p>
          <a:p>
            <a:pPr lvl="1"/>
            <a:r>
              <a:rPr lang="fi-FI" dirty="0"/>
              <a:t>Lait voimaan 1.1.2025.</a:t>
            </a:r>
          </a:p>
          <a:p>
            <a:endParaRPr lang="fi-FI" dirty="0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313E41AB-EF83-C627-0375-AF55FEB809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D61EF7-2460-4EE9-A031-27FEBC4F9A95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i-FI" sz="900" b="0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10793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702E27BC-0CF1-103C-1263-935AFC2B20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Eduskunnan ympäristövaliokunnan lausuma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40E98134-D072-15C0-8F36-C5ACE3E8809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i-FI" sz="2000" dirty="0"/>
              <a:t>”Vaikka esitykseen sisältyviä kysymyksiä oli pitkään valmisteltu monijäsenisessä toimielimessä ja monipuolisesti sidosryhmiä </a:t>
            </a:r>
            <a:r>
              <a:rPr lang="fi-FI" sz="2000" dirty="0" err="1"/>
              <a:t>osallistaen</a:t>
            </a:r>
            <a:r>
              <a:rPr lang="fi-FI" sz="2000" dirty="0"/>
              <a:t>, </a:t>
            </a:r>
            <a:r>
              <a:rPr lang="fi-FI" sz="2000" b="1" dirty="0"/>
              <a:t>esityksestä ei järjestetty varsinaista lausuntokierrosta sen jälkeen, kun säännökset oli jaettu kahteen lakiehdotukseen. Menettelyä on kritisoitu valiokunnan saamissa lausunnoissa, ja valiokunta pitää tätä kritiikkiä perusteltuna</a:t>
            </a:r>
            <a:r>
              <a:rPr lang="fi-FI" sz="2000" dirty="0"/>
              <a:t>. Lisäksi valiokunnan käsityksen mukaan kaavoitusta koskevat säännökset olisi tullut uudistaa ensin, sillä rakentaminen perustuu kaavoitukseen.”</a:t>
            </a:r>
          </a:p>
          <a:p>
            <a:r>
              <a:rPr lang="fi-FI" sz="2000" dirty="0"/>
              <a:t>Valiokunta katsoo, että </a:t>
            </a:r>
            <a:r>
              <a:rPr lang="fi-FI" sz="2000" b="1" dirty="0"/>
              <a:t>ympäristöministeriön tulee kiinnittää huomiota lainvalmistelun laatuun ja lainvalmisteluprosessia koskevan ohjeistuksen noudattamiseen</a:t>
            </a:r>
            <a:r>
              <a:rPr lang="fi-FI" sz="2000" dirty="0"/>
              <a:t>. </a:t>
            </a:r>
          </a:p>
          <a:p>
            <a:r>
              <a:rPr lang="fi-FI" sz="2000" dirty="0"/>
              <a:t>Valiokunta pitää välttämättömänä, että alueidenkäyttöä koskevien säännösten uudistus ja </a:t>
            </a:r>
            <a:r>
              <a:rPr lang="fi-FI" sz="2000" b="1" dirty="0"/>
              <a:t>rakentamislain nojalla annettavat asetukset valmistellaan huolellisesti ja </a:t>
            </a:r>
            <a:r>
              <a:rPr lang="fi-FI" sz="2000" b="1" dirty="0" err="1"/>
              <a:t>osallistamalla</a:t>
            </a:r>
            <a:r>
              <a:rPr lang="fi-FI" sz="2000" b="1" dirty="0"/>
              <a:t> sidosryhmät aidosti valmistelutyöhön</a:t>
            </a:r>
            <a:r>
              <a:rPr lang="fi-FI" sz="2000" dirty="0"/>
              <a:t>. ”</a:t>
            </a:r>
          </a:p>
          <a:p>
            <a:endParaRPr lang="fi-FI" sz="2000" dirty="0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491A6C5C-00DB-30D1-3885-C4304E6452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D61EF7-2460-4EE9-A031-27FEBC4F9A95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i-FI" sz="900" b="0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96440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B554513D-E854-D8E0-0936-AF1F16DE2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Rakentamislaki astuu voimaan 1.1.2025, vai astuuko?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9B28A79D-8ED2-294E-FC89-730993FA7AB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i-FI" dirty="0" err="1"/>
              <a:t>Orpon</a:t>
            </a:r>
            <a:r>
              <a:rPr lang="fi-FI" dirty="0"/>
              <a:t> hallitusohjelma: Hallitus korjaa säädettyä rakentamislakia niin, että hallinnollinen taakka kevenee, byrokratia vähenee, valitusoikeus selkeytyy sekä päävastuullisen toteuttajan vastuu täsmentyy. Määritellään lakiin rakennuslupien käsittelyaikatakuu.</a:t>
            </a:r>
          </a:p>
          <a:p>
            <a:endParaRPr lang="fi-FI" dirty="0"/>
          </a:p>
          <a:p>
            <a:r>
              <a:rPr lang="fi-FI" dirty="0"/>
              <a:t>Lain korjausaikataulua ei tiedetä</a:t>
            </a:r>
          </a:p>
          <a:p>
            <a:r>
              <a:rPr lang="fi-FI" dirty="0"/>
              <a:t>KIRA-alan toimijat ovat lähettäneet ministeriöön omia ehdotuksiaan korjausten kohteiksi</a:t>
            </a:r>
          </a:p>
          <a:p>
            <a:endParaRPr lang="fi-FI" dirty="0"/>
          </a:p>
          <a:p>
            <a:r>
              <a:rPr lang="fi-FI" dirty="0"/>
              <a:t>Lain voimaanastuminen riippuu siitä, kuinka paljon ja nopeasti lakia uudistetaan</a:t>
            </a:r>
          </a:p>
          <a:p>
            <a:r>
              <a:rPr lang="fi-FI" dirty="0"/>
              <a:t>Asetusten valmistelu on nyt ainakin osin keskeytynyt</a:t>
            </a:r>
          </a:p>
          <a:p>
            <a:endParaRPr lang="fi-FI" dirty="0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D6566BB3-72BD-04E4-BD8A-88C84B4CC7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D61EF7-2460-4EE9-A031-27FEBC4F9A95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i-FI" sz="900" b="0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47342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D5C0F22A-72A2-5A72-118A-079AF6A3EC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188641"/>
            <a:ext cx="10008494" cy="1152798"/>
          </a:xfrm>
        </p:spPr>
        <p:txBody>
          <a:bodyPr/>
          <a:lstStyle/>
          <a:p>
            <a:r>
              <a:rPr lang="fi-FI" dirty="0"/>
              <a:t>Asetusvalmistelu on alkanut, tekemistä riittää</a:t>
            </a:r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76819CD-227E-117F-2BB1-4DDEB4D39C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987" y="836712"/>
            <a:ext cx="10008493" cy="5256113"/>
          </a:xfrm>
        </p:spPr>
        <p:txBody>
          <a:bodyPr/>
          <a:lstStyle/>
          <a:p>
            <a:r>
              <a:rPr lang="fi-FI" dirty="0"/>
              <a:t>Tällä hetkellä meneillään useiden asetusten valmistelu</a:t>
            </a:r>
          </a:p>
          <a:p>
            <a:pPr lvl="1"/>
            <a:r>
              <a:rPr lang="fi-FI" dirty="0" err="1"/>
              <a:t>YmA</a:t>
            </a:r>
            <a:r>
              <a:rPr lang="fi-FI" dirty="0"/>
              <a:t> purkumateriaali- ja rakennusjäteselvityksestä (</a:t>
            </a:r>
            <a:r>
              <a:rPr lang="fi-FI" dirty="0" err="1"/>
              <a:t>RakL</a:t>
            </a:r>
            <a:r>
              <a:rPr lang="fi-FI" dirty="0"/>
              <a:t> 16§)</a:t>
            </a:r>
          </a:p>
          <a:p>
            <a:pPr lvl="1"/>
            <a:r>
              <a:rPr lang="fi-FI" dirty="0" err="1">
                <a:solidFill>
                  <a:srgbClr val="FF0000"/>
                </a:solidFill>
              </a:rPr>
              <a:t>YmA</a:t>
            </a:r>
            <a:r>
              <a:rPr lang="fi-FI" dirty="0">
                <a:solidFill>
                  <a:srgbClr val="FF0000"/>
                </a:solidFill>
              </a:rPr>
              <a:t> rakennuksen ilmastoselvityksestä ja materiaaliselosteesta (</a:t>
            </a:r>
            <a:r>
              <a:rPr lang="fi-FI" dirty="0" err="1">
                <a:solidFill>
                  <a:srgbClr val="FF0000"/>
                </a:solidFill>
              </a:rPr>
              <a:t>RakL</a:t>
            </a:r>
            <a:r>
              <a:rPr lang="fi-FI" dirty="0">
                <a:solidFill>
                  <a:srgbClr val="FF0000"/>
                </a:solidFill>
              </a:rPr>
              <a:t> 38§, 39§)</a:t>
            </a:r>
          </a:p>
          <a:p>
            <a:pPr lvl="1"/>
            <a:r>
              <a:rPr lang="fi-FI" dirty="0" err="1"/>
              <a:t>YmA</a:t>
            </a:r>
            <a:r>
              <a:rPr lang="fi-FI" dirty="0"/>
              <a:t> rakennuksen tietomallista (</a:t>
            </a:r>
            <a:r>
              <a:rPr lang="fi-FI" dirty="0" err="1"/>
              <a:t>RakL</a:t>
            </a:r>
            <a:r>
              <a:rPr lang="fi-FI" dirty="0"/>
              <a:t> 60§, 61§, 68§, 69§, 71§, 73§)</a:t>
            </a:r>
          </a:p>
          <a:p>
            <a:pPr lvl="1"/>
            <a:r>
              <a:rPr lang="fi-FI" dirty="0" err="1"/>
              <a:t>YmA</a:t>
            </a:r>
            <a:r>
              <a:rPr lang="fi-FI" dirty="0"/>
              <a:t> asuin-, majoitus- ja työtiloista (</a:t>
            </a:r>
            <a:r>
              <a:rPr lang="fi-FI" dirty="0" err="1"/>
              <a:t>RakL</a:t>
            </a:r>
            <a:r>
              <a:rPr lang="fi-FI" dirty="0"/>
              <a:t> 40§)</a:t>
            </a:r>
          </a:p>
          <a:p>
            <a:r>
              <a:rPr lang="fi-FI" dirty="0"/>
              <a:t>Lisäksi tarvitaan ainakin</a:t>
            </a:r>
          </a:p>
          <a:p>
            <a:pPr lvl="1"/>
            <a:r>
              <a:rPr lang="fi-FI" dirty="0" err="1"/>
              <a:t>RakL</a:t>
            </a:r>
            <a:r>
              <a:rPr lang="fi-FI" dirty="0"/>
              <a:t> 15§ </a:t>
            </a:r>
            <a:r>
              <a:rPr lang="fi-FI" dirty="0" err="1"/>
              <a:t>YmA</a:t>
            </a:r>
            <a:r>
              <a:rPr lang="fi-FI" dirty="0"/>
              <a:t> kansallisesta päästötietokannasta</a:t>
            </a:r>
          </a:p>
          <a:p>
            <a:pPr lvl="1"/>
            <a:r>
              <a:rPr lang="fi-FI" dirty="0" err="1"/>
              <a:t>RakL</a:t>
            </a:r>
            <a:r>
              <a:rPr lang="fi-FI" dirty="0"/>
              <a:t> 38§ </a:t>
            </a:r>
            <a:r>
              <a:rPr lang="fi-FI" dirty="0" err="1"/>
              <a:t>VnA</a:t>
            </a:r>
            <a:r>
              <a:rPr lang="fi-FI" dirty="0"/>
              <a:t> Uuden rakennuksen hiilijalanjäljen raja-arvoista</a:t>
            </a:r>
          </a:p>
          <a:p>
            <a:pPr lvl="1"/>
            <a:r>
              <a:rPr lang="fi-FI" dirty="0" err="1"/>
              <a:t>RakL</a:t>
            </a:r>
            <a:r>
              <a:rPr lang="fi-FI" dirty="0"/>
              <a:t> 101§ </a:t>
            </a:r>
            <a:r>
              <a:rPr lang="fi-FI" dirty="0" err="1"/>
              <a:t>VnA</a:t>
            </a:r>
            <a:r>
              <a:rPr lang="fi-FI" dirty="0"/>
              <a:t> Rakentamishankkeen vaativuudesta</a:t>
            </a:r>
          </a:p>
          <a:p>
            <a:pPr lvl="1"/>
            <a:r>
              <a:rPr lang="fi-FI" dirty="0" err="1"/>
              <a:t>RakL</a:t>
            </a:r>
            <a:r>
              <a:rPr lang="fi-FI" dirty="0"/>
              <a:t> 103§ </a:t>
            </a:r>
            <a:r>
              <a:rPr lang="fi-FI" dirty="0" err="1"/>
              <a:t>VnA</a:t>
            </a:r>
            <a:r>
              <a:rPr lang="fi-FI" dirty="0"/>
              <a:t> Rakennustarkastajan kelpoisuusvaatimuksista ja kelpoisuuden ylläpidosta (tällä hetkellä MRA 4§)</a:t>
            </a:r>
          </a:p>
          <a:p>
            <a:pPr lvl="1"/>
            <a:r>
              <a:rPr lang="fi-FI" dirty="0" err="1"/>
              <a:t>RakL</a:t>
            </a:r>
            <a:r>
              <a:rPr lang="fi-FI" dirty="0"/>
              <a:t> 111§ </a:t>
            </a:r>
            <a:r>
              <a:rPr lang="fi-FI" dirty="0" err="1"/>
              <a:t>YmA</a:t>
            </a:r>
            <a:r>
              <a:rPr lang="fi-FI" dirty="0"/>
              <a:t> Laadunvarmistusselvityksestä (valtuus </a:t>
            </a:r>
            <a:r>
              <a:rPr lang="fi-FI" dirty="0" err="1"/>
              <a:t>MRL:ssä</a:t>
            </a:r>
            <a:r>
              <a:rPr lang="fi-FI" dirty="0"/>
              <a:t>, ei laadittu)</a:t>
            </a:r>
          </a:p>
          <a:p>
            <a:pPr lvl="1"/>
            <a:r>
              <a:rPr lang="fi-FI" dirty="0" err="1"/>
              <a:t>Pätev</a:t>
            </a:r>
            <a:r>
              <a:rPr lang="fi-FI" dirty="0"/>
              <a:t> 12§ </a:t>
            </a:r>
            <a:r>
              <a:rPr lang="fi-FI" dirty="0" err="1"/>
              <a:t>YmA</a:t>
            </a:r>
            <a:r>
              <a:rPr lang="fi-FI" dirty="0"/>
              <a:t> Pätevyysmaksujen perusteista</a:t>
            </a:r>
          </a:p>
          <a:p>
            <a:r>
              <a:rPr lang="fi-FI" dirty="0"/>
              <a:t>Iso osa  MRL:n nojalla annetuista asetuksista siirretään Rakentamislain nojalla annetuiksi sellaisinaan, mutta ainakin seuraavat päivitettävä</a:t>
            </a:r>
          </a:p>
          <a:p>
            <a:pPr lvl="1"/>
            <a:r>
              <a:rPr lang="fi-FI" dirty="0" err="1"/>
              <a:t>RakL</a:t>
            </a:r>
            <a:r>
              <a:rPr lang="fi-FI" dirty="0"/>
              <a:t> 82§ </a:t>
            </a:r>
            <a:r>
              <a:rPr lang="fi-FI" dirty="0" err="1"/>
              <a:t>VnA</a:t>
            </a:r>
            <a:r>
              <a:rPr lang="fi-FI" dirty="0"/>
              <a:t> suunnittelutehtävien vaativuusluokan määräytymisestä</a:t>
            </a:r>
          </a:p>
          <a:p>
            <a:pPr lvl="1"/>
            <a:r>
              <a:rPr lang="fi-FI" dirty="0" err="1"/>
              <a:t>RakL</a:t>
            </a:r>
            <a:r>
              <a:rPr lang="fi-FI" dirty="0"/>
              <a:t> 86§ </a:t>
            </a:r>
            <a:r>
              <a:rPr lang="fi-FI" dirty="0" err="1"/>
              <a:t>VnA</a:t>
            </a:r>
            <a:r>
              <a:rPr lang="fi-FI" dirty="0"/>
              <a:t> työnjohtotehtävien vaativuusluokan määräytymisestä</a:t>
            </a:r>
          </a:p>
          <a:p>
            <a:endParaRPr lang="fi-FI" dirty="0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FD7FAE16-7299-D255-B4AC-73ADAFD45D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D61EF7-2460-4EE9-A031-27FEBC4F9A95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srgbClr val="183858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fi-FI" sz="900" b="0" i="0" u="none" strike="noStrike" kern="1200" cap="none" spc="0" normalizeH="0" baseline="0" noProof="0">
              <a:ln>
                <a:noFill/>
              </a:ln>
              <a:solidFill>
                <a:srgbClr val="183858"/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34362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>
            <a:extLst>
              <a:ext uri="{FF2B5EF4-FFF2-40B4-BE49-F238E27FC236}">
                <a16:creationId xmlns:a16="http://schemas.microsoft.com/office/drawing/2014/main" id="{30B29DC2-2B24-C56A-74D5-A6B0E168B37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i-FI" sz="3600" dirty="0"/>
              <a:t>Pätevyydet ja kelpoisuuden osoittaminen jatkossa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AE959031-88BC-FA01-7AF7-79928C5FC8E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Dian numeron paikkamerkki 3">
            <a:extLst>
              <a:ext uri="{FF2B5EF4-FFF2-40B4-BE49-F238E27FC236}">
                <a16:creationId xmlns:a16="http://schemas.microsoft.com/office/drawing/2014/main" id="{A0EF5DF2-3B43-D788-77BB-B42A7AB383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D61EF7-2460-4EE9-A031-27FEBC4F9A95}" type="slidenum">
              <a:rPr kumimoji="0" lang="fi-FI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venir Next LT Pro Dem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fi-FI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venir Next LT Pro Dem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68569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T rakennusteollisuus">
  <a:themeElements>
    <a:clrScheme name="RT rakennusteollisuus">
      <a:dk1>
        <a:sysClr val="windowText" lastClr="000000"/>
      </a:dk1>
      <a:lt1>
        <a:sysClr val="window" lastClr="FFFFFF"/>
      </a:lt1>
      <a:dk2>
        <a:srgbClr val="ABB4BE"/>
      </a:dk2>
      <a:lt2>
        <a:srgbClr val="EEE3CF"/>
      </a:lt2>
      <a:accent1>
        <a:srgbClr val="183858"/>
      </a:accent1>
      <a:accent2>
        <a:srgbClr val="346DE3"/>
      </a:accent2>
      <a:accent3>
        <a:srgbClr val="31D5C3"/>
      </a:accent3>
      <a:accent4>
        <a:srgbClr val="399B65"/>
      </a:accent4>
      <a:accent5>
        <a:srgbClr val="F1B323"/>
      </a:accent5>
      <a:accent6>
        <a:srgbClr val="D65E3F"/>
      </a:accent6>
      <a:hlink>
        <a:srgbClr val="346DE3"/>
      </a:hlink>
      <a:folHlink>
        <a:srgbClr val="346DE3"/>
      </a:folHlink>
    </a:clrScheme>
    <a:fontScheme name="RT rakennusteollisuus">
      <a:majorFont>
        <a:latin typeface="Avenir Next LT Pro Demi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rt_malli.potx" id="{42D3E08F-257D-4566-8F6D-E67F1F30C561}" vid="{FB24B6D7-0542-45C7-B6D4-443929792A35}"/>
    </a:ext>
  </a:extLst>
</a:theme>
</file>

<file path=ppt/theme/theme2.xml><?xml version="1.0" encoding="utf-8"?>
<a:theme xmlns:a="http://schemas.openxmlformats.org/drawingml/2006/main" name="1_RT rakennusteollisuus">
  <a:themeElements>
    <a:clrScheme name="RT rakennusteollisuus">
      <a:dk1>
        <a:sysClr val="windowText" lastClr="000000"/>
      </a:dk1>
      <a:lt1>
        <a:sysClr val="window" lastClr="FFFFFF"/>
      </a:lt1>
      <a:dk2>
        <a:srgbClr val="ABB4BE"/>
      </a:dk2>
      <a:lt2>
        <a:srgbClr val="EEE3CF"/>
      </a:lt2>
      <a:accent1>
        <a:srgbClr val="183858"/>
      </a:accent1>
      <a:accent2>
        <a:srgbClr val="346DE3"/>
      </a:accent2>
      <a:accent3>
        <a:srgbClr val="31D5C3"/>
      </a:accent3>
      <a:accent4>
        <a:srgbClr val="399B65"/>
      </a:accent4>
      <a:accent5>
        <a:srgbClr val="F1B323"/>
      </a:accent5>
      <a:accent6>
        <a:srgbClr val="D65E3F"/>
      </a:accent6>
      <a:hlink>
        <a:srgbClr val="346DE3"/>
      </a:hlink>
      <a:folHlink>
        <a:srgbClr val="346DE3"/>
      </a:folHlink>
    </a:clrScheme>
    <a:fontScheme name="RT rakennusteollisuus">
      <a:majorFont>
        <a:latin typeface="Avenir Next LT Pro Demi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rt_malli.potx" id="{42D3E08F-257D-4566-8F6D-E67F1F30C561}" vid="{FB24B6D7-0542-45C7-B6D4-443929792A35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BC6B2B865F30AE4588B2F3E7BABEFCCE" ma:contentTypeVersion="17" ma:contentTypeDescription="Luo uusi asiakirja." ma:contentTypeScope="" ma:versionID="c2b61db5fb4e0d62315050850a33b70e">
  <xsd:schema xmlns:xsd="http://www.w3.org/2001/XMLSchema" xmlns:xs="http://www.w3.org/2001/XMLSchema" xmlns:p="http://schemas.microsoft.com/office/2006/metadata/properties" xmlns:ns2="c1de6643-f6a4-45ec-aa38-4d7143a523ef" xmlns:ns3="ffbdf9bf-e3e0-4aa8-86ae-96ed03841bfd" targetNamespace="http://schemas.microsoft.com/office/2006/metadata/properties" ma:root="true" ma:fieldsID="fbbafbfb5f12367019de756079d90b98" ns2:_="" ns3:_="">
    <xsd:import namespace="c1de6643-f6a4-45ec-aa38-4d7143a523ef"/>
    <xsd:import namespace="ffbdf9bf-e3e0-4aa8-86ae-96ed03841bf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3:SharedWithUsers" minOccurs="0"/>
                <xsd:element ref="ns3:SharedWithDetail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de6643-f6a4-45ec-aa38-4d7143a523e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0" nillable="true" ma:taxonomy="true" ma:internalName="lcf76f155ced4ddcb4097134ff3c332f" ma:taxonomyFieldName="MediaServiceImageTags" ma:displayName="Kuvien tunnisteet" ma:readOnly="false" ma:fieldId="{5cf76f15-5ced-4ddc-b409-7134ff3c332f}" ma:taxonomyMulti="true" ma:sspId="0993a77c-346a-4936-94a6-9d75931ce83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bdf9bf-e3e0-4aa8-86ae-96ed03841bfd" elementFormDefault="qualified">
    <xsd:import namespace="http://schemas.microsoft.com/office/2006/documentManagement/types"/>
    <xsd:import namespace="http://schemas.microsoft.com/office/infopath/2007/PartnerControls"/>
    <xsd:element name="TaxCatchAll" ma:index="21" nillable="true" ma:displayName="Taxonomy Catch All Column" ma:hidden="true" ma:list="{c3393fd4-35d7-41cc-b5b9-c9004ddbe632}" ma:internalName="TaxCatchAll" ma:showField="CatchAllData" ma:web="ffbdf9bf-e3e0-4aa8-86ae-96ed03841bf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2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Jakamisen tiedot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9EB0F71-E94F-47F3-BC60-1DB43DA0EE0D}"/>
</file>

<file path=customXml/itemProps2.xml><?xml version="1.0" encoding="utf-8"?>
<ds:datastoreItem xmlns:ds="http://schemas.openxmlformats.org/officeDocument/2006/customXml" ds:itemID="{3C73985C-B032-4673-AF4B-DA40778F20F2}"/>
</file>

<file path=docProps/app.xml><?xml version="1.0" encoding="utf-8"?>
<Properties xmlns="http://schemas.openxmlformats.org/officeDocument/2006/extended-properties" xmlns:vt="http://schemas.openxmlformats.org/officeDocument/2006/docPropsVTypes">
  <TotalTime>41</TotalTime>
  <Words>936</Words>
  <Application>Microsoft Office PowerPoint</Application>
  <PresentationFormat>Laajakuva</PresentationFormat>
  <Paragraphs>120</Paragraphs>
  <Slides>14</Slides>
  <Notes>0</Notes>
  <HiddenSlides>0</HiddenSlides>
  <MMClips>0</MMClips>
  <ScaleCrop>false</ScaleCrop>
  <HeadingPairs>
    <vt:vector size="8" baseType="variant">
      <vt:variant>
        <vt:lpstr>Käytetyt fontit</vt:lpstr>
      </vt:variant>
      <vt:variant>
        <vt:i4>3</vt:i4>
      </vt:variant>
      <vt:variant>
        <vt:lpstr>Teema</vt:lpstr>
      </vt:variant>
      <vt:variant>
        <vt:i4>2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14</vt:i4>
      </vt:variant>
    </vt:vector>
  </HeadingPairs>
  <TitlesOfParts>
    <vt:vector size="20" baseType="lpstr">
      <vt:lpstr>Arial</vt:lpstr>
      <vt:lpstr>Avenir Next LT Pro</vt:lpstr>
      <vt:lpstr>Avenir Next LT Pro Demi</vt:lpstr>
      <vt:lpstr>RT rakennusteollisuus</vt:lpstr>
      <vt:lpstr>1_RT rakennusteollisuus</vt:lpstr>
      <vt:lpstr>think-cell Slide</vt:lpstr>
      <vt:lpstr>Uusi Rakentamislaki ja pätevyydet</vt:lpstr>
      <vt:lpstr>PowerPoint-esitys</vt:lpstr>
      <vt:lpstr>MRL-uudistus</vt:lpstr>
      <vt:lpstr>Kaavoitus- ja rakentamislaista Rakentamislakiin</vt:lpstr>
      <vt:lpstr>Rakentamislaki hyväksyttiin viime tipassa</vt:lpstr>
      <vt:lpstr>Eduskunnan ympäristövaliokunnan lausuma</vt:lpstr>
      <vt:lpstr>Rakentamislaki astuu voimaan 1.1.2025, vai astuuko?</vt:lpstr>
      <vt:lpstr>Asetusvalmistelu on alkanut, tekemistä riittää</vt:lpstr>
      <vt:lpstr>Pätevyydet ja kelpoisuuden osoittaminen jatkossa</vt:lpstr>
      <vt:lpstr>Suunnittelijan kelpoisuus 83§ Vastaavan työnjohtajan ja erityisalan työnjohtajan kelpoisuus 87§ </vt:lpstr>
      <vt:lpstr>Laki rakentamisen suunnittelu- ja työnjohtotehtävissä toimivien pätevyyden osoittamisesta (812/2023)</vt:lpstr>
      <vt:lpstr>Yhteenveto EU-tason ja kansallisen tason sääntelyn vaikutuksista rakentamiseen, rakennuksiin ja rakennusalan yrityksiin Suomessa</vt:lpstr>
      <vt:lpstr>Onko kaikki valmista 1.1.2025?</vt:lpstr>
      <vt:lpstr>Kiitoksia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usi Rakentamislaki ja pätevyydet</dc:title>
  <dc:creator>Kemppainen Jani</dc:creator>
  <cp:lastModifiedBy>Kemppainen Jani</cp:lastModifiedBy>
  <cp:revision>1</cp:revision>
  <dcterms:created xsi:type="dcterms:W3CDTF">2023-10-27T07:22:07Z</dcterms:created>
  <dcterms:modified xsi:type="dcterms:W3CDTF">2023-10-27T08:03:45Z</dcterms:modified>
</cp:coreProperties>
</file>